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comments/modernComment_10D_B743F2FB.xml" ContentType="application/vnd.ms-powerpoint.comment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notesSlides/notesSlide8.xml" ContentType="application/vnd.openxmlformats-officedocument.presentationml.notesSlide+xml"/>
  <Override PartName="/ppt/comments/modernComment_103_96322BFC.xml" ContentType="application/vnd.ms-powerpoint.comments+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comments/modernComment_7FFFF62A_E0637B62.xml" ContentType="application/vnd.ms-powerpoint.comments+xml"/>
  <Override PartName="/ppt/tags/tag2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801" r:id="rId5"/>
  </p:sldMasterIdLst>
  <p:notesMasterIdLst>
    <p:notesMasterId r:id="rId16"/>
  </p:notesMasterIdLst>
  <p:sldIdLst>
    <p:sldId id="6454" r:id="rId6"/>
    <p:sldId id="2147481126" r:id="rId7"/>
    <p:sldId id="2147483634" r:id="rId8"/>
    <p:sldId id="258" r:id="rId9"/>
    <p:sldId id="269" r:id="rId10"/>
    <p:sldId id="260" r:id="rId11"/>
    <p:sldId id="290" r:id="rId12"/>
    <p:sldId id="259" r:id="rId13"/>
    <p:sldId id="2147481130" r:id="rId14"/>
    <p:sldId id="311"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D030105-5AF8-1AC9-6502-7CD527AC7829}" name="Jones, Craig A" initials="JC" userId="S::craigajones@kpmg.com::11cd59ce-c777-4fa1-b455-07577764b545" providerId="AD"/>
  <p188:author id="{FF166D08-8D20-C2CC-17EF-2E4E0559832E}" name="Muto, Mark A" initials="MM" userId="S::markmuto@kpmg.com::855c34ed-5e0f-4f58-8c4b-9c10b45d2d86" providerId="AD"/>
  <p188:author id="{27E57008-F47C-B6AE-2988-531E225BCA04}" name="S, Krishnapriya (KGS)" initials="KS" userId="S::krishnapriyas4@kpmg.com::73441e72-129b-4523-8c6f-a8d0b15bfc61" providerId="AD"/>
  <p188:author id="{6F7E4409-20C2-2574-9035-9DA4D5221253}" name="Ryan, Ashley" initials="AR" userId="S::ashleyryan@kpmg.com::0b12df3a-64a4-4c82-8480-44267bb0432b" providerId="AD"/>
  <p188:author id="{B69F0B0D-AD05-100A-0EBB-D2C43254AAA2}" name="White, Adam R" initials="AW" userId="S::arwhite@kpmg.com::3f1a4be7-07f9-4b85-bd28-68c4c3087fa1" providerId="AD"/>
  <p188:author id="{DC9C450F-19CA-2CAB-49C5-6E85DB07D7A1}" name="Khandelwal, Gaurav R" initials="GK" userId="S::gauravkhandelwal@kpmg.com::757ab6cf-f36a-4113-a919-b296a63adba2" providerId="AD"/>
  <p188:author id="{E463CB26-8584-E198-1C9F-8BBD5F7FD405}" name="Ramesh, Ekamreshwar" initials="RE" userId="S::ekamreshwarramesh@kpmg.com::8be6d72a-e5cb-4064-b4aa-5938aa2e647b" providerId="AD"/>
  <p188:author id="{5407A959-0185-3312-3890-58E9D2698D5D}" name="Murphy, Chris" initials="CM" userId="S::chrismurphy1@kpmg.com::c80cb42c-d6ac-448c-ba75-03a5b69fbf63" providerId="AD"/>
  <p188:author id="{3DF19063-9BCC-0104-1CDC-64033651554B}" name="R, Sudha R (KGS)" initials="SR" userId="S::sudhar@kpmg.com::1b65b34a-4580-44e2-af15-48ffd311602b" providerId="AD"/>
  <p188:author id="{789A5165-1E8E-69D8-D1E7-0F969B0451AC}" name="Gupta, Vineet" initials="GV" userId="S::vineetgupta2@kpmg.com::97767ba4-9ec4-4a02-80ea-5d333aa25b75" providerId="AD"/>
  <p188:author id="{7961E382-3A22-B2D5-C7D7-49F716A1FF31}" name="Sydney Schemenauer" initials="SS" userId="Sydney Schemenauer" providerId="None"/>
  <p188:author id="{02656D84-ECBA-281C-C702-FC76ADA8CB33}" name="Hornland, Kristy" initials="KH" userId="S::khornland@kpmg.com::9af4a8c3-c821-4a44-af01-ab568a60284a" providerId="AD"/>
  <p188:author id="{E185D686-B8B0-9C1F-E9FD-3964408AF8DA}" name="Griffin, Diana D" initials="DG" userId="S::dianagriffin@kpmg.com::eaf1b9c4-bf23-4fda-8065-e131281ea1dd" providerId="AD"/>
  <p188:author id="{B8C38995-DACD-9BC9-78DF-D211884FE67A}" name="Peterson, Lauren" initials="LP" userId="S::laurenpeterson@kpmg.com::ebc20449-695a-48ab-8405-fd33a22eecea" providerId="AD"/>
  <p188:author id="{8342A7A0-0431-F4AC-5CDB-BA66363B44AE}" name="Wylie, Sara E" initials="SW" userId="S::sarawylie@kpmg.com::9f16a16a-f774-4991-932e-970e26dc0629" providerId="AD"/>
  <p188:author id="{D775F2A0-F7E2-69EA-CAA0-AC05E90943AD}" name="Craig, Anissa" initials="AC" userId="S::anissacraig@kpmg.com::b26cb054-cdae-4927-9551-b83db03b9ae6" providerId="AD"/>
  <p188:author id="{4C817BA2-79AB-25B0-2BB9-EBD3E646AE9E}" name="Schemenauer, Sydney A" initials="SS" userId="S::sschemenauer@kpmg.com::7fcac9f2-6bee-4d75-b0fa-f89cb32c03e5" providerId="AD"/>
  <p188:author id="{BB0AD1B8-8575-E078-3932-FAEAAD6026F0}" name="Hollander, Zachary D" initials="ZH" userId="S::zhollander@kpmg.com::66976e47-55f9-4073-8871-1ffd3043c923" providerId="AD"/>
  <p188:author id="{B541ACB9-8226-1D27-B2F7-CFE0C3EF1E41}" name="Walker, Randall S" initials="WR" userId="S::randallwalker@kpmg.com::286f098d-52ef-48d0-80a9-8e41d897fd5e" providerId="AD"/>
  <p188:author id="{F6D35CBF-39E1-7AD5-DB39-DEBF2FC4729F}" name="Boswell, Katie" initials="CB" userId="S::katieboswell@kpmg.com::3d43ac13-8eca-4c75-995d-b68eb4a9a379" providerId="AD"/>
  <p188:author id="{01BAE1DB-7CE7-B0F6-4D0E-69F91A98C117}" name="Tuggle, Ryan" initials="RT" userId="S::rtuggle@kpmg.com::be21fb83-d5f4-4fbd-8bea-ccdd1ca4dc3f" providerId="AD"/>
  <p188:author id="{01907EF5-A8B2-721A-86E5-1668FFB58048}" name="Bloesch, Troy" initials="TB" userId="S::troybloesch@kpmg.com::d0937869-bb19-47f1-b7cb-e4344a41430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AAAF0"/>
    <a:srgbClr val="2EC8BA"/>
    <a:srgbClr val="3B63E4"/>
    <a:srgbClr val="31CBBC"/>
    <a:srgbClr val="36B8D3"/>
    <a:srgbClr val="29ACF0"/>
    <a:srgbClr val="ACEAFF"/>
    <a:srgbClr val="0C233C"/>
    <a:srgbClr val="F2F2F2"/>
    <a:srgbClr val="E5E5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0C0188-4666-40BE-B991-A5681AD26E1E}" v="26" dt="2025-12-07T21:46:27.919"/>
    <p1510:client id="{E54C356E-87B8-456B-9E99-F4835B4BA0EA}" v="116" dt="2025-12-08T14:40:24.0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8/10/relationships/authors" Target="authors.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lker, Randall S" userId="286f098d-52ef-48d0-80a9-8e41d897fd5e" providerId="ADAL" clId="{A2F7AF29-64C0-48BE-9EFF-6C2B1534FA0D}"/>
    <pc:docChg chg="custSel modSld">
      <pc:chgData name="Walker, Randall S" userId="286f098d-52ef-48d0-80a9-8e41d897fd5e" providerId="ADAL" clId="{A2F7AF29-64C0-48BE-9EFF-6C2B1534FA0D}" dt="2025-12-05T21:52:00.499" v="322" actId="20577"/>
      <pc:docMkLst>
        <pc:docMk/>
      </pc:docMkLst>
      <pc:sldChg chg="modSp mod">
        <pc:chgData name="Walker, Randall S" userId="286f098d-52ef-48d0-80a9-8e41d897fd5e" providerId="ADAL" clId="{A2F7AF29-64C0-48BE-9EFF-6C2B1534FA0D}" dt="2025-12-05T21:52:00.499" v="322" actId="20577"/>
        <pc:sldMkLst>
          <pc:docMk/>
          <pc:sldMk cId="2519870460" sldId="259"/>
        </pc:sldMkLst>
        <pc:graphicFrameChg chg="mod modGraphic">
          <ac:chgData name="Walker, Randall S" userId="286f098d-52ef-48d0-80a9-8e41d897fd5e" providerId="ADAL" clId="{A2F7AF29-64C0-48BE-9EFF-6C2B1534FA0D}" dt="2025-12-05T21:52:00.499" v="322" actId="20577"/>
          <ac:graphicFrameMkLst>
            <pc:docMk/>
            <pc:sldMk cId="2519870460" sldId="259"/>
            <ac:graphicFrameMk id="195" creationId="{77933B5A-495A-4FD6-02DD-B5DAF07AD1E5}"/>
          </ac:graphicFrameMkLst>
        </pc:graphicFrameChg>
      </pc:sldChg>
    </pc:docChg>
  </pc:docChgLst>
  <pc:docChgLst>
    <pc:chgData name="Tuggle, Ryan" userId="be21fb83-d5f4-4fbd-8bea-ccdd1ca4dc3f" providerId="ADAL" clId="{F6F453C7-9CC3-4B41-BFBF-AB57C5F9ED10}"/>
    <pc:docChg chg="custSel addSld modSld sldOrd">
      <pc:chgData name="Tuggle, Ryan" userId="be21fb83-d5f4-4fbd-8bea-ccdd1ca4dc3f" providerId="ADAL" clId="{F6F453C7-9CC3-4B41-BFBF-AB57C5F9ED10}" dt="2025-12-05T21:41:48.682" v="16" actId="20577"/>
      <pc:docMkLst>
        <pc:docMk/>
      </pc:docMkLst>
      <pc:sldChg chg="delSp modSp add mod ord">
        <pc:chgData name="Tuggle, Ryan" userId="be21fb83-d5f4-4fbd-8bea-ccdd1ca4dc3f" providerId="ADAL" clId="{F6F453C7-9CC3-4B41-BFBF-AB57C5F9ED10}" dt="2025-12-05T21:41:48.682" v="16" actId="20577"/>
        <pc:sldMkLst>
          <pc:docMk/>
          <pc:sldMk cId="257949166" sldId="290"/>
        </pc:sldMkLst>
        <pc:spChg chg="del">
          <ac:chgData name="Tuggle, Ryan" userId="be21fb83-d5f4-4fbd-8bea-ccdd1ca4dc3f" providerId="ADAL" clId="{F6F453C7-9CC3-4B41-BFBF-AB57C5F9ED10}" dt="2025-12-05T21:32:46.486" v="4" actId="478"/>
          <ac:spMkLst>
            <pc:docMk/>
            <pc:sldMk cId="257949166" sldId="290"/>
            <ac:spMk id="2" creationId="{F8992D33-C542-2013-5F1B-E5BD5E665A43}"/>
          </ac:spMkLst>
        </pc:spChg>
        <pc:spChg chg="mod">
          <ac:chgData name="Tuggle, Ryan" userId="be21fb83-d5f4-4fbd-8bea-ccdd1ca4dc3f" providerId="ADAL" clId="{F6F453C7-9CC3-4B41-BFBF-AB57C5F9ED10}" dt="2025-12-05T21:41:48.682" v="16" actId="20577"/>
          <ac:spMkLst>
            <pc:docMk/>
            <pc:sldMk cId="257949166" sldId="290"/>
            <ac:spMk id="72" creationId="{8C5A465A-3305-13EA-3D07-13B73A3671E0}"/>
          </ac:spMkLst>
        </pc:spChg>
        <pc:graphicFrameChg chg="del">
          <ac:chgData name="Tuggle, Ryan" userId="be21fb83-d5f4-4fbd-8bea-ccdd1ca4dc3f" providerId="ADAL" clId="{F6F453C7-9CC3-4B41-BFBF-AB57C5F9ED10}" dt="2025-12-05T21:32:44.011" v="3" actId="478"/>
          <ac:graphicFrameMkLst>
            <pc:docMk/>
            <pc:sldMk cId="257949166" sldId="290"/>
            <ac:graphicFrameMk id="5" creationId="{72C6D177-7AC6-E054-EB90-697E27C64687}"/>
          </ac:graphicFrameMkLst>
        </pc:graphicFrameChg>
      </pc:sldChg>
    </pc:docChg>
  </pc:docChgLst>
  <pc:docChgLst>
    <pc:chgData name="Griffin, Diana D" userId="eaf1b9c4-bf23-4fda-8065-e131281ea1dd" providerId="ADAL" clId="{8DA926D3-C75A-4B14-8756-776C212E3BB4}"/>
    <pc:docChg chg="modSld">
      <pc:chgData name="Griffin, Diana D" userId="eaf1b9c4-bf23-4fda-8065-e131281ea1dd" providerId="ADAL" clId="{8DA926D3-C75A-4B14-8756-776C212E3BB4}" dt="2025-12-07T21:46:27.920" v="25" actId="20577"/>
      <pc:docMkLst>
        <pc:docMk/>
      </pc:docMkLst>
      <pc:sldChg chg="modSp mod">
        <pc:chgData name="Griffin, Diana D" userId="eaf1b9c4-bf23-4fda-8065-e131281ea1dd" providerId="ADAL" clId="{8DA926D3-C75A-4B14-8756-776C212E3BB4}" dt="2025-12-07T21:46:27.920" v="25" actId="20577"/>
        <pc:sldMkLst>
          <pc:docMk/>
          <pc:sldMk cId="3764616034" sldId="2147481130"/>
        </pc:sldMkLst>
        <pc:spChg chg="mod">
          <ac:chgData name="Griffin, Diana D" userId="eaf1b9c4-bf23-4fda-8065-e131281ea1dd" providerId="ADAL" clId="{8DA926D3-C75A-4B14-8756-776C212E3BB4}" dt="2025-12-07T21:46:27.920" v="25" actId="20577"/>
          <ac:spMkLst>
            <pc:docMk/>
            <pc:sldMk cId="3764616034" sldId="2147481130"/>
            <ac:spMk id="5" creationId="{735B3F88-2FB5-BC68-EFEB-735280A798B0}"/>
          </ac:spMkLst>
        </pc:spChg>
        <pc:spChg chg="mod">
          <ac:chgData name="Griffin, Diana D" userId="eaf1b9c4-bf23-4fda-8065-e131281ea1dd" providerId="ADAL" clId="{8DA926D3-C75A-4B14-8756-776C212E3BB4}" dt="2025-12-07T21:38:52.029" v="6" actId="14100"/>
          <ac:spMkLst>
            <pc:docMk/>
            <pc:sldMk cId="3764616034" sldId="2147481130"/>
            <ac:spMk id="38" creationId="{C82CDCE8-2DAA-D2DD-139B-A6F3C44DFBD7}"/>
          </ac:spMkLst>
        </pc:spChg>
      </pc:sldChg>
    </pc:docChg>
  </pc:docChgLst>
  <pc:docChgLst>
    <pc:chgData name="Bloesch, Troy" userId="d0937869-bb19-47f1-b7cb-e4344a414307" providerId="ADAL" clId="{0B9E4739-E43A-4485-B480-0870AB84DD6D}"/>
    <pc:docChg chg="undo redo custSel addSld delSld modSld sldOrd modMainMaster delSection modSection">
      <pc:chgData name="Bloesch, Troy" userId="d0937869-bb19-47f1-b7cb-e4344a414307" providerId="ADAL" clId="{0B9E4739-E43A-4485-B480-0870AB84DD6D}" dt="2025-12-05T23:17:26.834" v="6636" actId="20577"/>
      <pc:docMkLst>
        <pc:docMk/>
      </pc:docMkLst>
      <pc:sldChg chg="addSp delSp modSp add del mod ord">
        <pc:chgData name="Bloesch, Troy" userId="d0937869-bb19-47f1-b7cb-e4344a414307" providerId="ADAL" clId="{0B9E4739-E43A-4485-B480-0870AB84DD6D}" dt="2025-12-05T21:04:01.858" v="4982" actId="47"/>
        <pc:sldMkLst>
          <pc:docMk/>
          <pc:sldMk cId="1041640190" sldId="256"/>
        </pc:sldMkLst>
        <pc:spChg chg="del">
          <ac:chgData name="Bloesch, Troy" userId="d0937869-bb19-47f1-b7cb-e4344a414307" providerId="ADAL" clId="{0B9E4739-E43A-4485-B480-0870AB84DD6D}" dt="2025-12-05T18:48:39.414" v="404" actId="478"/>
          <ac:spMkLst>
            <pc:docMk/>
            <pc:sldMk cId="1041640190" sldId="256"/>
            <ac:spMk id="4" creationId="{D6D2CF33-7A6F-3612-C481-1C349EA0D2F8}"/>
          </ac:spMkLst>
        </pc:spChg>
        <pc:spChg chg="add del">
          <ac:chgData name="Bloesch, Troy" userId="d0937869-bb19-47f1-b7cb-e4344a414307" providerId="ADAL" clId="{0B9E4739-E43A-4485-B480-0870AB84DD6D}" dt="2025-12-05T18:50:52.925" v="440" actId="11529"/>
          <ac:spMkLst>
            <pc:docMk/>
            <pc:sldMk cId="1041640190" sldId="256"/>
            <ac:spMk id="5" creationId="{27931E87-8D20-E73A-55D8-4969154BC2EE}"/>
          </ac:spMkLst>
        </pc:spChg>
        <pc:spChg chg="mod">
          <ac:chgData name="Bloesch, Troy" userId="d0937869-bb19-47f1-b7cb-e4344a414307" providerId="ADAL" clId="{0B9E4739-E43A-4485-B480-0870AB84DD6D}" dt="2025-12-05T18:49:58.849" v="422" actId="1076"/>
          <ac:spMkLst>
            <pc:docMk/>
            <pc:sldMk cId="1041640190" sldId="256"/>
            <ac:spMk id="6" creationId="{C56CA08F-7D6E-1EF7-1FA8-D2F891D6A248}"/>
          </ac:spMkLst>
        </pc:spChg>
        <pc:spChg chg="del">
          <ac:chgData name="Bloesch, Troy" userId="d0937869-bb19-47f1-b7cb-e4344a414307" providerId="ADAL" clId="{0B9E4739-E43A-4485-B480-0870AB84DD6D}" dt="2025-12-05T18:48:41.548" v="406" actId="478"/>
          <ac:spMkLst>
            <pc:docMk/>
            <pc:sldMk cId="1041640190" sldId="256"/>
            <ac:spMk id="7" creationId="{67E6F9A9-4B12-8C12-24F3-C3C44115CF87}"/>
          </ac:spMkLst>
        </pc:spChg>
        <pc:spChg chg="del">
          <ac:chgData name="Bloesch, Troy" userId="d0937869-bb19-47f1-b7cb-e4344a414307" providerId="ADAL" clId="{0B9E4739-E43A-4485-B480-0870AB84DD6D}" dt="2025-12-05T18:48:31.304" v="401" actId="478"/>
          <ac:spMkLst>
            <pc:docMk/>
            <pc:sldMk cId="1041640190" sldId="256"/>
            <ac:spMk id="10" creationId="{B93F1918-20AF-BDB6-E6D9-039D6EC586D2}"/>
          </ac:spMkLst>
        </pc:spChg>
        <pc:spChg chg="del">
          <ac:chgData name="Bloesch, Troy" userId="d0937869-bb19-47f1-b7cb-e4344a414307" providerId="ADAL" clId="{0B9E4739-E43A-4485-B480-0870AB84DD6D}" dt="2025-12-05T18:48:40.677" v="405" actId="478"/>
          <ac:spMkLst>
            <pc:docMk/>
            <pc:sldMk cId="1041640190" sldId="256"/>
            <ac:spMk id="11" creationId="{FAF000F4-D63B-EBEB-953F-40B66C5FE097}"/>
          </ac:spMkLst>
        </pc:spChg>
        <pc:spChg chg="add mod">
          <ac:chgData name="Bloesch, Troy" userId="d0937869-bb19-47f1-b7cb-e4344a414307" providerId="ADAL" clId="{0B9E4739-E43A-4485-B480-0870AB84DD6D}" dt="2025-12-05T18:51:14.464" v="444" actId="208"/>
          <ac:spMkLst>
            <pc:docMk/>
            <pc:sldMk cId="1041640190" sldId="256"/>
            <ac:spMk id="14" creationId="{1D5C09ED-27C7-6CCB-239C-C48DABC3ABE7}"/>
          </ac:spMkLst>
        </pc:spChg>
        <pc:spChg chg="mod">
          <ac:chgData name="Bloesch, Troy" userId="d0937869-bb19-47f1-b7cb-e4344a414307" providerId="ADAL" clId="{0B9E4739-E43A-4485-B480-0870AB84DD6D}" dt="2025-12-05T18:49:58.849" v="422" actId="1076"/>
          <ac:spMkLst>
            <pc:docMk/>
            <pc:sldMk cId="1041640190" sldId="256"/>
            <ac:spMk id="16" creationId="{8AFEBFC3-E361-666A-DFA3-2079FA2B52E5}"/>
          </ac:spMkLst>
        </pc:spChg>
        <pc:spChg chg="add mod">
          <ac:chgData name="Bloesch, Troy" userId="d0937869-bb19-47f1-b7cb-e4344a414307" providerId="ADAL" clId="{0B9E4739-E43A-4485-B480-0870AB84DD6D}" dt="2025-12-05T18:51:32.879" v="462" actId="1076"/>
          <ac:spMkLst>
            <pc:docMk/>
            <pc:sldMk cId="1041640190" sldId="256"/>
            <ac:spMk id="17" creationId="{BFF69871-98BF-57B4-1FD6-C049D0208DA6}"/>
          </ac:spMkLst>
        </pc:spChg>
        <pc:spChg chg="mod">
          <ac:chgData name="Bloesch, Troy" userId="d0937869-bb19-47f1-b7cb-e4344a414307" providerId="ADAL" clId="{0B9E4739-E43A-4485-B480-0870AB84DD6D}" dt="2025-12-05T18:49:58.849" v="422" actId="1076"/>
          <ac:spMkLst>
            <pc:docMk/>
            <pc:sldMk cId="1041640190" sldId="256"/>
            <ac:spMk id="19" creationId="{06B562C8-2FB3-5A38-D28D-4B2C0DEF0325}"/>
          </ac:spMkLst>
        </pc:spChg>
        <pc:spChg chg="del">
          <ac:chgData name="Bloesch, Troy" userId="d0937869-bb19-47f1-b7cb-e4344a414307" providerId="ADAL" clId="{0B9E4739-E43A-4485-B480-0870AB84DD6D}" dt="2025-12-05T18:48:31.304" v="401" actId="478"/>
          <ac:spMkLst>
            <pc:docMk/>
            <pc:sldMk cId="1041640190" sldId="256"/>
            <ac:spMk id="22" creationId="{D61BF0B7-6975-D732-6928-90BEA8A06686}"/>
          </ac:spMkLst>
        </pc:spChg>
        <pc:spChg chg="del">
          <ac:chgData name="Bloesch, Troy" userId="d0937869-bb19-47f1-b7cb-e4344a414307" providerId="ADAL" clId="{0B9E4739-E43A-4485-B480-0870AB84DD6D}" dt="2025-12-05T18:48:31.304" v="401" actId="478"/>
          <ac:spMkLst>
            <pc:docMk/>
            <pc:sldMk cId="1041640190" sldId="256"/>
            <ac:spMk id="28" creationId="{E9FB107C-B051-C79B-A0CF-067433E9E5AE}"/>
          </ac:spMkLst>
        </pc:spChg>
        <pc:spChg chg="del">
          <ac:chgData name="Bloesch, Troy" userId="d0937869-bb19-47f1-b7cb-e4344a414307" providerId="ADAL" clId="{0B9E4739-E43A-4485-B480-0870AB84DD6D}" dt="2025-12-05T18:48:35.177" v="403" actId="478"/>
          <ac:spMkLst>
            <pc:docMk/>
            <pc:sldMk cId="1041640190" sldId="256"/>
            <ac:spMk id="33" creationId="{AE7F4324-D617-59D4-8CF2-5C5C0CF9F593}"/>
          </ac:spMkLst>
        </pc:spChg>
        <pc:spChg chg="del">
          <ac:chgData name="Bloesch, Troy" userId="d0937869-bb19-47f1-b7cb-e4344a414307" providerId="ADAL" clId="{0B9E4739-E43A-4485-B480-0870AB84DD6D}" dt="2025-12-05T18:48:31.304" v="401" actId="478"/>
          <ac:spMkLst>
            <pc:docMk/>
            <pc:sldMk cId="1041640190" sldId="256"/>
            <ac:spMk id="36" creationId="{CC9E79C2-FE8A-CC43-9773-49E2CCE830E8}"/>
          </ac:spMkLst>
        </pc:spChg>
        <pc:spChg chg="del">
          <ac:chgData name="Bloesch, Troy" userId="d0937869-bb19-47f1-b7cb-e4344a414307" providerId="ADAL" clId="{0B9E4739-E43A-4485-B480-0870AB84DD6D}" dt="2025-12-05T18:48:31.304" v="401" actId="478"/>
          <ac:spMkLst>
            <pc:docMk/>
            <pc:sldMk cId="1041640190" sldId="256"/>
            <ac:spMk id="41" creationId="{C4FD47DF-C737-638B-1E03-7224088F2881}"/>
          </ac:spMkLst>
        </pc:spChg>
        <pc:spChg chg="mod">
          <ac:chgData name="Bloesch, Troy" userId="d0937869-bb19-47f1-b7cb-e4344a414307" providerId="ADAL" clId="{0B9E4739-E43A-4485-B480-0870AB84DD6D}" dt="2025-12-05T18:49:58.849" v="422" actId="1076"/>
          <ac:spMkLst>
            <pc:docMk/>
            <pc:sldMk cId="1041640190" sldId="256"/>
            <ac:spMk id="193" creationId="{10501ACC-0754-2CBB-405B-F89C471A2A0E}"/>
          </ac:spMkLst>
        </pc:spChg>
        <pc:spChg chg="mod">
          <ac:chgData name="Bloesch, Troy" userId="d0937869-bb19-47f1-b7cb-e4344a414307" providerId="ADAL" clId="{0B9E4739-E43A-4485-B480-0870AB84DD6D}" dt="2025-12-05T18:49:58.849" v="422" actId="1076"/>
          <ac:spMkLst>
            <pc:docMk/>
            <pc:sldMk cId="1041640190" sldId="256"/>
            <ac:spMk id="195" creationId="{D38BE60B-25C7-0BD0-D861-CF1306509F33}"/>
          </ac:spMkLst>
        </pc:spChg>
        <pc:spChg chg="mod">
          <ac:chgData name="Bloesch, Troy" userId="d0937869-bb19-47f1-b7cb-e4344a414307" providerId="ADAL" clId="{0B9E4739-E43A-4485-B480-0870AB84DD6D}" dt="2025-12-05T18:49:58.849" v="422" actId="1076"/>
          <ac:spMkLst>
            <pc:docMk/>
            <pc:sldMk cId="1041640190" sldId="256"/>
            <ac:spMk id="197" creationId="{A5E84810-5DF6-23BB-4E1C-C0DC8B568313}"/>
          </ac:spMkLst>
        </pc:spChg>
        <pc:spChg chg="mod">
          <ac:chgData name="Bloesch, Troy" userId="d0937869-bb19-47f1-b7cb-e4344a414307" providerId="ADAL" clId="{0B9E4739-E43A-4485-B480-0870AB84DD6D}" dt="2025-12-05T18:49:58.849" v="422" actId="1076"/>
          <ac:spMkLst>
            <pc:docMk/>
            <pc:sldMk cId="1041640190" sldId="256"/>
            <ac:spMk id="201" creationId="{6BD434E0-D837-4B0E-983F-5A8F7AC23463}"/>
          </ac:spMkLst>
        </pc:spChg>
        <pc:spChg chg="mod">
          <ac:chgData name="Bloesch, Troy" userId="d0937869-bb19-47f1-b7cb-e4344a414307" providerId="ADAL" clId="{0B9E4739-E43A-4485-B480-0870AB84DD6D}" dt="2025-12-05T18:49:58.849" v="422" actId="1076"/>
          <ac:spMkLst>
            <pc:docMk/>
            <pc:sldMk cId="1041640190" sldId="256"/>
            <ac:spMk id="212" creationId="{B64009FA-1567-3D54-07FA-3C0ED943C1A2}"/>
          </ac:spMkLst>
        </pc:spChg>
        <pc:spChg chg="mod">
          <ac:chgData name="Bloesch, Troy" userId="d0937869-bb19-47f1-b7cb-e4344a414307" providerId="ADAL" clId="{0B9E4739-E43A-4485-B480-0870AB84DD6D}" dt="2025-12-05T18:49:58.849" v="422" actId="1076"/>
          <ac:spMkLst>
            <pc:docMk/>
            <pc:sldMk cId="1041640190" sldId="256"/>
            <ac:spMk id="214" creationId="{2178B387-3F39-2131-02A3-26FE169E76FE}"/>
          </ac:spMkLst>
        </pc:spChg>
        <pc:spChg chg="mod">
          <ac:chgData name="Bloesch, Troy" userId="d0937869-bb19-47f1-b7cb-e4344a414307" providerId="ADAL" clId="{0B9E4739-E43A-4485-B480-0870AB84DD6D}" dt="2025-12-05T18:49:58.849" v="422" actId="1076"/>
          <ac:spMkLst>
            <pc:docMk/>
            <pc:sldMk cId="1041640190" sldId="256"/>
            <ac:spMk id="220" creationId="{34D5FC86-B2AC-957E-4B84-6478715CC6F0}"/>
          </ac:spMkLst>
        </pc:spChg>
        <pc:spChg chg="del">
          <ac:chgData name="Bloesch, Troy" userId="d0937869-bb19-47f1-b7cb-e4344a414307" providerId="ADAL" clId="{0B9E4739-E43A-4485-B480-0870AB84DD6D}" dt="2025-12-05T18:48:31.304" v="401" actId="478"/>
          <ac:spMkLst>
            <pc:docMk/>
            <pc:sldMk cId="1041640190" sldId="256"/>
            <ac:spMk id="222" creationId="{EFF29C4A-F2BE-B19C-B0DB-3AE54DDE14E0}"/>
          </ac:spMkLst>
        </pc:spChg>
        <pc:spChg chg="del">
          <ac:chgData name="Bloesch, Troy" userId="d0937869-bb19-47f1-b7cb-e4344a414307" providerId="ADAL" clId="{0B9E4739-E43A-4485-B480-0870AB84DD6D}" dt="2025-12-05T18:48:31.304" v="401" actId="478"/>
          <ac:spMkLst>
            <pc:docMk/>
            <pc:sldMk cId="1041640190" sldId="256"/>
            <ac:spMk id="228" creationId="{D5AD0190-CF76-F59B-2A36-FBF85ACFE663}"/>
          </ac:spMkLst>
        </pc:spChg>
        <pc:spChg chg="del">
          <ac:chgData name="Bloesch, Troy" userId="d0937869-bb19-47f1-b7cb-e4344a414307" providerId="ADAL" clId="{0B9E4739-E43A-4485-B480-0870AB84DD6D}" dt="2025-12-05T18:48:31.304" v="401" actId="478"/>
          <ac:spMkLst>
            <pc:docMk/>
            <pc:sldMk cId="1041640190" sldId="256"/>
            <ac:spMk id="234" creationId="{9B0E4B62-30A5-6493-D898-847B614BF222}"/>
          </ac:spMkLst>
        </pc:spChg>
        <pc:spChg chg="del">
          <ac:chgData name="Bloesch, Troy" userId="d0937869-bb19-47f1-b7cb-e4344a414307" providerId="ADAL" clId="{0B9E4739-E43A-4485-B480-0870AB84DD6D}" dt="2025-12-05T18:48:31.304" v="401" actId="478"/>
          <ac:spMkLst>
            <pc:docMk/>
            <pc:sldMk cId="1041640190" sldId="256"/>
            <ac:spMk id="238" creationId="{18D747E7-BF0E-CC15-8324-B8F9B0891928}"/>
          </ac:spMkLst>
        </pc:spChg>
        <pc:spChg chg="del">
          <ac:chgData name="Bloesch, Troy" userId="d0937869-bb19-47f1-b7cb-e4344a414307" providerId="ADAL" clId="{0B9E4739-E43A-4485-B480-0870AB84DD6D}" dt="2025-12-05T18:48:31.304" v="401" actId="478"/>
          <ac:spMkLst>
            <pc:docMk/>
            <pc:sldMk cId="1041640190" sldId="256"/>
            <ac:spMk id="240" creationId="{978A1C08-E3A9-80AA-4441-A17E0BCA47AE}"/>
          </ac:spMkLst>
        </pc:spChg>
        <pc:graphicFrameChg chg="mod modGraphic">
          <ac:chgData name="Bloesch, Troy" userId="d0937869-bb19-47f1-b7cb-e4344a414307" providerId="ADAL" clId="{0B9E4739-E43A-4485-B480-0870AB84DD6D}" dt="2025-12-05T18:50:30.958" v="438" actId="14734"/>
          <ac:graphicFrameMkLst>
            <pc:docMk/>
            <pc:sldMk cId="1041640190" sldId="256"/>
            <ac:graphicFrameMk id="15" creationId="{B4E1754D-0D19-51EA-9725-53FC6B1A891B}"/>
          </ac:graphicFrameMkLst>
        </pc:graphicFrameChg>
        <pc:cxnChg chg="del">
          <ac:chgData name="Bloesch, Troy" userId="d0937869-bb19-47f1-b7cb-e4344a414307" providerId="ADAL" clId="{0B9E4739-E43A-4485-B480-0870AB84DD6D}" dt="2025-12-05T18:48:32.825" v="402" actId="478"/>
          <ac:cxnSpMkLst>
            <pc:docMk/>
            <pc:sldMk cId="1041640190" sldId="256"/>
            <ac:cxnSpMk id="31" creationId="{B4F57B18-5A44-83FC-8022-2AE1E3C8A8DF}"/>
          </ac:cxnSpMkLst>
        </pc:cxnChg>
      </pc:sldChg>
      <pc:sldChg chg="add del">
        <pc:chgData name="Bloesch, Troy" userId="d0937869-bb19-47f1-b7cb-e4344a414307" providerId="ADAL" clId="{0B9E4739-E43A-4485-B480-0870AB84DD6D}" dt="2025-12-05T19:18:45.481" v="869" actId="47"/>
        <pc:sldMkLst>
          <pc:docMk/>
          <pc:sldMk cId="1438540094" sldId="257"/>
        </pc:sldMkLst>
      </pc:sldChg>
      <pc:sldChg chg="addSp delSp modSp add del mod ord">
        <pc:chgData name="Bloesch, Troy" userId="d0937869-bb19-47f1-b7cb-e4344a414307" providerId="ADAL" clId="{0B9E4739-E43A-4485-B480-0870AB84DD6D}" dt="2025-12-05T21:04:02.392" v="4983" actId="47"/>
        <pc:sldMkLst>
          <pc:docMk/>
          <pc:sldMk cId="3377863317" sldId="257"/>
        </pc:sldMkLst>
        <pc:spChg chg="mod">
          <ac:chgData name="Bloesch, Troy" userId="d0937869-bb19-47f1-b7cb-e4344a414307" providerId="ADAL" clId="{0B9E4739-E43A-4485-B480-0870AB84DD6D}" dt="2025-12-05T19:24:42.002" v="1140" actId="20577"/>
          <ac:spMkLst>
            <pc:docMk/>
            <pc:sldMk cId="3377863317" sldId="257"/>
            <ac:spMk id="2" creationId="{08F33320-4598-E525-0DEA-C38DF7E82C6A}"/>
          </ac:spMkLst>
        </pc:spChg>
        <pc:spChg chg="add mod">
          <ac:chgData name="Bloesch, Troy" userId="d0937869-bb19-47f1-b7cb-e4344a414307" providerId="ADAL" clId="{0B9E4739-E43A-4485-B480-0870AB84DD6D}" dt="2025-12-05T19:26:26.447" v="1175" actId="14100"/>
          <ac:spMkLst>
            <pc:docMk/>
            <pc:sldMk cId="3377863317" sldId="257"/>
            <ac:spMk id="6" creationId="{896867E0-B56C-540A-C1B2-01AA5F19482E}"/>
          </ac:spMkLst>
        </pc:spChg>
        <pc:spChg chg="mod">
          <ac:chgData name="Bloesch, Troy" userId="d0937869-bb19-47f1-b7cb-e4344a414307" providerId="ADAL" clId="{0B9E4739-E43A-4485-B480-0870AB84DD6D}" dt="2025-12-05T19:24:27.632" v="1102" actId="20577"/>
          <ac:spMkLst>
            <pc:docMk/>
            <pc:sldMk cId="3377863317" sldId="257"/>
            <ac:spMk id="7" creationId="{6A2E2A44-A4BE-9603-7DC3-7F7C3C140800}"/>
          </ac:spMkLst>
        </pc:spChg>
        <pc:spChg chg="add del mod">
          <ac:chgData name="Bloesch, Troy" userId="d0937869-bb19-47f1-b7cb-e4344a414307" providerId="ADAL" clId="{0B9E4739-E43A-4485-B480-0870AB84DD6D}" dt="2025-12-05T19:23:47.189" v="1065" actId="478"/>
          <ac:spMkLst>
            <pc:docMk/>
            <pc:sldMk cId="3377863317" sldId="257"/>
            <ac:spMk id="10" creationId="{707D6265-81EC-2AFC-B3DB-A25A86D272AB}"/>
          </ac:spMkLst>
        </pc:spChg>
        <pc:spChg chg="add del mod">
          <ac:chgData name="Bloesch, Troy" userId="d0937869-bb19-47f1-b7cb-e4344a414307" providerId="ADAL" clId="{0B9E4739-E43A-4485-B480-0870AB84DD6D}" dt="2025-12-05T19:25:38.529" v="1165" actId="478"/>
          <ac:spMkLst>
            <pc:docMk/>
            <pc:sldMk cId="3377863317" sldId="257"/>
            <ac:spMk id="12" creationId="{91AAD6C7-5995-BD71-BD8D-C19DA0C73AFB}"/>
          </ac:spMkLst>
        </pc:spChg>
        <pc:spChg chg="add mod">
          <ac:chgData name="Bloesch, Troy" userId="d0937869-bb19-47f1-b7cb-e4344a414307" providerId="ADAL" clId="{0B9E4739-E43A-4485-B480-0870AB84DD6D}" dt="2025-12-05T19:25:06.896" v="1142" actId="207"/>
          <ac:spMkLst>
            <pc:docMk/>
            <pc:sldMk cId="3377863317" sldId="257"/>
            <ac:spMk id="14" creationId="{314CBEB3-746F-B83F-1CF3-5859EB7965C8}"/>
          </ac:spMkLst>
        </pc:spChg>
        <pc:spChg chg="del">
          <ac:chgData name="Bloesch, Troy" userId="d0937869-bb19-47f1-b7cb-e4344a414307" providerId="ADAL" clId="{0B9E4739-E43A-4485-B480-0870AB84DD6D}" dt="2025-12-05T19:22:13.906" v="973" actId="478"/>
          <ac:spMkLst>
            <pc:docMk/>
            <pc:sldMk cId="3377863317" sldId="257"/>
            <ac:spMk id="17" creationId="{1398B70B-A57B-BEB6-6264-845CD0F56784}"/>
          </ac:spMkLst>
        </pc:spChg>
        <pc:spChg chg="del">
          <ac:chgData name="Bloesch, Troy" userId="d0937869-bb19-47f1-b7cb-e4344a414307" providerId="ADAL" clId="{0B9E4739-E43A-4485-B480-0870AB84DD6D}" dt="2025-12-05T19:22:13.906" v="973" actId="478"/>
          <ac:spMkLst>
            <pc:docMk/>
            <pc:sldMk cId="3377863317" sldId="257"/>
            <ac:spMk id="18" creationId="{DAD6583E-5532-6DCC-C21E-998B15FCDFEC}"/>
          </ac:spMkLst>
        </pc:spChg>
        <pc:spChg chg="mod topLvl">
          <ac:chgData name="Bloesch, Troy" userId="d0937869-bb19-47f1-b7cb-e4344a414307" providerId="ADAL" clId="{0B9E4739-E43A-4485-B480-0870AB84DD6D}" dt="2025-12-05T19:25:59.530" v="1169" actId="165"/>
          <ac:spMkLst>
            <pc:docMk/>
            <pc:sldMk cId="3377863317" sldId="257"/>
            <ac:spMk id="19" creationId="{F7CE1D8D-B027-9298-A3AC-96DF1156CA99}"/>
          </ac:spMkLst>
        </pc:spChg>
        <pc:spChg chg="mod">
          <ac:chgData name="Bloesch, Troy" userId="d0937869-bb19-47f1-b7cb-e4344a414307" providerId="ADAL" clId="{0B9E4739-E43A-4485-B480-0870AB84DD6D}" dt="2025-12-05T19:26:05.294" v="1170" actId="207"/>
          <ac:spMkLst>
            <pc:docMk/>
            <pc:sldMk cId="3377863317" sldId="257"/>
            <ac:spMk id="21" creationId="{9F710B2B-7E3E-7E53-05AC-83B0F9EEB293}"/>
          </ac:spMkLst>
        </pc:spChg>
        <pc:spChg chg="del">
          <ac:chgData name="Bloesch, Troy" userId="d0937869-bb19-47f1-b7cb-e4344a414307" providerId="ADAL" clId="{0B9E4739-E43A-4485-B480-0870AB84DD6D}" dt="2025-12-05T19:22:13.906" v="973" actId="478"/>
          <ac:spMkLst>
            <pc:docMk/>
            <pc:sldMk cId="3377863317" sldId="257"/>
            <ac:spMk id="23" creationId="{80A802E6-817E-A8ED-5F7E-A17FF035D3D8}"/>
          </ac:spMkLst>
        </pc:spChg>
        <pc:spChg chg="del">
          <ac:chgData name="Bloesch, Troy" userId="d0937869-bb19-47f1-b7cb-e4344a414307" providerId="ADAL" clId="{0B9E4739-E43A-4485-B480-0870AB84DD6D}" dt="2025-12-05T19:22:13.906" v="973" actId="478"/>
          <ac:spMkLst>
            <pc:docMk/>
            <pc:sldMk cId="3377863317" sldId="257"/>
            <ac:spMk id="25" creationId="{C4B94E6F-6F4D-FE68-C83B-F71AC2FCB310}"/>
          </ac:spMkLst>
        </pc:spChg>
        <pc:spChg chg="del">
          <ac:chgData name="Bloesch, Troy" userId="d0937869-bb19-47f1-b7cb-e4344a414307" providerId="ADAL" clId="{0B9E4739-E43A-4485-B480-0870AB84DD6D}" dt="2025-12-05T19:22:13.906" v="973" actId="478"/>
          <ac:spMkLst>
            <pc:docMk/>
            <pc:sldMk cId="3377863317" sldId="257"/>
            <ac:spMk id="26" creationId="{F4D434BA-D4DF-4827-4650-EB7D856DF11F}"/>
          </ac:spMkLst>
        </pc:spChg>
        <pc:spChg chg="mod topLvl">
          <ac:chgData name="Bloesch, Troy" userId="d0937869-bb19-47f1-b7cb-e4344a414307" providerId="ADAL" clId="{0B9E4739-E43A-4485-B480-0870AB84DD6D}" dt="2025-12-05T19:25:59.530" v="1169" actId="165"/>
          <ac:spMkLst>
            <pc:docMk/>
            <pc:sldMk cId="3377863317" sldId="257"/>
            <ac:spMk id="27" creationId="{DCFFB7AF-85EC-C22F-4725-5EB6CE0146F3}"/>
          </ac:spMkLst>
        </pc:spChg>
        <pc:spChg chg="mod">
          <ac:chgData name="Bloesch, Troy" userId="d0937869-bb19-47f1-b7cb-e4344a414307" providerId="ADAL" clId="{0B9E4739-E43A-4485-B480-0870AB84DD6D}" dt="2025-12-05T19:26:05.294" v="1170" actId="207"/>
          <ac:spMkLst>
            <pc:docMk/>
            <pc:sldMk cId="3377863317" sldId="257"/>
            <ac:spMk id="29" creationId="{3D26FF3A-51BC-684F-FDB1-7F19A2462B22}"/>
          </ac:spMkLst>
        </pc:spChg>
        <pc:spChg chg="mod topLvl">
          <ac:chgData name="Bloesch, Troy" userId="d0937869-bb19-47f1-b7cb-e4344a414307" providerId="ADAL" clId="{0B9E4739-E43A-4485-B480-0870AB84DD6D}" dt="2025-12-05T19:26:05.294" v="1170" actId="207"/>
          <ac:spMkLst>
            <pc:docMk/>
            <pc:sldMk cId="3377863317" sldId="257"/>
            <ac:spMk id="32" creationId="{FFE1D6EF-D12F-C0C9-0238-7B48BB40DC64}"/>
          </ac:spMkLst>
        </pc:spChg>
        <pc:spChg chg="mod">
          <ac:chgData name="Bloesch, Troy" userId="d0937869-bb19-47f1-b7cb-e4344a414307" providerId="ADAL" clId="{0B9E4739-E43A-4485-B480-0870AB84DD6D}" dt="2025-12-05T19:25:59.530" v="1169" actId="165"/>
          <ac:spMkLst>
            <pc:docMk/>
            <pc:sldMk cId="3377863317" sldId="257"/>
            <ac:spMk id="39" creationId="{5ACC98F7-5542-281A-F859-A99E5F611CBF}"/>
          </ac:spMkLst>
        </pc:spChg>
        <pc:spChg chg="mod">
          <ac:chgData name="Bloesch, Troy" userId="d0937869-bb19-47f1-b7cb-e4344a414307" providerId="ADAL" clId="{0B9E4739-E43A-4485-B480-0870AB84DD6D}" dt="2025-12-05T19:25:59.530" v="1169" actId="165"/>
          <ac:spMkLst>
            <pc:docMk/>
            <pc:sldMk cId="3377863317" sldId="257"/>
            <ac:spMk id="40" creationId="{5A04E257-BBD8-A59F-53D9-68ED17D7AF38}"/>
          </ac:spMkLst>
        </pc:spChg>
        <pc:spChg chg="mod">
          <ac:chgData name="Bloesch, Troy" userId="d0937869-bb19-47f1-b7cb-e4344a414307" providerId="ADAL" clId="{0B9E4739-E43A-4485-B480-0870AB84DD6D}" dt="2025-12-05T19:22:56.473" v="982"/>
          <ac:spMkLst>
            <pc:docMk/>
            <pc:sldMk cId="3377863317" sldId="257"/>
            <ac:spMk id="41" creationId="{AE912121-59C5-3A53-A5DF-33D7F1C0026C}"/>
          </ac:spMkLst>
        </pc:spChg>
        <pc:spChg chg="mod">
          <ac:chgData name="Bloesch, Troy" userId="d0937869-bb19-47f1-b7cb-e4344a414307" providerId="ADAL" clId="{0B9E4739-E43A-4485-B480-0870AB84DD6D}" dt="2025-12-05T19:22:56.473" v="982"/>
          <ac:spMkLst>
            <pc:docMk/>
            <pc:sldMk cId="3377863317" sldId="257"/>
            <ac:spMk id="42" creationId="{E30CC433-F93D-9FAA-E69A-B762628C9530}"/>
          </ac:spMkLst>
        </pc:spChg>
        <pc:spChg chg="mod">
          <ac:chgData name="Bloesch, Troy" userId="d0937869-bb19-47f1-b7cb-e4344a414307" providerId="ADAL" clId="{0B9E4739-E43A-4485-B480-0870AB84DD6D}" dt="2025-12-05T19:22:56.473" v="982"/>
          <ac:spMkLst>
            <pc:docMk/>
            <pc:sldMk cId="3377863317" sldId="257"/>
            <ac:spMk id="43" creationId="{92ADA0DC-9D91-77B1-4260-60FBBEEF799C}"/>
          </ac:spMkLst>
        </pc:spChg>
        <pc:spChg chg="mod">
          <ac:chgData name="Bloesch, Troy" userId="d0937869-bb19-47f1-b7cb-e4344a414307" providerId="ADAL" clId="{0B9E4739-E43A-4485-B480-0870AB84DD6D}" dt="2025-12-05T19:25:59.530" v="1169" actId="165"/>
          <ac:spMkLst>
            <pc:docMk/>
            <pc:sldMk cId="3377863317" sldId="257"/>
            <ac:spMk id="44" creationId="{576ADD00-CF19-C23A-19DA-35C224FBA38C}"/>
          </ac:spMkLst>
        </pc:spChg>
        <pc:spChg chg="mod">
          <ac:chgData name="Bloesch, Troy" userId="d0937869-bb19-47f1-b7cb-e4344a414307" providerId="ADAL" clId="{0B9E4739-E43A-4485-B480-0870AB84DD6D}" dt="2025-12-05T19:24:35.155" v="1127" actId="20577"/>
          <ac:spMkLst>
            <pc:docMk/>
            <pc:sldMk cId="3377863317" sldId="257"/>
            <ac:spMk id="45" creationId="{4FA21E48-4B2F-C628-1D7A-048B4B35C5D7}"/>
          </ac:spMkLst>
        </pc:spChg>
        <pc:spChg chg="mod">
          <ac:chgData name="Bloesch, Troy" userId="d0937869-bb19-47f1-b7cb-e4344a414307" providerId="ADAL" clId="{0B9E4739-E43A-4485-B480-0870AB84DD6D}" dt="2025-12-05T19:23:01.463" v="984" actId="1076"/>
          <ac:spMkLst>
            <pc:docMk/>
            <pc:sldMk cId="3377863317" sldId="257"/>
            <ac:spMk id="46" creationId="{8D4BBE12-2491-2564-517C-1D609A77A5EF}"/>
          </ac:spMkLst>
        </pc:spChg>
        <pc:spChg chg="mod">
          <ac:chgData name="Bloesch, Troy" userId="d0937869-bb19-47f1-b7cb-e4344a414307" providerId="ADAL" clId="{0B9E4739-E43A-4485-B480-0870AB84DD6D}" dt="2025-12-05T19:23:01.463" v="984" actId="1076"/>
          <ac:spMkLst>
            <pc:docMk/>
            <pc:sldMk cId="3377863317" sldId="257"/>
            <ac:spMk id="47" creationId="{3FC17E84-0423-8A6F-E14B-97E2EAFA74B5}"/>
          </ac:spMkLst>
        </pc:spChg>
        <pc:spChg chg="mod topLvl">
          <ac:chgData name="Bloesch, Troy" userId="d0937869-bb19-47f1-b7cb-e4344a414307" providerId="ADAL" clId="{0B9E4739-E43A-4485-B480-0870AB84DD6D}" dt="2025-12-05T19:26:05.294" v="1170" actId="207"/>
          <ac:spMkLst>
            <pc:docMk/>
            <pc:sldMk cId="3377863317" sldId="257"/>
            <ac:spMk id="49" creationId="{8A55A490-7258-3A62-6BB9-0663E7A9D8C2}"/>
          </ac:spMkLst>
        </pc:spChg>
        <pc:spChg chg="mod">
          <ac:chgData name="Bloesch, Troy" userId="d0937869-bb19-47f1-b7cb-e4344a414307" providerId="ADAL" clId="{0B9E4739-E43A-4485-B480-0870AB84DD6D}" dt="2025-12-05T19:25:59.530" v="1169" actId="165"/>
          <ac:spMkLst>
            <pc:docMk/>
            <pc:sldMk cId="3377863317" sldId="257"/>
            <ac:spMk id="51" creationId="{64397F77-F37B-A364-9DC6-8E013168BC0F}"/>
          </ac:spMkLst>
        </pc:spChg>
        <pc:spChg chg="mod">
          <ac:chgData name="Bloesch, Troy" userId="d0937869-bb19-47f1-b7cb-e4344a414307" providerId="ADAL" clId="{0B9E4739-E43A-4485-B480-0870AB84DD6D}" dt="2025-12-05T19:25:59.530" v="1169" actId="165"/>
          <ac:spMkLst>
            <pc:docMk/>
            <pc:sldMk cId="3377863317" sldId="257"/>
            <ac:spMk id="52" creationId="{EF1D498B-D1D8-F7BC-9BF9-5240337641C8}"/>
          </ac:spMkLst>
        </pc:spChg>
        <pc:spChg chg="mod topLvl">
          <ac:chgData name="Bloesch, Troy" userId="d0937869-bb19-47f1-b7cb-e4344a414307" providerId="ADAL" clId="{0B9E4739-E43A-4485-B480-0870AB84DD6D}" dt="2025-12-05T19:25:51.069" v="1167" actId="165"/>
          <ac:spMkLst>
            <pc:docMk/>
            <pc:sldMk cId="3377863317" sldId="257"/>
            <ac:spMk id="54" creationId="{CC997FED-C2B7-8A5A-581A-0B979AA2939A}"/>
          </ac:spMkLst>
        </pc:spChg>
        <pc:spChg chg="mod">
          <ac:chgData name="Bloesch, Troy" userId="d0937869-bb19-47f1-b7cb-e4344a414307" providerId="ADAL" clId="{0B9E4739-E43A-4485-B480-0870AB84DD6D}" dt="2025-12-05T19:25:10.456" v="1143" actId="207"/>
          <ac:spMkLst>
            <pc:docMk/>
            <pc:sldMk cId="3377863317" sldId="257"/>
            <ac:spMk id="57" creationId="{334367C3-1B1C-6313-93D8-8FD76B9481CD}"/>
          </ac:spMkLst>
        </pc:spChg>
        <pc:spChg chg="mod">
          <ac:chgData name="Bloesch, Troy" userId="d0937869-bb19-47f1-b7cb-e4344a414307" providerId="ADAL" clId="{0B9E4739-E43A-4485-B480-0870AB84DD6D}" dt="2025-12-05T19:25:10.456" v="1143" actId="207"/>
          <ac:spMkLst>
            <pc:docMk/>
            <pc:sldMk cId="3377863317" sldId="257"/>
            <ac:spMk id="58" creationId="{D085B596-4F98-19F8-CE64-8CD45DE8BCA3}"/>
          </ac:spMkLst>
        </pc:spChg>
        <pc:spChg chg="add mod">
          <ac:chgData name="Bloesch, Troy" userId="d0937869-bb19-47f1-b7cb-e4344a414307" providerId="ADAL" clId="{0B9E4739-E43A-4485-B480-0870AB84DD6D}" dt="2025-12-05T19:26:54.305" v="1183" actId="1076"/>
          <ac:spMkLst>
            <pc:docMk/>
            <pc:sldMk cId="3377863317" sldId="257"/>
            <ac:spMk id="61" creationId="{D9E77421-6650-FB4C-A674-5C7E661CFAC6}"/>
          </ac:spMkLst>
        </pc:spChg>
        <pc:spChg chg="mod">
          <ac:chgData name="Bloesch, Troy" userId="d0937869-bb19-47f1-b7cb-e4344a414307" providerId="ADAL" clId="{0B9E4739-E43A-4485-B480-0870AB84DD6D}" dt="2025-12-05T19:48:48.598" v="1900" actId="20577"/>
          <ac:spMkLst>
            <pc:docMk/>
            <pc:sldMk cId="3377863317" sldId="257"/>
            <ac:spMk id="117" creationId="{74326526-6282-FEC2-86F5-D3AEDFB66554}"/>
          </ac:spMkLst>
        </pc:spChg>
        <pc:spChg chg="mod">
          <ac:chgData name="Bloesch, Troy" userId="d0937869-bb19-47f1-b7cb-e4344a414307" providerId="ADAL" clId="{0B9E4739-E43A-4485-B480-0870AB84DD6D}" dt="2025-12-05T19:22:18.425" v="974" actId="1076"/>
          <ac:spMkLst>
            <pc:docMk/>
            <pc:sldMk cId="3377863317" sldId="257"/>
            <ac:spMk id="123" creationId="{431828DA-520F-1265-127B-25B3478C9826}"/>
          </ac:spMkLst>
        </pc:spChg>
        <pc:spChg chg="mod">
          <ac:chgData name="Bloesch, Troy" userId="d0937869-bb19-47f1-b7cb-e4344a414307" providerId="ADAL" clId="{0B9E4739-E43A-4485-B480-0870AB84DD6D}" dt="2025-12-05T19:22:18.425" v="974" actId="1076"/>
          <ac:spMkLst>
            <pc:docMk/>
            <pc:sldMk cId="3377863317" sldId="257"/>
            <ac:spMk id="130" creationId="{83CDDC99-4C83-8802-376A-64C244D2FF91}"/>
          </ac:spMkLst>
        </pc:spChg>
        <pc:spChg chg="mod">
          <ac:chgData name="Bloesch, Troy" userId="d0937869-bb19-47f1-b7cb-e4344a414307" providerId="ADAL" clId="{0B9E4739-E43A-4485-B480-0870AB84DD6D}" dt="2025-12-05T19:48:52.576" v="1907" actId="20577"/>
          <ac:spMkLst>
            <pc:docMk/>
            <pc:sldMk cId="3377863317" sldId="257"/>
            <ac:spMk id="137" creationId="{6113624A-9CE2-FDD0-621F-94A39C2DEC6C}"/>
          </ac:spMkLst>
        </pc:spChg>
        <pc:spChg chg="mod">
          <ac:chgData name="Bloesch, Troy" userId="d0937869-bb19-47f1-b7cb-e4344a414307" providerId="ADAL" clId="{0B9E4739-E43A-4485-B480-0870AB84DD6D}" dt="2025-12-05T19:22:18.425" v="974" actId="1076"/>
          <ac:spMkLst>
            <pc:docMk/>
            <pc:sldMk cId="3377863317" sldId="257"/>
            <ac:spMk id="150" creationId="{3113A342-68F5-B8B8-3D5A-4A7A0C2C6864}"/>
          </ac:spMkLst>
        </pc:spChg>
        <pc:spChg chg="mod">
          <ac:chgData name="Bloesch, Troy" userId="d0937869-bb19-47f1-b7cb-e4344a414307" providerId="ADAL" clId="{0B9E4739-E43A-4485-B480-0870AB84DD6D}" dt="2025-12-05T19:25:34.549" v="1163" actId="20577"/>
          <ac:spMkLst>
            <pc:docMk/>
            <pc:sldMk cId="3377863317" sldId="257"/>
            <ac:spMk id="172" creationId="{A1955C4D-B290-E98E-0587-B7BC8AF52D35}"/>
          </ac:spMkLst>
        </pc:spChg>
        <pc:spChg chg="mod">
          <ac:chgData name="Bloesch, Troy" userId="d0937869-bb19-47f1-b7cb-e4344a414307" providerId="ADAL" clId="{0B9E4739-E43A-4485-B480-0870AB84DD6D}" dt="2025-12-05T19:22:18.425" v="974" actId="1076"/>
          <ac:spMkLst>
            <pc:docMk/>
            <pc:sldMk cId="3377863317" sldId="257"/>
            <ac:spMk id="179" creationId="{D73D712B-5BA6-E967-E858-1DD19F65D0A9}"/>
          </ac:spMkLst>
        </pc:spChg>
        <pc:spChg chg="mod">
          <ac:chgData name="Bloesch, Troy" userId="d0937869-bb19-47f1-b7cb-e4344a414307" providerId="ADAL" clId="{0B9E4739-E43A-4485-B480-0870AB84DD6D}" dt="2025-12-05T19:22:18.425" v="974" actId="1076"/>
          <ac:spMkLst>
            <pc:docMk/>
            <pc:sldMk cId="3377863317" sldId="257"/>
            <ac:spMk id="183" creationId="{597E777D-042D-012C-B719-B103FBFCB058}"/>
          </ac:spMkLst>
        </pc:spChg>
        <pc:spChg chg="mod">
          <ac:chgData name="Bloesch, Troy" userId="d0937869-bb19-47f1-b7cb-e4344a414307" providerId="ADAL" clId="{0B9E4739-E43A-4485-B480-0870AB84DD6D}" dt="2025-12-05T19:22:18.425" v="974" actId="1076"/>
          <ac:spMkLst>
            <pc:docMk/>
            <pc:sldMk cId="3377863317" sldId="257"/>
            <ac:spMk id="376" creationId="{E2AFC208-D4BF-5B69-025D-9F0A4340B854}"/>
          </ac:spMkLst>
        </pc:spChg>
        <pc:spChg chg="mod">
          <ac:chgData name="Bloesch, Troy" userId="d0937869-bb19-47f1-b7cb-e4344a414307" providerId="ADAL" clId="{0B9E4739-E43A-4485-B480-0870AB84DD6D}" dt="2025-12-05T19:22:18.425" v="974" actId="1076"/>
          <ac:spMkLst>
            <pc:docMk/>
            <pc:sldMk cId="3377863317" sldId="257"/>
            <ac:spMk id="415" creationId="{185F53AB-1808-903A-81B1-132A02338288}"/>
          </ac:spMkLst>
        </pc:spChg>
        <pc:spChg chg="mod">
          <ac:chgData name="Bloesch, Troy" userId="d0937869-bb19-47f1-b7cb-e4344a414307" providerId="ADAL" clId="{0B9E4739-E43A-4485-B480-0870AB84DD6D}" dt="2025-12-05T19:22:18.425" v="974" actId="1076"/>
          <ac:spMkLst>
            <pc:docMk/>
            <pc:sldMk cId="3377863317" sldId="257"/>
            <ac:spMk id="429" creationId="{CD47CC50-E60C-15AC-D9BD-FE8521D84532}"/>
          </ac:spMkLst>
        </pc:spChg>
        <pc:spChg chg="mod">
          <ac:chgData name="Bloesch, Troy" userId="d0937869-bb19-47f1-b7cb-e4344a414307" providerId="ADAL" clId="{0B9E4739-E43A-4485-B480-0870AB84DD6D}" dt="2025-12-05T19:22:18.425" v="974" actId="1076"/>
          <ac:spMkLst>
            <pc:docMk/>
            <pc:sldMk cId="3377863317" sldId="257"/>
            <ac:spMk id="451" creationId="{E3CFB544-3334-7E0F-2C78-9B5A85F6CCB6}"/>
          </ac:spMkLst>
        </pc:spChg>
        <pc:spChg chg="mod">
          <ac:chgData name="Bloesch, Troy" userId="d0937869-bb19-47f1-b7cb-e4344a414307" providerId="ADAL" clId="{0B9E4739-E43A-4485-B480-0870AB84DD6D}" dt="2025-12-05T19:26:58.822" v="1184" actId="207"/>
          <ac:spMkLst>
            <pc:docMk/>
            <pc:sldMk cId="3377863317" sldId="257"/>
            <ac:spMk id="453" creationId="{4F347EDC-A480-186D-29D2-7115F9E8FB1D}"/>
          </ac:spMkLst>
        </pc:spChg>
        <pc:spChg chg="mod">
          <ac:chgData name="Bloesch, Troy" userId="d0937869-bb19-47f1-b7cb-e4344a414307" providerId="ADAL" clId="{0B9E4739-E43A-4485-B480-0870AB84DD6D}" dt="2025-12-05T19:22:18.425" v="974" actId="1076"/>
          <ac:spMkLst>
            <pc:docMk/>
            <pc:sldMk cId="3377863317" sldId="257"/>
            <ac:spMk id="490" creationId="{37386E66-5639-89F4-E64D-67ABE58DF455}"/>
          </ac:spMkLst>
        </pc:spChg>
        <pc:grpChg chg="del">
          <ac:chgData name="Bloesch, Troy" userId="d0937869-bb19-47f1-b7cb-e4344a414307" providerId="ADAL" clId="{0B9E4739-E43A-4485-B480-0870AB84DD6D}" dt="2025-12-05T19:22:13.906" v="973" actId="478"/>
          <ac:grpSpMkLst>
            <pc:docMk/>
            <pc:sldMk cId="3377863317" sldId="257"/>
            <ac:grpSpMk id="8" creationId="{EA39ECCA-AF03-FA69-34C0-604244A56AC5}"/>
          </ac:grpSpMkLst>
        </pc:grpChg>
        <pc:grpChg chg="mod">
          <ac:chgData name="Bloesch, Troy" userId="d0937869-bb19-47f1-b7cb-e4344a414307" providerId="ADAL" clId="{0B9E4739-E43A-4485-B480-0870AB84DD6D}" dt="2025-12-05T19:23:01.463" v="984" actId="1076"/>
          <ac:grpSpMkLst>
            <pc:docMk/>
            <pc:sldMk cId="3377863317" sldId="257"/>
            <ac:grpSpMk id="16" creationId="{251A05A6-1E50-CB55-0FB2-5D2C09672C25}"/>
          </ac:grpSpMkLst>
        </pc:grpChg>
        <pc:grpChg chg="mod">
          <ac:chgData name="Bloesch, Troy" userId="d0937869-bb19-47f1-b7cb-e4344a414307" providerId="ADAL" clId="{0B9E4739-E43A-4485-B480-0870AB84DD6D}" dt="2025-12-05T19:26:05.294" v="1170" actId="207"/>
          <ac:grpSpMkLst>
            <pc:docMk/>
            <pc:sldMk cId="3377863317" sldId="257"/>
            <ac:grpSpMk id="20" creationId="{645FDBB1-E8A5-045F-95AA-AEFCC13D7929}"/>
          </ac:grpSpMkLst>
        </pc:grpChg>
        <pc:grpChg chg="mod">
          <ac:chgData name="Bloesch, Troy" userId="d0937869-bb19-47f1-b7cb-e4344a414307" providerId="ADAL" clId="{0B9E4739-E43A-4485-B480-0870AB84DD6D}" dt="2025-12-05T19:23:01.463" v="984" actId="1076"/>
          <ac:grpSpMkLst>
            <pc:docMk/>
            <pc:sldMk cId="3377863317" sldId="257"/>
            <ac:grpSpMk id="24" creationId="{452EFBA5-FFBD-CDAE-45CC-828E85421756}"/>
          </ac:grpSpMkLst>
        </pc:grpChg>
        <pc:grpChg chg="mod">
          <ac:chgData name="Bloesch, Troy" userId="d0937869-bb19-47f1-b7cb-e4344a414307" providerId="ADAL" clId="{0B9E4739-E43A-4485-B480-0870AB84DD6D}" dt="2025-12-05T19:26:05.294" v="1170" actId="207"/>
          <ac:grpSpMkLst>
            <pc:docMk/>
            <pc:sldMk cId="3377863317" sldId="257"/>
            <ac:grpSpMk id="28" creationId="{669A5DF3-B28F-C1C6-876C-FA6D25937540}"/>
          </ac:grpSpMkLst>
        </pc:grpChg>
        <pc:grpChg chg="mod">
          <ac:chgData name="Bloesch, Troy" userId="d0937869-bb19-47f1-b7cb-e4344a414307" providerId="ADAL" clId="{0B9E4739-E43A-4485-B480-0870AB84DD6D}" dt="2025-12-05T19:23:01.463" v="984" actId="1076"/>
          <ac:grpSpMkLst>
            <pc:docMk/>
            <pc:sldMk cId="3377863317" sldId="257"/>
            <ac:grpSpMk id="31" creationId="{B654F1DB-0AC9-F912-C74C-7712C11384C4}"/>
          </ac:grpSpMkLst>
        </pc:grpChg>
        <pc:grpChg chg="mod">
          <ac:chgData name="Bloesch, Troy" userId="d0937869-bb19-47f1-b7cb-e4344a414307" providerId="ADAL" clId="{0B9E4739-E43A-4485-B480-0870AB84DD6D}" dt="2025-12-05T19:23:01.463" v="984" actId="1076"/>
          <ac:grpSpMkLst>
            <pc:docMk/>
            <pc:sldMk cId="3377863317" sldId="257"/>
            <ac:grpSpMk id="48" creationId="{5ABD86D5-09CB-6737-5684-6A1950ED1BE5}"/>
          </ac:grpSpMkLst>
        </pc:grpChg>
        <pc:grpChg chg="del mod">
          <ac:chgData name="Bloesch, Troy" userId="d0937869-bb19-47f1-b7cb-e4344a414307" providerId="ADAL" clId="{0B9E4739-E43A-4485-B480-0870AB84DD6D}" dt="2025-12-05T19:25:53.538" v="1168" actId="478"/>
          <ac:grpSpMkLst>
            <pc:docMk/>
            <pc:sldMk cId="3377863317" sldId="257"/>
            <ac:grpSpMk id="53" creationId="{CEFE968B-E182-8F72-DEB6-B9EF914B2D72}"/>
          </ac:grpSpMkLst>
        </pc:grpChg>
        <pc:grpChg chg="add mod">
          <ac:chgData name="Bloesch, Troy" userId="d0937869-bb19-47f1-b7cb-e4344a414307" providerId="ADAL" clId="{0B9E4739-E43A-4485-B480-0870AB84DD6D}" dt="2025-12-05T19:25:10.456" v="1143" actId="207"/>
          <ac:grpSpMkLst>
            <pc:docMk/>
            <pc:sldMk cId="3377863317" sldId="257"/>
            <ac:grpSpMk id="56" creationId="{ACECE248-886F-5CF1-F54F-58C88D323C34}"/>
          </ac:grpSpMkLst>
        </pc:grpChg>
        <pc:grpChg chg="add mod">
          <ac:chgData name="Bloesch, Troy" userId="d0937869-bb19-47f1-b7cb-e4344a414307" providerId="ADAL" clId="{0B9E4739-E43A-4485-B480-0870AB84DD6D}" dt="2025-12-05T19:26:54.305" v="1183" actId="1076"/>
          <ac:grpSpMkLst>
            <pc:docMk/>
            <pc:sldMk cId="3377863317" sldId="257"/>
            <ac:grpSpMk id="452" creationId="{9270540D-357F-0D60-742B-93D01A96C06F}"/>
          </ac:grpSpMkLst>
        </pc:grpChg>
        <pc:picChg chg="mod">
          <ac:chgData name="Bloesch, Troy" userId="d0937869-bb19-47f1-b7cb-e4344a414307" providerId="ADAL" clId="{0B9E4739-E43A-4485-B480-0870AB84DD6D}" dt="2025-12-05T19:26:05.294" v="1170" actId="207"/>
          <ac:picMkLst>
            <pc:docMk/>
            <pc:sldMk cId="3377863317" sldId="257"/>
            <ac:picMk id="22" creationId="{0DEB1132-AEE0-CB99-C73C-D2810623DBE5}"/>
          </ac:picMkLst>
        </pc:picChg>
        <pc:picChg chg="mod">
          <ac:chgData name="Bloesch, Troy" userId="d0937869-bb19-47f1-b7cb-e4344a414307" providerId="ADAL" clId="{0B9E4739-E43A-4485-B480-0870AB84DD6D}" dt="2025-12-05T19:26:13.689" v="1171" actId="207"/>
          <ac:picMkLst>
            <pc:docMk/>
            <pc:sldMk cId="3377863317" sldId="257"/>
            <ac:picMk id="30" creationId="{BBE4BA87-A46D-B69E-CA5F-AEA4901C356B}"/>
          </ac:picMkLst>
        </pc:picChg>
        <pc:picChg chg="mod">
          <ac:chgData name="Bloesch, Troy" userId="d0937869-bb19-47f1-b7cb-e4344a414307" providerId="ADAL" clId="{0B9E4739-E43A-4485-B480-0870AB84DD6D}" dt="2025-12-05T19:26:50.972" v="1182"/>
          <ac:picMkLst>
            <pc:docMk/>
            <pc:sldMk cId="3377863317" sldId="257"/>
            <ac:picMk id="454" creationId="{72F6F04C-899B-A357-DE60-CB96FA049FCC}"/>
          </ac:picMkLst>
        </pc:picChg>
        <pc:cxnChg chg="add mod">
          <ac:chgData name="Bloesch, Troy" userId="d0937869-bb19-47f1-b7cb-e4344a414307" providerId="ADAL" clId="{0B9E4739-E43A-4485-B480-0870AB84DD6D}" dt="2025-12-05T19:25:00.561" v="1141" actId="208"/>
          <ac:cxnSpMkLst>
            <pc:docMk/>
            <pc:sldMk cId="3377863317" sldId="257"/>
            <ac:cxnSpMk id="59" creationId="{AA06A110-722D-F35A-B474-D40DB0B50B19}"/>
          </ac:cxnSpMkLst>
        </pc:cxnChg>
      </pc:sldChg>
      <pc:sldChg chg="addSp delSp modSp add mod modNotesTx">
        <pc:chgData name="Bloesch, Troy" userId="d0937869-bb19-47f1-b7cb-e4344a414307" providerId="ADAL" clId="{0B9E4739-E43A-4485-B480-0870AB84DD6D}" dt="2025-12-05T22:00:37.170" v="6215" actId="14100"/>
        <pc:sldMkLst>
          <pc:docMk/>
          <pc:sldMk cId="1677122549" sldId="258"/>
        </pc:sldMkLst>
        <pc:spChg chg="add mod">
          <ac:chgData name="Bloesch, Troy" userId="d0937869-bb19-47f1-b7cb-e4344a414307" providerId="ADAL" clId="{0B9E4739-E43A-4485-B480-0870AB84DD6D}" dt="2025-12-05T22:00:06.166" v="6208" actId="14100"/>
          <ac:spMkLst>
            <pc:docMk/>
            <pc:sldMk cId="1677122549" sldId="258"/>
            <ac:spMk id="2" creationId="{474BAE68-336A-F15F-39E7-0D6509410DA5}"/>
          </ac:spMkLst>
        </pc:spChg>
        <pc:spChg chg="add mod">
          <ac:chgData name="Bloesch, Troy" userId="d0937869-bb19-47f1-b7cb-e4344a414307" providerId="ADAL" clId="{0B9E4739-E43A-4485-B480-0870AB84DD6D}" dt="2025-12-05T21:58:53.243" v="6198" actId="403"/>
          <ac:spMkLst>
            <pc:docMk/>
            <pc:sldMk cId="1677122549" sldId="258"/>
            <ac:spMk id="3" creationId="{EFD92C8F-7BE4-1B5A-82AD-C19A05808BC9}"/>
          </ac:spMkLst>
        </pc:spChg>
        <pc:spChg chg="add mod">
          <ac:chgData name="Bloesch, Troy" userId="d0937869-bb19-47f1-b7cb-e4344a414307" providerId="ADAL" clId="{0B9E4739-E43A-4485-B480-0870AB84DD6D}" dt="2025-12-05T22:00:11.182" v="6209" actId="14100"/>
          <ac:spMkLst>
            <pc:docMk/>
            <pc:sldMk cId="1677122549" sldId="258"/>
            <ac:spMk id="6" creationId="{2C72EAF9-9F9B-2B6B-6DC2-C6930C6A9A7D}"/>
          </ac:spMkLst>
        </pc:spChg>
        <pc:spChg chg="add mod">
          <ac:chgData name="Bloesch, Troy" userId="d0937869-bb19-47f1-b7cb-e4344a414307" providerId="ADAL" clId="{0B9E4739-E43A-4485-B480-0870AB84DD6D}" dt="2025-12-05T21:58:56.089" v="6199" actId="403"/>
          <ac:spMkLst>
            <pc:docMk/>
            <pc:sldMk cId="1677122549" sldId="258"/>
            <ac:spMk id="8" creationId="{4397F742-50F3-3FF1-44D7-DEC5783293E9}"/>
          </ac:spMkLst>
        </pc:spChg>
        <pc:spChg chg="mod">
          <ac:chgData name="Bloesch, Troy" userId="d0937869-bb19-47f1-b7cb-e4344a414307" providerId="ADAL" clId="{0B9E4739-E43A-4485-B480-0870AB84DD6D}" dt="2025-12-05T20:27:34.163" v="4611" actId="1076"/>
          <ac:spMkLst>
            <pc:docMk/>
            <pc:sldMk cId="1677122549" sldId="258"/>
            <ac:spMk id="12" creationId="{D038E270-76B4-8F00-2E21-F7B9F666FB90}"/>
          </ac:spMkLst>
        </pc:spChg>
        <pc:spChg chg="add mod">
          <ac:chgData name="Bloesch, Troy" userId="d0937869-bb19-47f1-b7cb-e4344a414307" providerId="ADAL" clId="{0B9E4739-E43A-4485-B480-0870AB84DD6D}" dt="2025-12-05T22:00:14.048" v="6210" actId="14100"/>
          <ac:spMkLst>
            <pc:docMk/>
            <pc:sldMk cId="1677122549" sldId="258"/>
            <ac:spMk id="19" creationId="{37A6DACE-1FB4-E222-CFE5-9CDC9084BF75}"/>
          </ac:spMkLst>
        </pc:spChg>
        <pc:spChg chg="add mod">
          <ac:chgData name="Bloesch, Troy" userId="d0937869-bb19-47f1-b7cb-e4344a414307" providerId="ADAL" clId="{0B9E4739-E43A-4485-B480-0870AB84DD6D}" dt="2025-12-05T21:58:59.257" v="6200" actId="403"/>
          <ac:spMkLst>
            <pc:docMk/>
            <pc:sldMk cId="1677122549" sldId="258"/>
            <ac:spMk id="20" creationId="{E9980E1F-693F-3446-6B7B-071452B8561A}"/>
          </ac:spMkLst>
        </pc:spChg>
        <pc:spChg chg="add mod">
          <ac:chgData name="Bloesch, Troy" userId="d0937869-bb19-47f1-b7cb-e4344a414307" providerId="ADAL" clId="{0B9E4739-E43A-4485-B480-0870AB84DD6D}" dt="2025-12-05T22:00:16.792" v="6211" actId="14100"/>
          <ac:spMkLst>
            <pc:docMk/>
            <pc:sldMk cId="1677122549" sldId="258"/>
            <ac:spMk id="22" creationId="{2255F0E6-A4F3-5491-73F0-CC80363E3DD8}"/>
          </ac:spMkLst>
        </pc:spChg>
        <pc:spChg chg="add mod">
          <ac:chgData name="Bloesch, Troy" userId="d0937869-bb19-47f1-b7cb-e4344a414307" providerId="ADAL" clId="{0B9E4739-E43A-4485-B480-0870AB84DD6D}" dt="2025-12-05T21:59:11.367" v="6204" actId="403"/>
          <ac:spMkLst>
            <pc:docMk/>
            <pc:sldMk cId="1677122549" sldId="258"/>
            <ac:spMk id="23" creationId="{6FD18FA1-554D-F1BC-DD9E-F8D9760B7EEC}"/>
          </ac:spMkLst>
        </pc:spChg>
        <pc:spChg chg="del">
          <ac:chgData name="Bloesch, Troy" userId="d0937869-bb19-47f1-b7cb-e4344a414307" providerId="ADAL" clId="{0B9E4739-E43A-4485-B480-0870AB84DD6D}" dt="2025-12-05T19:54:46.124" v="2226" actId="478"/>
          <ac:spMkLst>
            <pc:docMk/>
            <pc:sldMk cId="1677122549" sldId="258"/>
            <ac:spMk id="28" creationId="{F3806566-B54A-C6FF-68B6-382B23C8569A}"/>
          </ac:spMkLst>
        </pc:spChg>
        <pc:spChg chg="mod">
          <ac:chgData name="Bloesch, Troy" userId="d0937869-bb19-47f1-b7cb-e4344a414307" providerId="ADAL" clId="{0B9E4739-E43A-4485-B480-0870AB84DD6D}" dt="2025-12-05T20:37:07.389" v="4655" actId="207"/>
          <ac:spMkLst>
            <pc:docMk/>
            <pc:sldMk cId="1677122549" sldId="258"/>
            <ac:spMk id="29" creationId="{4EF441F7-2F3F-09A4-0FEA-15DD5CA52751}"/>
          </ac:spMkLst>
        </pc:spChg>
        <pc:spChg chg="mod">
          <ac:chgData name="Bloesch, Troy" userId="d0937869-bb19-47f1-b7cb-e4344a414307" providerId="ADAL" clId="{0B9E4739-E43A-4485-B480-0870AB84DD6D}" dt="2025-12-05T20:27:22.432" v="4610" actId="113"/>
          <ac:spMkLst>
            <pc:docMk/>
            <pc:sldMk cId="1677122549" sldId="258"/>
            <ac:spMk id="30" creationId="{E488579B-1573-E5F6-08F9-C78B7D8A75FB}"/>
          </ac:spMkLst>
        </pc:spChg>
        <pc:spChg chg="mod">
          <ac:chgData name="Bloesch, Troy" userId="d0937869-bb19-47f1-b7cb-e4344a414307" providerId="ADAL" clId="{0B9E4739-E43A-4485-B480-0870AB84DD6D}" dt="2025-12-05T19:51:16.192" v="2035" actId="14100"/>
          <ac:spMkLst>
            <pc:docMk/>
            <pc:sldMk cId="1677122549" sldId="258"/>
            <ac:spMk id="31" creationId="{C7E10056-B4DA-7163-4A1D-A3E6A16E9797}"/>
          </ac:spMkLst>
        </pc:spChg>
        <pc:spChg chg="add mod">
          <ac:chgData name="Bloesch, Troy" userId="d0937869-bb19-47f1-b7cb-e4344a414307" providerId="ADAL" clId="{0B9E4739-E43A-4485-B480-0870AB84DD6D}" dt="2025-12-05T22:00:18.762" v="6212" actId="14100"/>
          <ac:spMkLst>
            <pc:docMk/>
            <pc:sldMk cId="1677122549" sldId="258"/>
            <ac:spMk id="32" creationId="{E63A2B80-D402-8427-5FF4-570E79D56715}"/>
          </ac:spMkLst>
        </pc:spChg>
        <pc:spChg chg="mod">
          <ac:chgData name="Bloesch, Troy" userId="d0937869-bb19-47f1-b7cb-e4344a414307" providerId="ADAL" clId="{0B9E4739-E43A-4485-B480-0870AB84DD6D}" dt="2025-12-05T22:00:37.170" v="6215" actId="14100"/>
          <ac:spMkLst>
            <pc:docMk/>
            <pc:sldMk cId="1677122549" sldId="258"/>
            <ac:spMk id="33" creationId="{0C6951AD-1C50-9A2E-4368-84E3CAC868C2}"/>
          </ac:spMkLst>
        </pc:spChg>
        <pc:spChg chg="add mod">
          <ac:chgData name="Bloesch, Troy" userId="d0937869-bb19-47f1-b7cb-e4344a414307" providerId="ADAL" clId="{0B9E4739-E43A-4485-B480-0870AB84DD6D}" dt="2025-12-05T21:59:08.420" v="6203" actId="403"/>
          <ac:spMkLst>
            <pc:docMk/>
            <pc:sldMk cId="1677122549" sldId="258"/>
            <ac:spMk id="34" creationId="{8EE84AC8-49B1-25C8-22C4-CC2F86493A4E}"/>
          </ac:spMkLst>
        </pc:spChg>
        <pc:spChg chg="mod">
          <ac:chgData name="Bloesch, Troy" userId="d0937869-bb19-47f1-b7cb-e4344a414307" providerId="ADAL" clId="{0B9E4739-E43A-4485-B480-0870AB84DD6D}" dt="2025-12-05T19:51:26.637" v="2037" actId="1076"/>
          <ac:spMkLst>
            <pc:docMk/>
            <pc:sldMk cId="1677122549" sldId="258"/>
            <ac:spMk id="35" creationId="{F59137D2-E896-274D-64A7-162E674491A2}"/>
          </ac:spMkLst>
        </pc:spChg>
        <pc:spChg chg="add mod">
          <ac:chgData name="Bloesch, Troy" userId="d0937869-bb19-47f1-b7cb-e4344a414307" providerId="ADAL" clId="{0B9E4739-E43A-4485-B480-0870AB84DD6D}" dt="2025-12-05T22:00:21.330" v="6213" actId="14100"/>
          <ac:spMkLst>
            <pc:docMk/>
            <pc:sldMk cId="1677122549" sldId="258"/>
            <ac:spMk id="37" creationId="{AF348C32-DF72-6873-CA0E-3D4C70FF607D}"/>
          </ac:spMkLst>
        </pc:spChg>
        <pc:spChg chg="add mod">
          <ac:chgData name="Bloesch, Troy" userId="d0937869-bb19-47f1-b7cb-e4344a414307" providerId="ADAL" clId="{0B9E4739-E43A-4485-B480-0870AB84DD6D}" dt="2025-12-05T21:59:05.449" v="6202" actId="403"/>
          <ac:spMkLst>
            <pc:docMk/>
            <pc:sldMk cId="1677122549" sldId="258"/>
            <ac:spMk id="38" creationId="{25FE3D3B-1EB5-CDDE-3ED9-BD4F49B28A63}"/>
          </ac:spMkLst>
        </pc:spChg>
        <pc:spChg chg="mod">
          <ac:chgData name="Bloesch, Troy" userId="d0937869-bb19-47f1-b7cb-e4344a414307" providerId="ADAL" clId="{0B9E4739-E43A-4485-B480-0870AB84DD6D}" dt="2025-12-05T21:59:43.239" v="6206" actId="14100"/>
          <ac:spMkLst>
            <pc:docMk/>
            <pc:sldMk cId="1677122549" sldId="258"/>
            <ac:spMk id="39" creationId="{6F387A4E-F146-D46C-1233-A92722E55DF6}"/>
          </ac:spMkLst>
        </pc:spChg>
        <pc:spChg chg="del">
          <ac:chgData name="Bloesch, Troy" userId="d0937869-bb19-47f1-b7cb-e4344a414307" providerId="ADAL" clId="{0B9E4739-E43A-4485-B480-0870AB84DD6D}" dt="2025-12-05T19:50:38.123" v="2024" actId="478"/>
          <ac:spMkLst>
            <pc:docMk/>
            <pc:sldMk cId="1677122549" sldId="258"/>
            <ac:spMk id="40" creationId="{3C158B56-F2B1-DCE3-0A01-E1551D68D326}"/>
          </ac:spMkLst>
        </pc:spChg>
        <pc:spChg chg="del">
          <ac:chgData name="Bloesch, Troy" userId="d0937869-bb19-47f1-b7cb-e4344a414307" providerId="ADAL" clId="{0B9E4739-E43A-4485-B480-0870AB84DD6D}" dt="2025-12-05T19:50:38.123" v="2024" actId="478"/>
          <ac:spMkLst>
            <pc:docMk/>
            <pc:sldMk cId="1677122549" sldId="258"/>
            <ac:spMk id="41" creationId="{0E12D2F0-5174-D07F-ADEA-F34C7C0303F2}"/>
          </ac:spMkLst>
        </pc:spChg>
        <pc:spChg chg="mod">
          <ac:chgData name="Bloesch, Troy" userId="d0937869-bb19-47f1-b7cb-e4344a414307" providerId="ADAL" clId="{0B9E4739-E43A-4485-B480-0870AB84DD6D}" dt="2025-12-05T20:26:07.409" v="4591"/>
          <ac:spMkLst>
            <pc:docMk/>
            <pc:sldMk cId="1677122549" sldId="258"/>
            <ac:spMk id="43" creationId="{C741CB62-E624-7AA3-6268-A19D33977CE4}"/>
          </ac:spMkLst>
        </pc:spChg>
        <pc:spChg chg="add mod">
          <ac:chgData name="Bloesch, Troy" userId="d0937869-bb19-47f1-b7cb-e4344a414307" providerId="ADAL" clId="{0B9E4739-E43A-4485-B480-0870AB84DD6D}" dt="2025-12-05T22:00:24.891" v="6214" actId="14100"/>
          <ac:spMkLst>
            <pc:docMk/>
            <pc:sldMk cId="1677122549" sldId="258"/>
            <ac:spMk id="44" creationId="{20AB7D19-A146-CAF6-2F4F-994DB87B7CC4}"/>
          </ac:spMkLst>
        </pc:spChg>
        <pc:spChg chg="add mod">
          <ac:chgData name="Bloesch, Troy" userId="d0937869-bb19-47f1-b7cb-e4344a414307" providerId="ADAL" clId="{0B9E4739-E43A-4485-B480-0870AB84DD6D}" dt="2025-12-05T21:59:02.284" v="6201" actId="403"/>
          <ac:spMkLst>
            <pc:docMk/>
            <pc:sldMk cId="1677122549" sldId="258"/>
            <ac:spMk id="45" creationId="{0D574815-6FB5-E1A1-43D2-646CEDD47807}"/>
          </ac:spMkLst>
        </pc:spChg>
        <pc:spChg chg="mod">
          <ac:chgData name="Bloesch, Troy" userId="d0937869-bb19-47f1-b7cb-e4344a414307" providerId="ADAL" clId="{0B9E4739-E43A-4485-B480-0870AB84DD6D}" dt="2025-12-05T20:26:34.921" v="4598" actId="113"/>
          <ac:spMkLst>
            <pc:docMk/>
            <pc:sldMk cId="1677122549" sldId="258"/>
            <ac:spMk id="46" creationId="{C222A9AC-7751-5333-9E6D-2EF2E7F863D7}"/>
          </ac:spMkLst>
        </pc:spChg>
        <pc:spChg chg="mod">
          <ac:chgData name="Bloesch, Troy" userId="d0937869-bb19-47f1-b7cb-e4344a414307" providerId="ADAL" clId="{0B9E4739-E43A-4485-B480-0870AB84DD6D}" dt="2025-12-05T20:27:34.163" v="4611" actId="1076"/>
          <ac:spMkLst>
            <pc:docMk/>
            <pc:sldMk cId="1677122549" sldId="258"/>
            <ac:spMk id="51" creationId="{9DA6F2DB-BC27-2F4B-1973-E5DD839AEA88}"/>
          </ac:spMkLst>
        </pc:spChg>
        <pc:spChg chg="del">
          <ac:chgData name="Bloesch, Troy" userId="d0937869-bb19-47f1-b7cb-e4344a414307" providerId="ADAL" clId="{0B9E4739-E43A-4485-B480-0870AB84DD6D}" dt="2025-12-05T19:50:40.374" v="2025" actId="478"/>
          <ac:spMkLst>
            <pc:docMk/>
            <pc:sldMk cId="1677122549" sldId="258"/>
            <ac:spMk id="52" creationId="{BEE6B9C0-2CA3-BF79-878C-A071ED6D9E8C}"/>
          </ac:spMkLst>
        </pc:spChg>
        <pc:spChg chg="del">
          <ac:chgData name="Bloesch, Troy" userId="d0937869-bb19-47f1-b7cb-e4344a414307" providerId="ADAL" clId="{0B9E4739-E43A-4485-B480-0870AB84DD6D}" dt="2025-12-05T19:50:38.123" v="2024" actId="478"/>
          <ac:spMkLst>
            <pc:docMk/>
            <pc:sldMk cId="1677122549" sldId="258"/>
            <ac:spMk id="53" creationId="{277D4949-7047-5872-A228-E02B92254CDF}"/>
          </ac:spMkLst>
        </pc:spChg>
        <pc:spChg chg="mod">
          <ac:chgData name="Bloesch, Troy" userId="d0937869-bb19-47f1-b7cb-e4344a414307" providerId="ADAL" clId="{0B9E4739-E43A-4485-B480-0870AB84DD6D}" dt="2025-12-05T20:25:40.789" v="4583" actId="20578"/>
          <ac:spMkLst>
            <pc:docMk/>
            <pc:sldMk cId="1677122549" sldId="258"/>
            <ac:spMk id="55" creationId="{A55272A2-00F8-2757-7640-6D61477D8AB7}"/>
          </ac:spMkLst>
        </pc:spChg>
        <pc:spChg chg="mod">
          <ac:chgData name="Bloesch, Troy" userId="d0937869-bb19-47f1-b7cb-e4344a414307" providerId="ADAL" clId="{0B9E4739-E43A-4485-B480-0870AB84DD6D}" dt="2025-12-05T20:25:56.539" v="4589" actId="207"/>
          <ac:spMkLst>
            <pc:docMk/>
            <pc:sldMk cId="1677122549" sldId="258"/>
            <ac:spMk id="56" creationId="{A9EA004C-938A-9D92-F7D9-1E2C1CA93AD5}"/>
          </ac:spMkLst>
        </pc:spChg>
        <pc:spChg chg="del">
          <ac:chgData name="Bloesch, Troy" userId="d0937869-bb19-47f1-b7cb-e4344a414307" providerId="ADAL" clId="{0B9E4739-E43A-4485-B480-0870AB84DD6D}" dt="2025-12-05T19:50:38.123" v="2024" actId="478"/>
          <ac:spMkLst>
            <pc:docMk/>
            <pc:sldMk cId="1677122549" sldId="258"/>
            <ac:spMk id="59" creationId="{683046C7-5CE7-39D8-B490-E39317785D99}"/>
          </ac:spMkLst>
        </pc:spChg>
        <pc:spChg chg="mod">
          <ac:chgData name="Bloesch, Troy" userId="d0937869-bb19-47f1-b7cb-e4344a414307" providerId="ADAL" clId="{0B9E4739-E43A-4485-B480-0870AB84DD6D}" dt="2025-12-05T20:27:41.710" v="4612" actId="1076"/>
          <ac:spMkLst>
            <pc:docMk/>
            <pc:sldMk cId="1677122549" sldId="258"/>
            <ac:spMk id="66" creationId="{2F43B858-7706-5726-A52C-37E32020C21F}"/>
          </ac:spMkLst>
        </pc:spChg>
        <pc:spChg chg="mod">
          <ac:chgData name="Bloesch, Troy" userId="d0937869-bb19-47f1-b7cb-e4344a414307" providerId="ADAL" clId="{0B9E4739-E43A-4485-B480-0870AB84DD6D}" dt="2025-12-05T20:31:52.057" v="4624" actId="108"/>
          <ac:spMkLst>
            <pc:docMk/>
            <pc:sldMk cId="1677122549" sldId="258"/>
            <ac:spMk id="108" creationId="{67F7F0DC-ADEA-FA0A-B10E-AA2B84E7491E}"/>
          </ac:spMkLst>
        </pc:spChg>
        <pc:spChg chg="mod">
          <ac:chgData name="Bloesch, Troy" userId="d0937869-bb19-47f1-b7cb-e4344a414307" providerId="ADAL" clId="{0B9E4739-E43A-4485-B480-0870AB84DD6D}" dt="2025-12-05T20:27:41.710" v="4612" actId="1076"/>
          <ac:spMkLst>
            <pc:docMk/>
            <pc:sldMk cId="1677122549" sldId="258"/>
            <ac:spMk id="110" creationId="{C358C567-E087-A6E9-2428-EDEFAEAF4F50}"/>
          </ac:spMkLst>
        </pc:spChg>
        <pc:spChg chg="mod">
          <ac:chgData name="Bloesch, Troy" userId="d0937869-bb19-47f1-b7cb-e4344a414307" providerId="ADAL" clId="{0B9E4739-E43A-4485-B480-0870AB84DD6D}" dt="2025-12-05T21:59:59.070" v="6207" actId="14100"/>
          <ac:spMkLst>
            <pc:docMk/>
            <pc:sldMk cId="1677122549" sldId="258"/>
            <ac:spMk id="111" creationId="{5AC17887-5687-8DBD-88E7-482DCCEB172F}"/>
          </ac:spMkLst>
        </pc:spChg>
        <pc:spChg chg="del">
          <ac:chgData name="Bloesch, Troy" userId="d0937869-bb19-47f1-b7cb-e4344a414307" providerId="ADAL" clId="{0B9E4739-E43A-4485-B480-0870AB84DD6D}" dt="2025-12-05T19:50:38.123" v="2024" actId="478"/>
          <ac:spMkLst>
            <pc:docMk/>
            <pc:sldMk cId="1677122549" sldId="258"/>
            <ac:spMk id="112" creationId="{4DC3C355-8B95-8E39-6689-868C1281EE70}"/>
          </ac:spMkLst>
        </pc:spChg>
        <pc:spChg chg="del">
          <ac:chgData name="Bloesch, Troy" userId="d0937869-bb19-47f1-b7cb-e4344a414307" providerId="ADAL" clId="{0B9E4739-E43A-4485-B480-0870AB84DD6D}" dt="2025-12-05T19:50:38.123" v="2024" actId="478"/>
          <ac:spMkLst>
            <pc:docMk/>
            <pc:sldMk cId="1677122549" sldId="258"/>
            <ac:spMk id="113" creationId="{DC302963-FE35-0A05-8396-F8299C27A386}"/>
          </ac:spMkLst>
        </pc:spChg>
        <pc:spChg chg="del">
          <ac:chgData name="Bloesch, Troy" userId="d0937869-bb19-47f1-b7cb-e4344a414307" providerId="ADAL" clId="{0B9E4739-E43A-4485-B480-0870AB84DD6D}" dt="2025-12-05T19:50:38.123" v="2024" actId="478"/>
          <ac:spMkLst>
            <pc:docMk/>
            <pc:sldMk cId="1677122549" sldId="258"/>
            <ac:spMk id="114" creationId="{45B090D9-7561-989E-0F9A-A6618A3AA866}"/>
          </ac:spMkLst>
        </pc:spChg>
        <pc:spChg chg="del">
          <ac:chgData name="Bloesch, Troy" userId="d0937869-bb19-47f1-b7cb-e4344a414307" providerId="ADAL" clId="{0B9E4739-E43A-4485-B480-0870AB84DD6D}" dt="2025-12-05T19:50:38.123" v="2024" actId="478"/>
          <ac:spMkLst>
            <pc:docMk/>
            <pc:sldMk cId="1677122549" sldId="258"/>
            <ac:spMk id="116" creationId="{7159F2DB-5113-EBAD-532E-80139B100240}"/>
          </ac:spMkLst>
        </pc:spChg>
        <pc:spChg chg="del">
          <ac:chgData name="Bloesch, Troy" userId="d0937869-bb19-47f1-b7cb-e4344a414307" providerId="ADAL" clId="{0B9E4739-E43A-4485-B480-0870AB84DD6D}" dt="2025-12-05T19:50:38.123" v="2024" actId="478"/>
          <ac:spMkLst>
            <pc:docMk/>
            <pc:sldMk cId="1677122549" sldId="258"/>
            <ac:spMk id="117" creationId="{144A9479-78CD-EC85-23E0-46FC20E2610B}"/>
          </ac:spMkLst>
        </pc:spChg>
        <pc:spChg chg="del">
          <ac:chgData name="Bloesch, Troy" userId="d0937869-bb19-47f1-b7cb-e4344a414307" providerId="ADAL" clId="{0B9E4739-E43A-4485-B480-0870AB84DD6D}" dt="2025-12-05T19:50:46.029" v="2026" actId="478"/>
          <ac:spMkLst>
            <pc:docMk/>
            <pc:sldMk cId="1677122549" sldId="258"/>
            <ac:spMk id="121" creationId="{0DE695B7-E7AD-4B88-8296-5BCFDBBB0B49}"/>
          </ac:spMkLst>
        </pc:spChg>
        <pc:grpChg chg="mod">
          <ac:chgData name="Bloesch, Troy" userId="d0937869-bb19-47f1-b7cb-e4344a414307" providerId="ADAL" clId="{0B9E4739-E43A-4485-B480-0870AB84DD6D}" dt="2025-12-05T20:27:34.163" v="4611" actId="1076"/>
          <ac:grpSpMkLst>
            <pc:docMk/>
            <pc:sldMk cId="1677122549" sldId="258"/>
            <ac:grpSpMk id="4" creationId="{D552C1C6-11FF-7D50-8E69-EB2C54542E24}"/>
          </ac:grpSpMkLst>
        </pc:grpChg>
        <pc:grpChg chg="mod">
          <ac:chgData name="Bloesch, Troy" userId="d0937869-bb19-47f1-b7cb-e4344a414307" providerId="ADAL" clId="{0B9E4739-E43A-4485-B480-0870AB84DD6D}" dt="2025-12-05T20:27:34.163" v="4611" actId="1076"/>
          <ac:grpSpMkLst>
            <pc:docMk/>
            <pc:sldMk cId="1677122549" sldId="258"/>
            <ac:grpSpMk id="7" creationId="{7B54470A-F73A-0698-2D5C-C1A23A626EA1}"/>
          </ac:grpSpMkLst>
        </pc:grpChg>
        <pc:grpChg chg="del">
          <ac:chgData name="Bloesch, Troy" userId="d0937869-bb19-47f1-b7cb-e4344a414307" providerId="ADAL" clId="{0B9E4739-E43A-4485-B480-0870AB84DD6D}" dt="2025-12-05T19:54:04.100" v="2202" actId="478"/>
          <ac:grpSpMkLst>
            <pc:docMk/>
            <pc:sldMk cId="1677122549" sldId="258"/>
            <ac:grpSpMk id="13" creationId="{62F8879F-53EF-D3B9-AF0C-266267988ED2}"/>
          </ac:grpSpMkLst>
        </pc:grpChg>
        <pc:grpChg chg="del">
          <ac:chgData name="Bloesch, Troy" userId="d0937869-bb19-47f1-b7cb-e4344a414307" providerId="ADAL" clId="{0B9E4739-E43A-4485-B480-0870AB84DD6D}" dt="2025-12-05T19:54:05.571" v="2203" actId="478"/>
          <ac:grpSpMkLst>
            <pc:docMk/>
            <pc:sldMk cId="1677122549" sldId="258"/>
            <ac:grpSpMk id="16" creationId="{123ED7A6-2409-1C6B-36F6-528E3A9BF689}"/>
          </ac:grpSpMkLst>
        </pc:grpChg>
        <pc:grpChg chg="mod">
          <ac:chgData name="Bloesch, Troy" userId="d0937869-bb19-47f1-b7cb-e4344a414307" providerId="ADAL" clId="{0B9E4739-E43A-4485-B480-0870AB84DD6D}" dt="2025-12-05T20:27:34.163" v="4611" actId="1076"/>
          <ac:grpSpMkLst>
            <pc:docMk/>
            <pc:sldMk cId="1677122549" sldId="258"/>
            <ac:grpSpMk id="26" creationId="{762E2E1E-1A0B-4C05-2587-450180F3EFC8}"/>
          </ac:grpSpMkLst>
        </pc:grpChg>
        <pc:graphicFrameChg chg="del mod">
          <ac:chgData name="Bloesch, Troy" userId="d0937869-bb19-47f1-b7cb-e4344a414307" providerId="ADAL" clId="{0B9E4739-E43A-4485-B480-0870AB84DD6D}" dt="2025-12-05T20:25:02.928" v="4570" actId="478"/>
          <ac:graphicFrameMkLst>
            <pc:docMk/>
            <pc:sldMk cId="1677122549" sldId="258"/>
            <ac:graphicFrameMk id="27" creationId="{73E504EC-F611-1663-87D6-BE01718CC06E}"/>
          </ac:graphicFrameMkLst>
        </pc:graphicFrameChg>
        <pc:picChg chg="add mod">
          <ac:chgData name="Bloesch, Troy" userId="d0937869-bb19-47f1-b7cb-e4344a414307" providerId="ADAL" clId="{0B9E4739-E43A-4485-B480-0870AB84DD6D}" dt="2025-12-05T19:50:54.542" v="2028" actId="1076"/>
          <ac:picMkLst>
            <pc:docMk/>
            <pc:sldMk cId="1677122549" sldId="258"/>
            <ac:picMk id="5" creationId="{0D277184-C7C9-751A-3337-180BD83BBFE2}"/>
          </ac:picMkLst>
        </pc:picChg>
        <pc:picChg chg="add mod">
          <ac:chgData name="Bloesch, Troy" userId="d0937869-bb19-47f1-b7cb-e4344a414307" providerId="ADAL" clId="{0B9E4739-E43A-4485-B480-0870AB84DD6D}" dt="2025-12-05T20:29:42.981" v="4615" actId="14826"/>
          <ac:picMkLst>
            <pc:docMk/>
            <pc:sldMk cId="1677122549" sldId="258"/>
            <ac:picMk id="9" creationId="{E73221EF-8E93-25FE-3003-0E2502DB380C}"/>
          </ac:picMkLst>
        </pc:picChg>
        <pc:picChg chg="add mod">
          <ac:chgData name="Bloesch, Troy" userId="d0937869-bb19-47f1-b7cb-e4344a414307" providerId="ADAL" clId="{0B9E4739-E43A-4485-B480-0870AB84DD6D}" dt="2025-12-05T20:29:54.607" v="4616" actId="14826"/>
          <ac:picMkLst>
            <pc:docMk/>
            <pc:sldMk cId="1677122549" sldId="258"/>
            <ac:picMk id="21" creationId="{4D255CA4-D3A8-8EEA-8239-B4D7AB87DA14}"/>
          </ac:picMkLst>
        </pc:picChg>
        <pc:picChg chg="add mod">
          <ac:chgData name="Bloesch, Troy" userId="d0937869-bb19-47f1-b7cb-e4344a414307" providerId="ADAL" clId="{0B9E4739-E43A-4485-B480-0870AB84DD6D}" dt="2025-12-05T20:30:14.397" v="4617" actId="14826"/>
          <ac:picMkLst>
            <pc:docMk/>
            <pc:sldMk cId="1677122549" sldId="258"/>
            <ac:picMk id="25" creationId="{A5A56E82-EA94-2BB2-F8EA-F948C0D029B0}"/>
          </ac:picMkLst>
        </pc:picChg>
        <pc:picChg chg="add mod">
          <ac:chgData name="Bloesch, Troy" userId="d0937869-bb19-47f1-b7cb-e4344a414307" providerId="ADAL" clId="{0B9E4739-E43A-4485-B480-0870AB84DD6D}" dt="2025-12-05T20:31:28.255" v="4623" actId="14826"/>
          <ac:picMkLst>
            <pc:docMk/>
            <pc:sldMk cId="1677122549" sldId="258"/>
            <ac:picMk id="36" creationId="{1D6EE6AD-4270-3674-EB27-C74CE86FCD5B}"/>
          </ac:picMkLst>
        </pc:picChg>
        <pc:picChg chg="mod">
          <ac:chgData name="Bloesch, Troy" userId="d0937869-bb19-47f1-b7cb-e4344a414307" providerId="ADAL" clId="{0B9E4739-E43A-4485-B480-0870AB84DD6D}" dt="2025-12-05T20:31:09.857" v="4622" actId="14826"/>
          <ac:picMkLst>
            <pc:docMk/>
            <pc:sldMk cId="1677122549" sldId="258"/>
            <ac:picMk id="42" creationId="{BF9F7D56-824B-55FA-CA5F-27FB0D236533}"/>
          </ac:picMkLst>
        </pc:picChg>
        <pc:picChg chg="mod">
          <ac:chgData name="Bloesch, Troy" userId="d0937869-bb19-47f1-b7cb-e4344a414307" providerId="ADAL" clId="{0B9E4739-E43A-4485-B480-0870AB84DD6D}" dt="2025-12-05T20:30:51.620" v="4619" actId="14826"/>
          <ac:picMkLst>
            <pc:docMk/>
            <pc:sldMk cId="1677122549" sldId="258"/>
            <ac:picMk id="47" creationId="{A1335F73-BA69-52A3-BA74-B2A136C2CAFE}"/>
          </ac:picMkLst>
        </pc:picChg>
        <pc:picChg chg="add del mod">
          <ac:chgData name="Bloesch, Troy" userId="d0937869-bb19-47f1-b7cb-e4344a414307" providerId="ADAL" clId="{0B9E4739-E43A-4485-B480-0870AB84DD6D}" dt="2025-12-05T20:31:02.380" v="4621" actId="21"/>
          <ac:picMkLst>
            <pc:docMk/>
            <pc:sldMk cId="1677122549" sldId="258"/>
            <ac:picMk id="48" creationId="{D9160814-6BD5-4DCE-6303-8C9D8C84A615}"/>
          </ac:picMkLst>
        </pc:picChg>
        <pc:picChg chg="mod">
          <ac:chgData name="Bloesch, Troy" userId="d0937869-bb19-47f1-b7cb-e4344a414307" providerId="ADAL" clId="{0B9E4739-E43A-4485-B480-0870AB84DD6D}" dt="2025-12-05T20:29:20.317" v="4614" actId="14826"/>
          <ac:picMkLst>
            <pc:docMk/>
            <pc:sldMk cId="1677122549" sldId="258"/>
            <ac:picMk id="61" creationId="{51638EE8-9F0C-6620-20B5-26E7C3EA1C02}"/>
          </ac:picMkLst>
        </pc:picChg>
        <pc:picChg chg="del">
          <ac:chgData name="Bloesch, Troy" userId="d0937869-bb19-47f1-b7cb-e4344a414307" providerId="ADAL" clId="{0B9E4739-E43A-4485-B480-0870AB84DD6D}" dt="2025-12-05T19:50:38.123" v="2024" actId="478"/>
          <ac:picMkLst>
            <pc:docMk/>
            <pc:sldMk cId="1677122549" sldId="258"/>
            <ac:picMk id="64" creationId="{ED1254AE-F31D-DA6D-5EB0-5F66CFC8F056}"/>
          </ac:picMkLst>
        </pc:picChg>
      </pc:sldChg>
      <pc:sldChg chg="del">
        <pc:chgData name="Bloesch, Troy" userId="d0937869-bb19-47f1-b7cb-e4344a414307" providerId="ADAL" clId="{0B9E4739-E43A-4485-B480-0870AB84DD6D}" dt="2025-12-05T19:05:24.669" v="486" actId="2696"/>
        <pc:sldMkLst>
          <pc:docMk/>
          <pc:sldMk cId="2902011338" sldId="258"/>
        </pc:sldMkLst>
      </pc:sldChg>
      <pc:sldChg chg="add del">
        <pc:chgData name="Bloesch, Troy" userId="d0937869-bb19-47f1-b7cb-e4344a414307" providerId="ADAL" clId="{0B9E4739-E43A-4485-B480-0870AB84DD6D}" dt="2025-12-05T19:20:33.423" v="887" actId="47"/>
        <pc:sldMkLst>
          <pc:docMk/>
          <pc:sldMk cId="3248872167" sldId="258"/>
        </pc:sldMkLst>
      </pc:sldChg>
      <pc:sldChg chg="addSp delSp modSp add mod ord modNotesTx">
        <pc:chgData name="Bloesch, Troy" userId="d0937869-bb19-47f1-b7cb-e4344a414307" providerId="ADAL" clId="{0B9E4739-E43A-4485-B480-0870AB84DD6D}" dt="2025-12-05T23:17:18.510" v="6621" actId="20577"/>
        <pc:sldMkLst>
          <pc:docMk/>
          <pc:sldMk cId="2519870460" sldId="259"/>
        </pc:sldMkLst>
        <pc:spChg chg="mod">
          <ac:chgData name="Bloesch, Troy" userId="d0937869-bb19-47f1-b7cb-e4344a414307" providerId="ADAL" clId="{0B9E4739-E43A-4485-B480-0870AB84DD6D}" dt="2025-12-05T20:05:41.616" v="3677" actId="948"/>
          <ac:spMkLst>
            <pc:docMk/>
            <pc:sldMk cId="2519870460" sldId="259"/>
            <ac:spMk id="2" creationId="{C96747EB-26AA-7F43-5820-D8CECB00FC59}"/>
          </ac:spMkLst>
        </pc:spChg>
        <pc:spChg chg="mod">
          <ac:chgData name="Bloesch, Troy" userId="d0937869-bb19-47f1-b7cb-e4344a414307" providerId="ADAL" clId="{0B9E4739-E43A-4485-B480-0870AB84DD6D}" dt="2025-12-05T20:04:10.983" v="3544" actId="20577"/>
          <ac:spMkLst>
            <pc:docMk/>
            <pc:sldMk cId="2519870460" sldId="259"/>
            <ac:spMk id="7" creationId="{08EAA2DA-E896-928A-1320-DA9A561E9415}"/>
          </ac:spMkLst>
        </pc:spChg>
        <pc:spChg chg="add del mod modVis">
          <ac:chgData name="Bloesch, Troy" userId="d0937869-bb19-47f1-b7cb-e4344a414307" providerId="ADAL" clId="{0B9E4739-E43A-4485-B480-0870AB84DD6D}" dt="2025-12-05T20:05:18.906" v="3630" actId="962"/>
          <ac:spMkLst>
            <pc:docMk/>
            <pc:sldMk cId="2519870460" sldId="259"/>
            <ac:spMk id="8" creationId="{4AD6F70B-936C-BF2D-FC88-03B294532638}"/>
          </ac:spMkLst>
        </pc:spChg>
        <pc:spChg chg="add del mod modVis">
          <ac:chgData name="Bloesch, Troy" userId="d0937869-bb19-47f1-b7cb-e4344a414307" providerId="ADAL" clId="{0B9E4739-E43A-4485-B480-0870AB84DD6D}" dt="2025-12-05T20:05:35.086" v="3659"/>
          <ac:spMkLst>
            <pc:docMk/>
            <pc:sldMk cId="2519870460" sldId="259"/>
            <ac:spMk id="12" creationId="{E91DABD5-755E-C4B5-A68A-FD69EAD017B2}"/>
          </ac:spMkLst>
        </pc:spChg>
        <pc:spChg chg="del">
          <ac:chgData name="Bloesch, Troy" userId="d0937869-bb19-47f1-b7cb-e4344a414307" providerId="ADAL" clId="{0B9E4739-E43A-4485-B480-0870AB84DD6D}" dt="2025-12-05T20:11:06.167" v="4042" actId="478"/>
          <ac:spMkLst>
            <pc:docMk/>
            <pc:sldMk cId="2519870460" sldId="259"/>
            <ac:spMk id="13" creationId="{809FBE68-A170-E81F-41D6-76AE4248D671}"/>
          </ac:spMkLst>
        </pc:spChg>
        <pc:spChg chg="add del mod modVis">
          <ac:chgData name="Bloesch, Troy" userId="d0937869-bb19-47f1-b7cb-e4344a414307" providerId="ADAL" clId="{0B9E4739-E43A-4485-B480-0870AB84DD6D}" dt="2025-12-05T20:05:41.662" v="3698"/>
          <ac:spMkLst>
            <pc:docMk/>
            <pc:sldMk cId="2519870460" sldId="259"/>
            <ac:spMk id="15" creationId="{E65DE7EA-2E97-AC44-426B-6B65E1C0A77C}"/>
          </ac:spMkLst>
        </pc:spChg>
        <pc:spChg chg="add del mod">
          <ac:chgData name="Bloesch, Troy" userId="d0937869-bb19-47f1-b7cb-e4344a414307" providerId="ADAL" clId="{0B9E4739-E43A-4485-B480-0870AB84DD6D}" dt="2025-12-05T22:08:02.315" v="6394" actId="478"/>
          <ac:spMkLst>
            <pc:docMk/>
            <pc:sldMk cId="2519870460" sldId="259"/>
            <ac:spMk id="16" creationId="{EBF706C5-FC7B-6939-8103-AE5476C61591}"/>
          </ac:spMkLst>
        </pc:spChg>
        <pc:spChg chg="del">
          <ac:chgData name="Bloesch, Troy" userId="d0937869-bb19-47f1-b7cb-e4344a414307" providerId="ADAL" clId="{0B9E4739-E43A-4485-B480-0870AB84DD6D}" dt="2025-12-05T20:04:30.267" v="3550" actId="478"/>
          <ac:spMkLst>
            <pc:docMk/>
            <pc:sldMk cId="2519870460" sldId="259"/>
            <ac:spMk id="189" creationId="{88500B1F-9BE8-2216-9340-75A238FB0702}"/>
          </ac:spMkLst>
        </pc:spChg>
        <pc:spChg chg="del">
          <ac:chgData name="Bloesch, Troy" userId="d0937869-bb19-47f1-b7cb-e4344a414307" providerId="ADAL" clId="{0B9E4739-E43A-4485-B480-0870AB84DD6D}" dt="2025-12-05T20:04:32.138" v="3551" actId="478"/>
          <ac:spMkLst>
            <pc:docMk/>
            <pc:sldMk cId="2519870460" sldId="259"/>
            <ac:spMk id="190" creationId="{E4A73CB3-05E9-8D8E-C5EF-354A52211C59}"/>
          </ac:spMkLst>
        </pc:spChg>
        <pc:spChg chg="mod">
          <ac:chgData name="Bloesch, Troy" userId="d0937869-bb19-47f1-b7cb-e4344a414307" providerId="ADAL" clId="{0B9E4739-E43A-4485-B480-0870AB84DD6D}" dt="2025-12-05T20:05:13.690" v="3574" actId="20577"/>
          <ac:spMkLst>
            <pc:docMk/>
            <pc:sldMk cId="2519870460" sldId="259"/>
            <ac:spMk id="193" creationId="{7659889A-27BA-D1AE-3508-BDA064641561}"/>
          </ac:spMkLst>
        </pc:spChg>
        <pc:spChg chg="mod">
          <ac:chgData name="Bloesch, Troy" userId="d0937869-bb19-47f1-b7cb-e4344a414307" providerId="ADAL" clId="{0B9E4739-E43A-4485-B480-0870AB84DD6D}" dt="2025-12-05T20:06:19.186" v="3750" actId="20577"/>
          <ac:spMkLst>
            <pc:docMk/>
            <pc:sldMk cId="2519870460" sldId="259"/>
            <ac:spMk id="197" creationId="{DB408666-20BC-487E-CD57-0CF7EBC973FB}"/>
          </ac:spMkLst>
        </pc:spChg>
        <pc:spChg chg="mod">
          <ac:chgData name="Bloesch, Troy" userId="d0937869-bb19-47f1-b7cb-e4344a414307" providerId="ADAL" clId="{0B9E4739-E43A-4485-B480-0870AB84DD6D}" dt="2025-12-05T20:10:33.533" v="4039" actId="14100"/>
          <ac:spMkLst>
            <pc:docMk/>
            <pc:sldMk cId="2519870460" sldId="259"/>
            <ac:spMk id="198" creationId="{33000412-0F81-9E9A-CA2A-27606AEA3C56}"/>
          </ac:spMkLst>
        </pc:spChg>
        <pc:spChg chg="mod">
          <ac:chgData name="Bloesch, Troy" userId="d0937869-bb19-47f1-b7cb-e4344a414307" providerId="ADAL" clId="{0B9E4739-E43A-4485-B480-0870AB84DD6D}" dt="2025-12-05T20:10:12.193" v="4036" actId="1076"/>
          <ac:spMkLst>
            <pc:docMk/>
            <pc:sldMk cId="2519870460" sldId="259"/>
            <ac:spMk id="210" creationId="{05ED6A13-CD07-4241-7A80-6E25E80DDD8F}"/>
          </ac:spMkLst>
        </pc:spChg>
        <pc:spChg chg="mod topLvl">
          <ac:chgData name="Bloesch, Troy" userId="d0937869-bb19-47f1-b7cb-e4344a414307" providerId="ADAL" clId="{0B9E4739-E43A-4485-B480-0870AB84DD6D}" dt="2025-12-05T20:07:58.198" v="3904" actId="14100"/>
          <ac:spMkLst>
            <pc:docMk/>
            <pc:sldMk cId="2519870460" sldId="259"/>
            <ac:spMk id="211" creationId="{CE518C78-F8B8-DA9C-AC0E-5E0210920C48}"/>
          </ac:spMkLst>
        </pc:spChg>
        <pc:spChg chg="mod topLvl">
          <ac:chgData name="Bloesch, Troy" userId="d0937869-bb19-47f1-b7cb-e4344a414307" providerId="ADAL" clId="{0B9E4739-E43A-4485-B480-0870AB84DD6D}" dt="2025-12-05T20:07:44.654" v="3887" actId="1037"/>
          <ac:spMkLst>
            <pc:docMk/>
            <pc:sldMk cId="2519870460" sldId="259"/>
            <ac:spMk id="212" creationId="{C0466C14-17AB-FA0B-4EAB-937E8C5540B0}"/>
          </ac:spMkLst>
        </pc:spChg>
        <pc:spChg chg="mod topLvl">
          <ac:chgData name="Bloesch, Troy" userId="d0937869-bb19-47f1-b7cb-e4344a414307" providerId="ADAL" clId="{0B9E4739-E43A-4485-B480-0870AB84DD6D}" dt="2025-12-05T20:07:44.654" v="3887" actId="1037"/>
          <ac:spMkLst>
            <pc:docMk/>
            <pc:sldMk cId="2519870460" sldId="259"/>
            <ac:spMk id="213" creationId="{043D2534-874E-131F-34F2-FA15928BDD4A}"/>
          </ac:spMkLst>
        </pc:spChg>
        <pc:spChg chg="mod topLvl">
          <ac:chgData name="Bloesch, Troy" userId="d0937869-bb19-47f1-b7cb-e4344a414307" providerId="ADAL" clId="{0B9E4739-E43A-4485-B480-0870AB84DD6D}" dt="2025-12-05T20:07:44.654" v="3887" actId="1037"/>
          <ac:spMkLst>
            <pc:docMk/>
            <pc:sldMk cId="2519870460" sldId="259"/>
            <ac:spMk id="214" creationId="{FB497FE9-0630-BE24-29F1-28D16B732655}"/>
          </ac:spMkLst>
        </pc:spChg>
        <pc:spChg chg="mod topLvl">
          <ac:chgData name="Bloesch, Troy" userId="d0937869-bb19-47f1-b7cb-e4344a414307" providerId="ADAL" clId="{0B9E4739-E43A-4485-B480-0870AB84DD6D}" dt="2025-12-05T20:07:44.654" v="3887" actId="1037"/>
          <ac:spMkLst>
            <pc:docMk/>
            <pc:sldMk cId="2519870460" sldId="259"/>
            <ac:spMk id="215" creationId="{E20A1221-E654-C423-1EAD-C4D95823ACB0}"/>
          </ac:spMkLst>
        </pc:spChg>
        <pc:spChg chg="mod">
          <ac:chgData name="Bloesch, Troy" userId="d0937869-bb19-47f1-b7cb-e4344a414307" providerId="ADAL" clId="{0B9E4739-E43A-4485-B480-0870AB84DD6D}" dt="2025-12-05T20:43:00.512" v="4705" actId="14100"/>
          <ac:spMkLst>
            <pc:docMk/>
            <pc:sldMk cId="2519870460" sldId="259"/>
            <ac:spMk id="216" creationId="{51188D2E-BC99-4D05-14BC-9A2DA4FCB8D5}"/>
          </ac:spMkLst>
        </pc:spChg>
        <pc:spChg chg="mod">
          <ac:chgData name="Bloesch, Troy" userId="d0937869-bb19-47f1-b7cb-e4344a414307" providerId="ADAL" clId="{0B9E4739-E43A-4485-B480-0870AB84DD6D}" dt="2025-12-05T20:43:11.529" v="4706" actId="1076"/>
          <ac:spMkLst>
            <pc:docMk/>
            <pc:sldMk cId="2519870460" sldId="259"/>
            <ac:spMk id="217" creationId="{8D2757DA-1ADC-4F7F-9674-433C929C7CE2}"/>
          </ac:spMkLst>
        </pc:spChg>
        <pc:spChg chg="mod topLvl">
          <ac:chgData name="Bloesch, Troy" userId="d0937869-bb19-47f1-b7cb-e4344a414307" providerId="ADAL" clId="{0B9E4739-E43A-4485-B480-0870AB84DD6D}" dt="2025-12-05T20:07:44.654" v="3887" actId="1037"/>
          <ac:spMkLst>
            <pc:docMk/>
            <pc:sldMk cId="2519870460" sldId="259"/>
            <ac:spMk id="222" creationId="{EBFAFA88-8362-71A5-9BDF-35A5A1DD0FFB}"/>
          </ac:spMkLst>
        </pc:spChg>
        <pc:spChg chg="mod topLvl">
          <ac:chgData name="Bloesch, Troy" userId="d0937869-bb19-47f1-b7cb-e4344a414307" providerId="ADAL" clId="{0B9E4739-E43A-4485-B480-0870AB84DD6D}" dt="2025-12-05T20:07:44.654" v="3887" actId="1037"/>
          <ac:spMkLst>
            <pc:docMk/>
            <pc:sldMk cId="2519870460" sldId="259"/>
            <ac:spMk id="223" creationId="{08A2D3EE-053C-DD0E-CE7F-9BEB49A59CF1}"/>
          </ac:spMkLst>
        </pc:spChg>
        <pc:spChg chg="mod topLvl">
          <ac:chgData name="Bloesch, Troy" userId="d0937869-bb19-47f1-b7cb-e4344a414307" providerId="ADAL" clId="{0B9E4739-E43A-4485-B480-0870AB84DD6D}" dt="2025-12-05T20:07:44.654" v="3887" actId="1037"/>
          <ac:spMkLst>
            <pc:docMk/>
            <pc:sldMk cId="2519870460" sldId="259"/>
            <ac:spMk id="224" creationId="{8BD159B8-75C3-CA7E-2088-0C7DCBE7D8A2}"/>
          </ac:spMkLst>
        </pc:spChg>
        <pc:spChg chg="mod">
          <ac:chgData name="Bloesch, Troy" userId="d0937869-bb19-47f1-b7cb-e4344a414307" providerId="ADAL" clId="{0B9E4739-E43A-4485-B480-0870AB84DD6D}" dt="2025-12-05T22:08:14.758" v="6480" actId="1037"/>
          <ac:spMkLst>
            <pc:docMk/>
            <pc:sldMk cId="2519870460" sldId="259"/>
            <ac:spMk id="239" creationId="{0629A0EC-0654-2A8D-219B-4C33A6E3EC17}"/>
          </ac:spMkLst>
        </pc:spChg>
        <pc:spChg chg="mod">
          <ac:chgData name="Bloesch, Troy" userId="d0937869-bb19-47f1-b7cb-e4344a414307" providerId="ADAL" clId="{0B9E4739-E43A-4485-B480-0870AB84DD6D}" dt="2025-12-05T20:43:26.863" v="4718" actId="1076"/>
          <ac:spMkLst>
            <pc:docMk/>
            <pc:sldMk cId="2519870460" sldId="259"/>
            <ac:spMk id="240" creationId="{FA4ED767-4262-5416-15D8-ACFC8CE09B98}"/>
          </ac:spMkLst>
        </pc:spChg>
        <pc:spChg chg="del">
          <ac:chgData name="Bloesch, Troy" userId="d0937869-bb19-47f1-b7cb-e4344a414307" providerId="ADAL" clId="{0B9E4739-E43A-4485-B480-0870AB84DD6D}" dt="2025-12-05T20:09:42.046" v="4029" actId="478"/>
          <ac:spMkLst>
            <pc:docMk/>
            <pc:sldMk cId="2519870460" sldId="259"/>
            <ac:spMk id="243" creationId="{41E88797-BA17-9509-6147-80C0247DB45F}"/>
          </ac:spMkLst>
        </pc:spChg>
        <pc:spChg chg="del mod">
          <ac:chgData name="Bloesch, Troy" userId="d0937869-bb19-47f1-b7cb-e4344a414307" providerId="ADAL" clId="{0B9E4739-E43A-4485-B480-0870AB84DD6D}" dt="2025-12-05T20:10:08.229" v="4035" actId="478"/>
          <ac:spMkLst>
            <pc:docMk/>
            <pc:sldMk cId="2519870460" sldId="259"/>
            <ac:spMk id="246" creationId="{5DE95FDA-0E16-4B82-4B6E-2D6C0C229A2C}"/>
          </ac:spMkLst>
        </pc:spChg>
        <pc:spChg chg="mod topLvl">
          <ac:chgData name="Bloesch, Troy" userId="d0937869-bb19-47f1-b7cb-e4344a414307" providerId="ADAL" clId="{0B9E4739-E43A-4485-B480-0870AB84DD6D}" dt="2025-12-05T20:07:24.494" v="3844" actId="165"/>
          <ac:spMkLst>
            <pc:docMk/>
            <pc:sldMk cId="2519870460" sldId="259"/>
            <ac:spMk id="249" creationId="{AF5415E1-1211-BBA9-E7E6-14945B0F866F}"/>
          </ac:spMkLst>
        </pc:spChg>
        <pc:spChg chg="del topLvl">
          <ac:chgData name="Bloesch, Troy" userId="d0937869-bb19-47f1-b7cb-e4344a414307" providerId="ADAL" clId="{0B9E4739-E43A-4485-B480-0870AB84DD6D}" dt="2025-12-05T20:04:25.168" v="3547" actId="478"/>
          <ac:spMkLst>
            <pc:docMk/>
            <pc:sldMk cId="2519870460" sldId="259"/>
            <ac:spMk id="253" creationId="{E50526A4-9A7F-8635-4080-FA6EFFB3BF9A}"/>
          </ac:spMkLst>
        </pc:spChg>
        <pc:spChg chg="del topLvl">
          <ac:chgData name="Bloesch, Troy" userId="d0937869-bb19-47f1-b7cb-e4344a414307" providerId="ADAL" clId="{0B9E4739-E43A-4485-B480-0870AB84DD6D}" dt="2025-12-05T20:04:33.590" v="3552" actId="478"/>
          <ac:spMkLst>
            <pc:docMk/>
            <pc:sldMk cId="2519870460" sldId="259"/>
            <ac:spMk id="254" creationId="{F07C465D-1191-E843-83FC-ABB0D619480D}"/>
          </ac:spMkLst>
        </pc:spChg>
        <pc:grpChg chg="del mod">
          <ac:chgData name="Bloesch, Troy" userId="d0937869-bb19-47f1-b7cb-e4344a414307" providerId="ADAL" clId="{0B9E4739-E43A-4485-B480-0870AB84DD6D}" dt="2025-12-05T20:07:24.494" v="3844" actId="165"/>
          <ac:grpSpMkLst>
            <pc:docMk/>
            <pc:sldMk cId="2519870460" sldId="259"/>
            <ac:grpSpMk id="10" creationId="{4E5DCFA3-44B1-80D9-3A4E-2900CF6CACA8}"/>
          </ac:grpSpMkLst>
        </pc:grpChg>
        <pc:grpChg chg="add del mod">
          <ac:chgData name="Bloesch, Troy" userId="d0937869-bb19-47f1-b7cb-e4344a414307" providerId="ADAL" clId="{0B9E4739-E43A-4485-B480-0870AB84DD6D}" dt="2025-12-05T20:10:04.976" v="4033" actId="1076"/>
          <ac:grpSpMkLst>
            <pc:docMk/>
            <pc:sldMk cId="2519870460" sldId="259"/>
            <ac:grpSpMk id="149" creationId="{7380E30A-6CD4-2D11-9467-4F6EB2840389}"/>
          </ac:grpSpMkLst>
        </pc:grpChg>
        <pc:grpChg chg="del">
          <ac:chgData name="Bloesch, Troy" userId="d0937869-bb19-47f1-b7cb-e4344a414307" providerId="ADAL" clId="{0B9E4739-E43A-4485-B480-0870AB84DD6D}" dt="2025-12-05T20:04:25.168" v="3547" actId="478"/>
          <ac:grpSpMkLst>
            <pc:docMk/>
            <pc:sldMk cId="2519870460" sldId="259"/>
            <ac:grpSpMk id="252" creationId="{A0983C10-42B1-784C-2FB0-CEA05C980791}"/>
          </ac:grpSpMkLst>
        </pc:grpChg>
        <pc:graphicFrameChg chg="add mod ord modVis">
          <ac:chgData name="Bloesch, Troy" userId="d0937869-bb19-47f1-b7cb-e4344a414307" providerId="ADAL" clId="{0B9E4739-E43A-4485-B480-0870AB84DD6D}" dt="2025-12-05T20:05:18.893" v="3617" actId="14100"/>
          <ac:graphicFrameMkLst>
            <pc:docMk/>
            <pc:sldMk cId="2519870460" sldId="259"/>
            <ac:graphicFrameMk id="11" creationId="{61F45900-278F-345D-FA5E-D9F45F9BF565}"/>
          </ac:graphicFrameMkLst>
        </pc:graphicFrameChg>
        <pc:graphicFrameChg chg="add mod ord modVis">
          <ac:chgData name="Bloesch, Troy" userId="d0937869-bb19-47f1-b7cb-e4344a414307" providerId="ADAL" clId="{0B9E4739-E43A-4485-B480-0870AB84DD6D}" dt="2025-12-05T20:05:41.663" v="3700"/>
          <ac:graphicFrameMkLst>
            <pc:docMk/>
            <pc:sldMk cId="2519870460" sldId="259"/>
            <ac:graphicFrameMk id="14" creationId="{F496F977-96B9-0425-5C9A-BEB72285FC4C}"/>
          </ac:graphicFrameMkLst>
        </pc:graphicFrameChg>
        <pc:graphicFrameChg chg="modGraphic">
          <ac:chgData name="Bloesch, Troy" userId="d0937869-bb19-47f1-b7cb-e4344a414307" providerId="ADAL" clId="{0B9E4739-E43A-4485-B480-0870AB84DD6D}" dt="2025-12-05T20:04:49.830" v="3555" actId="14100"/>
          <ac:graphicFrameMkLst>
            <pc:docMk/>
            <pc:sldMk cId="2519870460" sldId="259"/>
            <ac:graphicFrameMk id="192" creationId="{20615993-A375-F955-4379-D6E1F477B549}"/>
          </ac:graphicFrameMkLst>
        </pc:graphicFrameChg>
        <pc:graphicFrameChg chg="modGraphic">
          <ac:chgData name="Bloesch, Troy" userId="d0937869-bb19-47f1-b7cb-e4344a414307" providerId="ADAL" clId="{0B9E4739-E43A-4485-B480-0870AB84DD6D}" dt="2025-12-05T20:10:51.068" v="4041" actId="242"/>
          <ac:graphicFrameMkLst>
            <pc:docMk/>
            <pc:sldMk cId="2519870460" sldId="259"/>
            <ac:graphicFrameMk id="195" creationId="{77933B5A-495A-4FD6-02DD-B5DAF07AD1E5}"/>
          </ac:graphicFrameMkLst>
        </pc:graphicFrameChg>
      </pc:sldChg>
      <pc:sldChg chg="addSp delSp modSp add mod modClrScheme chgLayout modNotesTx">
        <pc:chgData name="Bloesch, Troy" userId="d0937869-bb19-47f1-b7cb-e4344a414307" providerId="ADAL" clId="{0B9E4739-E43A-4485-B480-0870AB84DD6D}" dt="2025-12-05T21:26:01.359" v="5796" actId="1076"/>
        <pc:sldMkLst>
          <pc:docMk/>
          <pc:sldMk cId="3433650863" sldId="260"/>
        </pc:sldMkLst>
        <pc:spChg chg="mod ord">
          <ac:chgData name="Bloesch, Troy" userId="d0937869-bb19-47f1-b7cb-e4344a414307" providerId="ADAL" clId="{0B9E4739-E43A-4485-B480-0870AB84DD6D}" dt="2025-12-05T21:17:25.544" v="5507" actId="948"/>
          <ac:spMkLst>
            <pc:docMk/>
            <pc:sldMk cId="3433650863" sldId="260"/>
            <ac:spMk id="2" creationId="{D58DFB3A-8615-36BA-F681-5C34F8F3255D}"/>
          </ac:spMkLst>
        </pc:spChg>
        <pc:spChg chg="mod ord">
          <ac:chgData name="Bloesch, Troy" userId="d0937869-bb19-47f1-b7cb-e4344a414307" providerId="ADAL" clId="{0B9E4739-E43A-4485-B480-0870AB84DD6D}" dt="2025-12-05T21:17:16.299" v="5441"/>
          <ac:spMkLst>
            <pc:docMk/>
            <pc:sldMk cId="3433650863" sldId="260"/>
            <ac:spMk id="3" creationId="{6398717D-E6DE-DF49-D73F-0F15BE8D0104}"/>
          </ac:spMkLst>
        </pc:spChg>
        <pc:spChg chg="mod ord">
          <ac:chgData name="Bloesch, Troy" userId="d0937869-bb19-47f1-b7cb-e4344a414307" providerId="ADAL" clId="{0B9E4739-E43A-4485-B480-0870AB84DD6D}" dt="2025-12-05T21:17:16.300" v="5443"/>
          <ac:spMkLst>
            <pc:docMk/>
            <pc:sldMk cId="3433650863" sldId="260"/>
            <ac:spMk id="4" creationId="{CBDB68DF-39CC-4C25-1550-7673DE1FAC2A}"/>
          </ac:spMkLst>
        </pc:spChg>
        <pc:spChg chg="mod ord">
          <ac:chgData name="Bloesch, Troy" userId="d0937869-bb19-47f1-b7cb-e4344a414307" providerId="ADAL" clId="{0B9E4739-E43A-4485-B480-0870AB84DD6D}" dt="2025-12-05T21:17:16.298" v="5439"/>
          <ac:spMkLst>
            <pc:docMk/>
            <pc:sldMk cId="3433650863" sldId="260"/>
            <ac:spMk id="5" creationId="{789076E7-59C9-5F6B-0A1E-F66B7E8DD945}"/>
          </ac:spMkLst>
        </pc:spChg>
        <pc:spChg chg="mod ord">
          <ac:chgData name="Bloesch, Troy" userId="d0937869-bb19-47f1-b7cb-e4344a414307" providerId="ADAL" clId="{0B9E4739-E43A-4485-B480-0870AB84DD6D}" dt="2025-12-05T21:17:16.323" v="5489"/>
          <ac:spMkLst>
            <pc:docMk/>
            <pc:sldMk cId="3433650863" sldId="260"/>
            <ac:spMk id="6" creationId="{20EC1ECD-B0F4-21D0-86EF-809919BB3EDD}"/>
          </ac:spMkLst>
        </pc:spChg>
        <pc:spChg chg="mod ord">
          <ac:chgData name="Bloesch, Troy" userId="d0937869-bb19-47f1-b7cb-e4344a414307" providerId="ADAL" clId="{0B9E4739-E43A-4485-B480-0870AB84DD6D}" dt="2025-12-05T21:17:16.301" v="5445"/>
          <ac:spMkLst>
            <pc:docMk/>
            <pc:sldMk cId="3433650863" sldId="260"/>
            <ac:spMk id="9" creationId="{171F1952-7D6A-8490-A272-5F63B48B055C}"/>
          </ac:spMkLst>
        </pc:spChg>
        <pc:spChg chg="mod ord">
          <ac:chgData name="Bloesch, Troy" userId="d0937869-bb19-47f1-b7cb-e4344a414307" providerId="ADAL" clId="{0B9E4739-E43A-4485-B480-0870AB84DD6D}" dt="2025-12-05T21:17:16.302" v="5447"/>
          <ac:spMkLst>
            <pc:docMk/>
            <pc:sldMk cId="3433650863" sldId="260"/>
            <ac:spMk id="11" creationId="{0E3C236E-ECF7-18CD-FF08-7DD692858A25}"/>
          </ac:spMkLst>
        </pc:spChg>
        <pc:spChg chg="mod ord">
          <ac:chgData name="Bloesch, Troy" userId="d0937869-bb19-47f1-b7cb-e4344a414307" providerId="ADAL" clId="{0B9E4739-E43A-4485-B480-0870AB84DD6D}" dt="2025-12-05T21:17:16.294" v="5431"/>
          <ac:spMkLst>
            <pc:docMk/>
            <pc:sldMk cId="3433650863" sldId="260"/>
            <ac:spMk id="12" creationId="{E56F9F21-F569-500A-5C33-0E4D57753E1D}"/>
          </ac:spMkLst>
        </pc:spChg>
        <pc:spChg chg="mod ord">
          <ac:chgData name="Bloesch, Troy" userId="d0937869-bb19-47f1-b7cb-e4344a414307" providerId="ADAL" clId="{0B9E4739-E43A-4485-B480-0870AB84DD6D}" dt="2025-12-05T21:17:16.303" v="5449"/>
          <ac:spMkLst>
            <pc:docMk/>
            <pc:sldMk cId="3433650863" sldId="260"/>
            <ac:spMk id="13" creationId="{321A0715-DA3E-5D2C-D613-13500F5438E3}"/>
          </ac:spMkLst>
        </pc:spChg>
        <pc:spChg chg="mod ord">
          <ac:chgData name="Bloesch, Troy" userId="d0937869-bb19-47f1-b7cb-e4344a414307" providerId="ADAL" clId="{0B9E4739-E43A-4485-B480-0870AB84DD6D}" dt="2025-12-05T21:17:16.323" v="5487"/>
          <ac:spMkLst>
            <pc:docMk/>
            <pc:sldMk cId="3433650863" sldId="260"/>
            <ac:spMk id="14" creationId="{13F32AAD-D004-EF3A-D53A-3354A1F88157}"/>
          </ac:spMkLst>
        </pc:spChg>
        <pc:spChg chg="mod ord">
          <ac:chgData name="Bloesch, Troy" userId="d0937869-bb19-47f1-b7cb-e4344a414307" providerId="ADAL" clId="{0B9E4739-E43A-4485-B480-0870AB84DD6D}" dt="2025-12-05T21:17:16.304" v="5451"/>
          <ac:spMkLst>
            <pc:docMk/>
            <pc:sldMk cId="3433650863" sldId="260"/>
            <ac:spMk id="15" creationId="{FE2F1454-3647-DF03-3148-A73C2513D903}"/>
          </ac:spMkLst>
        </pc:spChg>
        <pc:spChg chg="add del mod">
          <ac:chgData name="Bloesch, Troy" userId="d0937869-bb19-47f1-b7cb-e4344a414307" providerId="ADAL" clId="{0B9E4739-E43A-4485-B480-0870AB84DD6D}" dt="2025-12-05T21:14:07.944" v="5149" actId="478"/>
          <ac:spMkLst>
            <pc:docMk/>
            <pc:sldMk cId="3433650863" sldId="260"/>
            <ac:spMk id="16" creationId="{9E5F7DEC-3E6C-03E2-E32E-5F2A8E0D3D6E}"/>
          </ac:spMkLst>
        </pc:spChg>
        <pc:spChg chg="mod ord">
          <ac:chgData name="Bloesch, Troy" userId="d0937869-bb19-47f1-b7cb-e4344a414307" providerId="ADAL" clId="{0B9E4739-E43A-4485-B480-0870AB84DD6D}" dt="2025-12-05T21:17:16.305" v="5453"/>
          <ac:spMkLst>
            <pc:docMk/>
            <pc:sldMk cId="3433650863" sldId="260"/>
            <ac:spMk id="17" creationId="{DBE71730-2EC1-503B-C492-E569CAC31B43}"/>
          </ac:spMkLst>
        </pc:spChg>
        <pc:spChg chg="add del mod ord">
          <ac:chgData name="Bloesch, Troy" userId="d0937869-bb19-47f1-b7cb-e4344a414307" providerId="ADAL" clId="{0B9E4739-E43A-4485-B480-0870AB84DD6D}" dt="2025-12-05T21:15:41.791" v="5230" actId="700"/>
          <ac:spMkLst>
            <pc:docMk/>
            <pc:sldMk cId="3433650863" sldId="260"/>
            <ac:spMk id="18" creationId="{E9039B42-2CDC-3C07-758C-8ED8C47A8CD6}"/>
          </ac:spMkLst>
        </pc:spChg>
        <pc:spChg chg="mod ord">
          <ac:chgData name="Bloesch, Troy" userId="d0937869-bb19-47f1-b7cb-e4344a414307" providerId="ADAL" clId="{0B9E4739-E43A-4485-B480-0870AB84DD6D}" dt="2025-12-05T21:17:16.306" v="5455"/>
          <ac:spMkLst>
            <pc:docMk/>
            <pc:sldMk cId="3433650863" sldId="260"/>
            <ac:spMk id="19" creationId="{6641DE1C-1879-ED4E-8BE7-943AAB42D57F}"/>
          </ac:spMkLst>
        </pc:spChg>
        <pc:spChg chg="add del mod modVis">
          <ac:chgData name="Bloesch, Troy" userId="d0937869-bb19-47f1-b7cb-e4344a414307" providerId="ADAL" clId="{0B9E4739-E43A-4485-B480-0870AB84DD6D}" dt="2025-12-05T21:15:40.595" v="5228" actId="962"/>
          <ac:spMkLst>
            <pc:docMk/>
            <pc:sldMk cId="3433650863" sldId="260"/>
            <ac:spMk id="20" creationId="{27AF6102-2975-47AE-1E6A-3BC9B0541885}"/>
          </ac:spMkLst>
        </pc:spChg>
        <pc:spChg chg="add del mod modVis">
          <ac:chgData name="Bloesch, Troy" userId="d0937869-bb19-47f1-b7cb-e4344a414307" providerId="ADAL" clId="{0B9E4739-E43A-4485-B480-0870AB84DD6D}" dt="2025-12-05T21:15:42.343" v="5252"/>
          <ac:spMkLst>
            <pc:docMk/>
            <pc:sldMk cId="3433650863" sldId="260"/>
            <ac:spMk id="22" creationId="{1B1797A5-B6B4-346C-C984-89F4AB83BBD8}"/>
          </ac:spMkLst>
        </pc:spChg>
        <pc:spChg chg="add del mod modVis">
          <ac:chgData name="Bloesch, Troy" userId="d0937869-bb19-47f1-b7cb-e4344a414307" providerId="ADAL" clId="{0B9E4739-E43A-4485-B480-0870AB84DD6D}" dt="2025-12-05T21:16:24.522" v="5307" actId="962"/>
          <ac:spMkLst>
            <pc:docMk/>
            <pc:sldMk cId="3433650863" sldId="260"/>
            <ac:spMk id="30" creationId="{2DAB5CC1-D9E9-584A-8524-78C3DC7F3BBC}"/>
          </ac:spMkLst>
        </pc:spChg>
        <pc:spChg chg="add del mod modVis">
          <ac:chgData name="Bloesch, Troy" userId="d0937869-bb19-47f1-b7cb-e4344a414307" providerId="ADAL" clId="{0B9E4739-E43A-4485-B480-0870AB84DD6D}" dt="2025-12-05T21:16:28.076" v="5335"/>
          <ac:spMkLst>
            <pc:docMk/>
            <pc:sldMk cId="3433650863" sldId="260"/>
            <ac:spMk id="31" creationId="{DAB503B4-DAA0-7DEA-EA2B-DA6CB842D371}"/>
          </ac:spMkLst>
        </pc:spChg>
        <pc:spChg chg="mod ord">
          <ac:chgData name="Bloesch, Troy" userId="d0937869-bb19-47f1-b7cb-e4344a414307" providerId="ADAL" clId="{0B9E4739-E43A-4485-B480-0870AB84DD6D}" dt="2025-12-05T21:17:16.290" v="5427"/>
          <ac:spMkLst>
            <pc:docMk/>
            <pc:sldMk cId="3433650863" sldId="260"/>
            <ac:spMk id="32" creationId="{A856A7D6-54A0-6C35-0D10-C1D351047249}"/>
          </ac:spMkLst>
        </pc:spChg>
        <pc:spChg chg="mod ord">
          <ac:chgData name="Bloesch, Troy" userId="d0937869-bb19-47f1-b7cb-e4344a414307" providerId="ADAL" clId="{0B9E4739-E43A-4485-B480-0870AB84DD6D}" dt="2025-12-05T21:17:16.309" v="5457"/>
          <ac:spMkLst>
            <pc:docMk/>
            <pc:sldMk cId="3433650863" sldId="260"/>
            <ac:spMk id="34" creationId="{2C5F03C7-D99A-8A20-70D6-DFDC08EC75C0}"/>
          </ac:spMkLst>
        </pc:spChg>
        <pc:spChg chg="mod ord">
          <ac:chgData name="Bloesch, Troy" userId="d0937869-bb19-47f1-b7cb-e4344a414307" providerId="ADAL" clId="{0B9E4739-E43A-4485-B480-0870AB84DD6D}" dt="2025-12-05T21:17:16.311" v="5459"/>
          <ac:spMkLst>
            <pc:docMk/>
            <pc:sldMk cId="3433650863" sldId="260"/>
            <ac:spMk id="35" creationId="{55B39D8D-B0C8-851B-4FBB-5225EE6303B9}"/>
          </ac:spMkLst>
        </pc:spChg>
        <pc:spChg chg="mod ord">
          <ac:chgData name="Bloesch, Troy" userId="d0937869-bb19-47f1-b7cb-e4344a414307" providerId="ADAL" clId="{0B9E4739-E43A-4485-B480-0870AB84DD6D}" dt="2025-12-05T21:17:16.312" v="5461"/>
          <ac:spMkLst>
            <pc:docMk/>
            <pc:sldMk cId="3433650863" sldId="260"/>
            <ac:spMk id="36" creationId="{A9E9ECA9-55C9-6AE0-CA1E-EC90633C2591}"/>
          </ac:spMkLst>
        </pc:spChg>
        <pc:spChg chg="mod ord">
          <ac:chgData name="Bloesch, Troy" userId="d0937869-bb19-47f1-b7cb-e4344a414307" providerId="ADAL" clId="{0B9E4739-E43A-4485-B480-0870AB84DD6D}" dt="2025-12-05T21:17:16.313" v="5463"/>
          <ac:spMkLst>
            <pc:docMk/>
            <pc:sldMk cId="3433650863" sldId="260"/>
            <ac:spMk id="37" creationId="{CE87B56D-D8AF-2376-22C9-167C74452CFB}"/>
          </ac:spMkLst>
        </pc:spChg>
        <pc:spChg chg="mod ord">
          <ac:chgData name="Bloesch, Troy" userId="d0937869-bb19-47f1-b7cb-e4344a414307" providerId="ADAL" clId="{0B9E4739-E43A-4485-B480-0870AB84DD6D}" dt="2025-12-05T21:17:16.326" v="5495"/>
          <ac:spMkLst>
            <pc:docMk/>
            <pc:sldMk cId="3433650863" sldId="260"/>
            <ac:spMk id="38" creationId="{C1B42D39-8669-3AE3-89B8-C4C12AC17D55}"/>
          </ac:spMkLst>
        </pc:spChg>
        <pc:spChg chg="mod ord">
          <ac:chgData name="Bloesch, Troy" userId="d0937869-bb19-47f1-b7cb-e4344a414307" providerId="ADAL" clId="{0B9E4739-E43A-4485-B480-0870AB84DD6D}" dt="2025-12-05T21:17:16.316" v="5471"/>
          <ac:spMkLst>
            <pc:docMk/>
            <pc:sldMk cId="3433650863" sldId="260"/>
            <ac:spMk id="39" creationId="{12EC63A1-42BD-CDBE-2E48-42195690FB57}"/>
          </ac:spMkLst>
        </pc:spChg>
        <pc:spChg chg="mod ord">
          <ac:chgData name="Bloesch, Troy" userId="d0937869-bb19-47f1-b7cb-e4344a414307" providerId="ADAL" clId="{0B9E4739-E43A-4485-B480-0870AB84DD6D}" dt="2025-12-05T21:17:16.317" v="5473"/>
          <ac:spMkLst>
            <pc:docMk/>
            <pc:sldMk cId="3433650863" sldId="260"/>
            <ac:spMk id="40" creationId="{A56E56FB-C694-CD00-6F12-3C1D80DF1670}"/>
          </ac:spMkLst>
        </pc:spChg>
        <pc:spChg chg="mod ord">
          <ac:chgData name="Bloesch, Troy" userId="d0937869-bb19-47f1-b7cb-e4344a414307" providerId="ADAL" clId="{0B9E4739-E43A-4485-B480-0870AB84DD6D}" dt="2025-12-05T21:17:16.317" v="5475"/>
          <ac:spMkLst>
            <pc:docMk/>
            <pc:sldMk cId="3433650863" sldId="260"/>
            <ac:spMk id="41" creationId="{B587D4E6-9224-6DA5-C08D-ACCEC10BDAA5}"/>
          </ac:spMkLst>
        </pc:spChg>
        <pc:spChg chg="mod ord">
          <ac:chgData name="Bloesch, Troy" userId="d0937869-bb19-47f1-b7cb-e4344a414307" providerId="ADAL" clId="{0B9E4739-E43A-4485-B480-0870AB84DD6D}" dt="2025-12-05T21:17:16.318" v="5477"/>
          <ac:spMkLst>
            <pc:docMk/>
            <pc:sldMk cId="3433650863" sldId="260"/>
            <ac:spMk id="42" creationId="{5604F45E-D9F4-650F-5660-5CEF36D0BD4D}"/>
          </ac:spMkLst>
        </pc:spChg>
        <pc:spChg chg="mod ord">
          <ac:chgData name="Bloesch, Troy" userId="d0937869-bb19-47f1-b7cb-e4344a414307" providerId="ADAL" clId="{0B9E4739-E43A-4485-B480-0870AB84DD6D}" dt="2025-12-05T21:17:16.318" v="5479"/>
          <ac:spMkLst>
            <pc:docMk/>
            <pc:sldMk cId="3433650863" sldId="260"/>
            <ac:spMk id="43" creationId="{767B28FB-AFA1-F3E8-E7D4-0DF6B247E8EB}"/>
          </ac:spMkLst>
        </pc:spChg>
        <pc:spChg chg="mod ord">
          <ac:chgData name="Bloesch, Troy" userId="d0937869-bb19-47f1-b7cb-e4344a414307" providerId="ADAL" clId="{0B9E4739-E43A-4485-B480-0870AB84DD6D}" dt="2025-12-05T21:17:46.830" v="5532" actId="207"/>
          <ac:spMkLst>
            <pc:docMk/>
            <pc:sldMk cId="3433650863" sldId="260"/>
            <ac:spMk id="44" creationId="{0A13390F-9E99-3F98-CE20-05E18A23CD25}"/>
          </ac:spMkLst>
        </pc:spChg>
        <pc:spChg chg="del">
          <ac:chgData name="Bloesch, Troy" userId="d0937869-bb19-47f1-b7cb-e4344a414307" providerId="ADAL" clId="{0B9E4739-E43A-4485-B480-0870AB84DD6D}" dt="2025-12-05T21:17:07.349" v="5343" actId="478"/>
          <ac:spMkLst>
            <pc:docMk/>
            <pc:sldMk cId="3433650863" sldId="260"/>
            <ac:spMk id="45" creationId="{E30F3AAE-5DA3-7624-2C1B-76CF58EAC0C2}"/>
          </ac:spMkLst>
        </pc:spChg>
        <pc:spChg chg="mod ord">
          <ac:chgData name="Bloesch, Troy" userId="d0937869-bb19-47f1-b7cb-e4344a414307" providerId="ADAL" clId="{0B9E4739-E43A-4485-B480-0870AB84DD6D}" dt="2025-12-05T21:17:16.319" v="5481"/>
          <ac:spMkLst>
            <pc:docMk/>
            <pc:sldMk cId="3433650863" sldId="260"/>
            <ac:spMk id="46" creationId="{A8FA3429-0643-6342-C504-1595AF68E79F}"/>
          </ac:spMkLst>
        </pc:spChg>
        <pc:spChg chg="mod ord">
          <ac:chgData name="Bloesch, Troy" userId="d0937869-bb19-47f1-b7cb-e4344a414307" providerId="ADAL" clId="{0B9E4739-E43A-4485-B480-0870AB84DD6D}" dt="2025-12-05T21:17:16.314" v="5465"/>
          <ac:spMkLst>
            <pc:docMk/>
            <pc:sldMk cId="3433650863" sldId="260"/>
            <ac:spMk id="47" creationId="{9A3F7C42-81E7-66CE-15A2-5F4C0390EA37}"/>
          </ac:spMkLst>
        </pc:spChg>
        <pc:spChg chg="mod ord">
          <ac:chgData name="Bloesch, Troy" userId="d0937869-bb19-47f1-b7cb-e4344a414307" providerId="ADAL" clId="{0B9E4739-E43A-4485-B480-0870AB84DD6D}" dt="2025-12-05T21:17:16.315" v="5467"/>
          <ac:spMkLst>
            <pc:docMk/>
            <pc:sldMk cId="3433650863" sldId="260"/>
            <ac:spMk id="48" creationId="{9899DC8E-7AE3-568A-1E7E-D58B65A3EDAD}"/>
          </ac:spMkLst>
        </pc:spChg>
        <pc:spChg chg="add del mod">
          <ac:chgData name="Bloesch, Troy" userId="d0937869-bb19-47f1-b7cb-e4344a414307" providerId="ADAL" clId="{0B9E4739-E43A-4485-B480-0870AB84DD6D}" dt="2025-12-05T21:17:08.967" v="5344" actId="478"/>
          <ac:spMkLst>
            <pc:docMk/>
            <pc:sldMk cId="3433650863" sldId="260"/>
            <ac:spMk id="49" creationId="{839B52DB-071E-945C-2EBF-A92BC59A43A8}"/>
          </ac:spMkLst>
        </pc:spChg>
        <pc:spChg chg="del">
          <ac:chgData name="Bloesch, Troy" userId="d0937869-bb19-47f1-b7cb-e4344a414307" providerId="ADAL" clId="{0B9E4739-E43A-4485-B480-0870AB84DD6D}" dt="2025-12-05T21:17:10.956" v="5345" actId="478"/>
          <ac:spMkLst>
            <pc:docMk/>
            <pc:sldMk cId="3433650863" sldId="260"/>
            <ac:spMk id="50" creationId="{FDD697C9-BC15-C401-7F61-6C49D306DC18}"/>
          </ac:spMkLst>
        </pc:spChg>
        <pc:spChg chg="add del mod">
          <ac:chgData name="Bloesch, Troy" userId="d0937869-bb19-47f1-b7cb-e4344a414307" providerId="ADAL" clId="{0B9E4739-E43A-4485-B480-0870AB84DD6D}" dt="2025-12-05T21:17:02.615" v="5341" actId="478"/>
          <ac:spMkLst>
            <pc:docMk/>
            <pc:sldMk cId="3433650863" sldId="260"/>
            <ac:spMk id="51" creationId="{9A1154FE-35D9-1C3B-4F3F-7609A41010BA}"/>
          </ac:spMkLst>
        </pc:spChg>
        <pc:spChg chg="mod ord">
          <ac:chgData name="Bloesch, Troy" userId="d0937869-bb19-47f1-b7cb-e4344a414307" providerId="ADAL" clId="{0B9E4739-E43A-4485-B480-0870AB84DD6D}" dt="2025-12-05T21:17:16.319" v="5483"/>
          <ac:spMkLst>
            <pc:docMk/>
            <pc:sldMk cId="3433650863" sldId="260"/>
            <ac:spMk id="52" creationId="{FAF21107-9271-FB56-DD0A-8C1E0472F03D}"/>
          </ac:spMkLst>
        </pc:spChg>
        <pc:spChg chg="del">
          <ac:chgData name="Bloesch, Troy" userId="d0937869-bb19-47f1-b7cb-e4344a414307" providerId="ADAL" clId="{0B9E4739-E43A-4485-B480-0870AB84DD6D}" dt="2025-12-05T21:17:04.489" v="5342" actId="478"/>
          <ac:spMkLst>
            <pc:docMk/>
            <pc:sldMk cId="3433650863" sldId="260"/>
            <ac:spMk id="53" creationId="{ECA8E9B5-2E6F-4CA0-72A4-12E7F4814698}"/>
          </ac:spMkLst>
        </pc:spChg>
        <pc:spChg chg="del">
          <ac:chgData name="Bloesch, Troy" userId="d0937869-bb19-47f1-b7cb-e4344a414307" providerId="ADAL" clId="{0B9E4739-E43A-4485-B480-0870AB84DD6D}" dt="2025-12-05T21:17:04.489" v="5342" actId="478"/>
          <ac:spMkLst>
            <pc:docMk/>
            <pc:sldMk cId="3433650863" sldId="260"/>
            <ac:spMk id="54" creationId="{FD593E09-BF2F-D009-62F3-FF6D1196292F}"/>
          </ac:spMkLst>
        </pc:spChg>
        <pc:spChg chg="add del mod">
          <ac:chgData name="Bloesch, Troy" userId="d0937869-bb19-47f1-b7cb-e4344a414307" providerId="ADAL" clId="{0B9E4739-E43A-4485-B480-0870AB84DD6D}" dt="2025-12-05T21:17:04.489" v="5342" actId="478"/>
          <ac:spMkLst>
            <pc:docMk/>
            <pc:sldMk cId="3433650863" sldId="260"/>
            <ac:spMk id="55" creationId="{1980E309-9CFD-9723-F8C7-8D51A5C81637}"/>
          </ac:spMkLst>
        </pc:spChg>
        <pc:spChg chg="add del mod">
          <ac:chgData name="Bloesch, Troy" userId="d0937869-bb19-47f1-b7cb-e4344a414307" providerId="ADAL" clId="{0B9E4739-E43A-4485-B480-0870AB84DD6D}" dt="2025-12-05T21:17:04.489" v="5342" actId="478"/>
          <ac:spMkLst>
            <pc:docMk/>
            <pc:sldMk cId="3433650863" sldId="260"/>
            <ac:spMk id="56" creationId="{FED3445A-9D98-29AC-C693-00F0E5B7AC53}"/>
          </ac:spMkLst>
        </pc:spChg>
        <pc:spChg chg="mod">
          <ac:chgData name="Bloesch, Troy" userId="d0937869-bb19-47f1-b7cb-e4344a414307" providerId="ADAL" clId="{0B9E4739-E43A-4485-B480-0870AB84DD6D}" dt="2025-12-05T21:16:59.157" v="5340"/>
          <ac:spMkLst>
            <pc:docMk/>
            <pc:sldMk cId="3433650863" sldId="260"/>
            <ac:spMk id="59" creationId="{CD5F347B-5F74-6B4F-4B76-534D48CFD534}"/>
          </ac:spMkLst>
        </pc:spChg>
        <pc:spChg chg="mod">
          <ac:chgData name="Bloesch, Troy" userId="d0937869-bb19-47f1-b7cb-e4344a414307" providerId="ADAL" clId="{0B9E4739-E43A-4485-B480-0870AB84DD6D}" dt="2025-12-05T21:16:59.157" v="5340"/>
          <ac:spMkLst>
            <pc:docMk/>
            <pc:sldMk cId="3433650863" sldId="260"/>
            <ac:spMk id="61" creationId="{89F08AC2-02AB-C069-344E-3421A0447C20}"/>
          </ac:spMkLst>
        </pc:spChg>
        <pc:spChg chg="mod ord">
          <ac:chgData name="Bloesch, Troy" userId="d0937869-bb19-47f1-b7cb-e4344a414307" providerId="ADAL" clId="{0B9E4739-E43A-4485-B480-0870AB84DD6D}" dt="2025-12-05T21:17:39.801" v="5531" actId="207"/>
          <ac:spMkLst>
            <pc:docMk/>
            <pc:sldMk cId="3433650863" sldId="260"/>
            <ac:spMk id="63" creationId="{8168BEB4-56A8-545E-D3F8-C7332D0D0ACD}"/>
          </ac:spMkLst>
        </pc:spChg>
        <pc:spChg chg="mod">
          <ac:chgData name="Bloesch, Troy" userId="d0937869-bb19-47f1-b7cb-e4344a414307" providerId="ADAL" clId="{0B9E4739-E43A-4485-B480-0870AB84DD6D}" dt="2025-12-05T21:16:59.157" v="5340"/>
          <ac:spMkLst>
            <pc:docMk/>
            <pc:sldMk cId="3433650863" sldId="260"/>
            <ac:spMk id="65" creationId="{DA3BA1CA-F76A-4B80-690E-A90C6113AB3C}"/>
          </ac:spMkLst>
        </pc:spChg>
        <pc:spChg chg="mod">
          <ac:chgData name="Bloesch, Troy" userId="d0937869-bb19-47f1-b7cb-e4344a414307" providerId="ADAL" clId="{0B9E4739-E43A-4485-B480-0870AB84DD6D}" dt="2025-12-05T21:16:59.157" v="5340"/>
          <ac:spMkLst>
            <pc:docMk/>
            <pc:sldMk cId="3433650863" sldId="260"/>
            <ac:spMk id="73" creationId="{E7ADA49C-DE2D-0E78-B27B-584D271A9D03}"/>
          </ac:spMkLst>
        </pc:spChg>
        <pc:spChg chg="mod">
          <ac:chgData name="Bloesch, Troy" userId="d0937869-bb19-47f1-b7cb-e4344a414307" providerId="ADAL" clId="{0B9E4739-E43A-4485-B480-0870AB84DD6D}" dt="2025-12-05T21:16:59.157" v="5340"/>
          <ac:spMkLst>
            <pc:docMk/>
            <pc:sldMk cId="3433650863" sldId="260"/>
            <ac:spMk id="77" creationId="{C4065720-ADCE-C127-5356-03945B4DB13B}"/>
          </ac:spMkLst>
        </pc:spChg>
        <pc:spChg chg="mod">
          <ac:chgData name="Bloesch, Troy" userId="d0937869-bb19-47f1-b7cb-e4344a414307" providerId="ADAL" clId="{0B9E4739-E43A-4485-B480-0870AB84DD6D}" dt="2025-12-05T21:16:59.157" v="5340"/>
          <ac:spMkLst>
            <pc:docMk/>
            <pc:sldMk cId="3433650863" sldId="260"/>
            <ac:spMk id="78" creationId="{E0DB96E3-23D0-233F-6D8F-8DD7EFB1197E}"/>
          </ac:spMkLst>
        </pc:spChg>
        <pc:spChg chg="del">
          <ac:chgData name="Bloesch, Troy" userId="d0937869-bb19-47f1-b7cb-e4344a414307" providerId="ADAL" clId="{0B9E4739-E43A-4485-B480-0870AB84DD6D}" dt="2025-12-05T21:17:04.489" v="5342" actId="478"/>
          <ac:spMkLst>
            <pc:docMk/>
            <pc:sldMk cId="3433650863" sldId="260"/>
            <ac:spMk id="79" creationId="{566375E6-0CAB-7AE9-F531-21B0EF1E888F}"/>
          </ac:spMkLst>
        </pc:spChg>
        <pc:spChg chg="add del mod modVis">
          <ac:chgData name="Bloesch, Troy" userId="d0937869-bb19-47f1-b7cb-e4344a414307" providerId="ADAL" clId="{0B9E4739-E43A-4485-B480-0870AB84DD6D}" dt="2025-12-05T21:17:25.603" v="5528"/>
          <ac:spMkLst>
            <pc:docMk/>
            <pc:sldMk cId="3433650863" sldId="260"/>
            <ac:spMk id="83" creationId="{FB24FF77-6265-A32B-2D18-55F4C77B4314}"/>
          </ac:spMkLst>
        </pc:spChg>
        <pc:spChg chg="add mod">
          <ac:chgData name="Bloesch, Troy" userId="d0937869-bb19-47f1-b7cb-e4344a414307" providerId="ADAL" clId="{0B9E4739-E43A-4485-B480-0870AB84DD6D}" dt="2025-12-05T21:26:01.359" v="5796" actId="1076"/>
          <ac:spMkLst>
            <pc:docMk/>
            <pc:sldMk cId="3433650863" sldId="260"/>
            <ac:spMk id="84" creationId="{094B7D66-4A48-AB2A-74C6-D5B9846A6549}"/>
          </ac:spMkLst>
        </pc:spChg>
        <pc:spChg chg="mod">
          <ac:chgData name="Bloesch, Troy" userId="d0937869-bb19-47f1-b7cb-e4344a414307" providerId="ADAL" clId="{0B9E4739-E43A-4485-B480-0870AB84DD6D}" dt="2025-12-05T21:14:53.199" v="5172" actId="207"/>
          <ac:spMkLst>
            <pc:docMk/>
            <pc:sldMk cId="3433650863" sldId="260"/>
            <ac:spMk id="86" creationId="{E1B20566-E7D3-8219-400A-3274699157D7}"/>
          </ac:spMkLst>
        </pc:spChg>
        <pc:spChg chg="mod">
          <ac:chgData name="Bloesch, Troy" userId="d0937869-bb19-47f1-b7cb-e4344a414307" providerId="ADAL" clId="{0B9E4739-E43A-4485-B480-0870AB84DD6D}" dt="2025-12-05T21:14:53.199" v="5172" actId="207"/>
          <ac:spMkLst>
            <pc:docMk/>
            <pc:sldMk cId="3433650863" sldId="260"/>
            <ac:spMk id="87" creationId="{06750229-6F4C-9609-32F4-162F317B31A4}"/>
          </ac:spMkLst>
        </pc:spChg>
        <pc:grpChg chg="del">
          <ac:chgData name="Bloesch, Troy" userId="d0937869-bb19-47f1-b7cb-e4344a414307" providerId="ADAL" clId="{0B9E4739-E43A-4485-B480-0870AB84DD6D}" dt="2025-12-05T21:17:04.489" v="5342" actId="478"/>
          <ac:grpSpMkLst>
            <pc:docMk/>
            <pc:sldMk cId="3433650863" sldId="260"/>
            <ac:grpSpMk id="57" creationId="{A757DB95-D626-B5F7-450D-60A41C7888D2}"/>
          </ac:grpSpMkLst>
        </pc:grpChg>
        <pc:grpChg chg="mod ord">
          <ac:chgData name="Bloesch, Troy" userId="d0937869-bb19-47f1-b7cb-e4344a414307" providerId="ADAL" clId="{0B9E4739-E43A-4485-B480-0870AB84DD6D}" dt="2025-12-05T21:17:16.315" v="5469"/>
          <ac:grpSpMkLst>
            <pc:docMk/>
            <pc:sldMk cId="3433650863" sldId="260"/>
            <ac:grpSpMk id="62" creationId="{0600C6B4-7E98-35AA-EA9F-011285B379BC}"/>
          </ac:grpSpMkLst>
        </pc:grpChg>
        <pc:grpChg chg="del">
          <ac:chgData name="Bloesch, Troy" userId="d0937869-bb19-47f1-b7cb-e4344a414307" providerId="ADAL" clId="{0B9E4739-E43A-4485-B480-0870AB84DD6D}" dt="2025-12-05T21:17:04.489" v="5342" actId="478"/>
          <ac:grpSpMkLst>
            <pc:docMk/>
            <pc:sldMk cId="3433650863" sldId="260"/>
            <ac:grpSpMk id="64" creationId="{1F9F2F85-AAE2-1248-27BA-825E3F68F374}"/>
          </ac:grpSpMkLst>
        </pc:grpChg>
        <pc:grpChg chg="del">
          <ac:chgData name="Bloesch, Troy" userId="d0937869-bb19-47f1-b7cb-e4344a414307" providerId="ADAL" clId="{0B9E4739-E43A-4485-B480-0870AB84DD6D}" dt="2025-12-05T21:17:04.489" v="5342" actId="478"/>
          <ac:grpSpMkLst>
            <pc:docMk/>
            <pc:sldMk cId="3433650863" sldId="260"/>
            <ac:grpSpMk id="68" creationId="{220599CE-A521-CE04-0238-E88F44CD52F5}"/>
          </ac:grpSpMkLst>
        </pc:grpChg>
        <pc:grpChg chg="del">
          <ac:chgData name="Bloesch, Troy" userId="d0937869-bb19-47f1-b7cb-e4344a414307" providerId="ADAL" clId="{0B9E4739-E43A-4485-B480-0870AB84DD6D}" dt="2025-12-05T21:17:04.489" v="5342" actId="478"/>
          <ac:grpSpMkLst>
            <pc:docMk/>
            <pc:sldMk cId="3433650863" sldId="260"/>
            <ac:grpSpMk id="80" creationId="{659026E7-EA56-B33D-267E-A30793CFFA04}"/>
          </ac:grpSpMkLst>
        </pc:grpChg>
        <pc:graphicFrameChg chg="add mod ord modVis">
          <ac:chgData name="Bloesch, Troy" userId="d0937869-bb19-47f1-b7cb-e4344a414307" providerId="ADAL" clId="{0B9E4739-E43A-4485-B480-0870AB84DD6D}" dt="2025-12-05T21:15:40.589" v="5215" actId="14100"/>
          <ac:graphicFrameMkLst>
            <pc:docMk/>
            <pc:sldMk cId="3433650863" sldId="260"/>
            <ac:graphicFrameMk id="21" creationId="{12E113B0-515C-AC8B-44D0-DBD28FF717DE}"/>
          </ac:graphicFrameMkLst>
        </pc:graphicFrameChg>
        <pc:graphicFrameChg chg="add mod ord modVis">
          <ac:chgData name="Bloesch, Troy" userId="d0937869-bb19-47f1-b7cb-e4344a414307" providerId="ADAL" clId="{0B9E4739-E43A-4485-B480-0870AB84DD6D}" dt="2025-12-05T21:17:25.606" v="5530"/>
          <ac:graphicFrameMkLst>
            <pc:docMk/>
            <pc:sldMk cId="3433650863" sldId="260"/>
            <ac:graphicFrameMk id="27" creationId="{824A8B09-DFE1-4E29-9D14-BEAD307C9D26}"/>
          </ac:graphicFrameMkLst>
        </pc:graphicFrameChg>
        <pc:picChg chg="add del mod">
          <ac:chgData name="Bloesch, Troy" userId="d0937869-bb19-47f1-b7cb-e4344a414307" providerId="ADAL" clId="{0B9E4739-E43A-4485-B480-0870AB84DD6D}" dt="2025-12-05T21:14:08.743" v="5150" actId="478"/>
          <ac:picMkLst>
            <pc:docMk/>
            <pc:sldMk cId="3433650863" sldId="260"/>
            <ac:picMk id="8" creationId="{A5BE6703-ABB5-EADE-F61B-592C7B46F815}"/>
          </ac:picMkLst>
        </pc:picChg>
        <pc:picChg chg="mod ord">
          <ac:chgData name="Bloesch, Troy" userId="d0937869-bb19-47f1-b7cb-e4344a414307" providerId="ADAL" clId="{0B9E4739-E43A-4485-B480-0870AB84DD6D}" dt="2025-12-05T21:17:16.321" v="5485"/>
          <ac:picMkLst>
            <pc:docMk/>
            <pc:sldMk cId="3433650863" sldId="260"/>
            <ac:picMk id="10" creationId="{EDACDCD2-68BB-845D-C4AF-CABA9527D8DD}"/>
          </ac:picMkLst>
        </pc:picChg>
        <pc:picChg chg="mod ord">
          <ac:chgData name="Bloesch, Troy" userId="d0937869-bb19-47f1-b7cb-e4344a414307" providerId="ADAL" clId="{0B9E4739-E43A-4485-B480-0870AB84DD6D}" dt="2025-12-05T21:17:16.327" v="5497"/>
          <ac:picMkLst>
            <pc:docMk/>
            <pc:sldMk cId="3433650863" sldId="260"/>
            <ac:picMk id="23" creationId="{FAD068D9-BB0B-1F81-346C-A13B7AB5C04D}"/>
          </ac:picMkLst>
        </pc:picChg>
        <pc:picChg chg="mod ord">
          <ac:chgData name="Bloesch, Troy" userId="d0937869-bb19-47f1-b7cb-e4344a414307" providerId="ADAL" clId="{0B9E4739-E43A-4485-B480-0870AB84DD6D}" dt="2025-12-05T21:17:16.327" v="5499"/>
          <ac:picMkLst>
            <pc:docMk/>
            <pc:sldMk cId="3433650863" sldId="260"/>
            <ac:picMk id="25" creationId="{F35FE24F-7FD1-EE42-1756-78D6443EE191}"/>
          </ac:picMkLst>
        </pc:picChg>
        <pc:picChg chg="mod ord">
          <ac:chgData name="Bloesch, Troy" userId="d0937869-bb19-47f1-b7cb-e4344a414307" providerId="ADAL" clId="{0B9E4739-E43A-4485-B480-0870AB84DD6D}" dt="2025-12-05T21:17:16.328" v="5501"/>
          <ac:picMkLst>
            <pc:docMk/>
            <pc:sldMk cId="3433650863" sldId="260"/>
            <ac:picMk id="26" creationId="{3373AFC9-92AC-50A6-0BA4-6538C239ADBE}"/>
          </ac:picMkLst>
        </pc:picChg>
        <pc:picChg chg="mod ord">
          <ac:chgData name="Bloesch, Troy" userId="d0937869-bb19-47f1-b7cb-e4344a414307" providerId="ADAL" clId="{0B9E4739-E43A-4485-B480-0870AB84DD6D}" dt="2025-12-05T21:17:16.329" v="5503"/>
          <ac:picMkLst>
            <pc:docMk/>
            <pc:sldMk cId="3433650863" sldId="260"/>
            <ac:picMk id="29" creationId="{7A96E6FF-21CA-EBA9-B30F-9D4CB4797435}"/>
          </ac:picMkLst>
        </pc:picChg>
        <pc:picChg chg="mod ord">
          <ac:chgData name="Bloesch, Troy" userId="d0937869-bb19-47f1-b7cb-e4344a414307" providerId="ADAL" clId="{0B9E4739-E43A-4485-B480-0870AB84DD6D}" dt="2025-12-05T21:17:16.292" v="5429"/>
          <ac:picMkLst>
            <pc:docMk/>
            <pc:sldMk cId="3433650863" sldId="260"/>
            <ac:picMk id="33" creationId="{FE4E31F4-3D73-DD24-E33F-B0C07F664612}"/>
          </ac:picMkLst>
        </pc:picChg>
        <pc:cxnChg chg="mod ord">
          <ac:chgData name="Bloesch, Troy" userId="d0937869-bb19-47f1-b7cb-e4344a414307" providerId="ADAL" clId="{0B9E4739-E43A-4485-B480-0870AB84DD6D}" dt="2025-12-05T21:17:16.324" v="5491"/>
          <ac:cxnSpMkLst>
            <pc:docMk/>
            <pc:sldMk cId="3433650863" sldId="260"/>
            <ac:cxnSpMk id="24" creationId="{2D12FA7E-467C-A864-A7F0-BF4F2FEB42E0}"/>
          </ac:cxnSpMkLst>
        </pc:cxnChg>
        <pc:cxnChg chg="mod ord">
          <ac:chgData name="Bloesch, Troy" userId="d0937869-bb19-47f1-b7cb-e4344a414307" providerId="ADAL" clId="{0B9E4739-E43A-4485-B480-0870AB84DD6D}" dt="2025-12-05T21:17:16.325" v="5493"/>
          <ac:cxnSpMkLst>
            <pc:docMk/>
            <pc:sldMk cId="3433650863" sldId="260"/>
            <ac:cxnSpMk id="28" creationId="{B83D79C5-8E57-0D96-C7FA-C56C64BFD8D3}"/>
          </ac:cxnSpMkLst>
        </pc:cxnChg>
      </pc:sldChg>
      <pc:sldChg chg="addSp delSp modSp new del mod">
        <pc:chgData name="Bloesch, Troy" userId="d0937869-bb19-47f1-b7cb-e4344a414307" providerId="ADAL" clId="{0B9E4739-E43A-4485-B480-0870AB84DD6D}" dt="2025-12-05T20:53:15.311" v="4889" actId="47"/>
        <pc:sldMkLst>
          <pc:docMk/>
          <pc:sldMk cId="3615358966" sldId="261"/>
        </pc:sldMkLst>
        <pc:spChg chg="mod">
          <ac:chgData name="Bloesch, Troy" userId="d0937869-bb19-47f1-b7cb-e4344a414307" providerId="ADAL" clId="{0B9E4739-E43A-4485-B480-0870AB84DD6D}" dt="2025-12-05T20:48:29.719" v="4862" actId="948"/>
          <ac:spMkLst>
            <pc:docMk/>
            <pc:sldMk cId="3615358966" sldId="261"/>
            <ac:spMk id="2" creationId="{4BE70A26-D5DA-D565-798B-B95912E05898}"/>
          </ac:spMkLst>
        </pc:spChg>
        <pc:spChg chg="add del mod modVis">
          <ac:chgData name="Bloesch, Troy" userId="d0937869-bb19-47f1-b7cb-e4344a414307" providerId="ADAL" clId="{0B9E4739-E43A-4485-B480-0870AB84DD6D}" dt="2025-12-05T20:48:29.766" v="4883"/>
          <ac:spMkLst>
            <pc:docMk/>
            <pc:sldMk cId="3615358966" sldId="261"/>
            <ac:spMk id="5" creationId="{46020C17-DF71-35E0-76C1-2A9AAB9E3572}"/>
          </ac:spMkLst>
        </pc:spChg>
        <pc:graphicFrameChg chg="add mod ord modVis">
          <ac:chgData name="Bloesch, Troy" userId="d0937869-bb19-47f1-b7cb-e4344a414307" providerId="ADAL" clId="{0B9E4739-E43A-4485-B480-0870AB84DD6D}" dt="2025-12-05T20:48:29.768" v="4885"/>
          <ac:graphicFrameMkLst>
            <pc:docMk/>
            <pc:sldMk cId="3615358966" sldId="261"/>
            <ac:graphicFrameMk id="4" creationId="{6AC53E00-E49B-98CC-98BC-82FD9E302EF5}"/>
          </ac:graphicFrameMkLst>
        </pc:graphicFrameChg>
      </pc:sldChg>
      <pc:sldChg chg="del ord">
        <pc:chgData name="Bloesch, Troy" userId="d0937869-bb19-47f1-b7cb-e4344a414307" providerId="ADAL" clId="{0B9E4739-E43A-4485-B480-0870AB84DD6D}" dt="2025-12-05T21:04:00.148" v="4979" actId="47"/>
        <pc:sldMkLst>
          <pc:docMk/>
          <pc:sldMk cId="1429591144" sldId="262"/>
        </pc:sldMkLst>
      </pc:sldChg>
      <pc:sldChg chg="add del">
        <pc:chgData name="Bloesch, Troy" userId="d0937869-bb19-47f1-b7cb-e4344a414307" providerId="ADAL" clId="{0B9E4739-E43A-4485-B480-0870AB84DD6D}" dt="2025-12-05T19:20:35.458" v="898" actId="47"/>
        <pc:sldMkLst>
          <pc:docMk/>
          <pc:sldMk cId="488786970" sldId="266"/>
        </pc:sldMkLst>
      </pc:sldChg>
      <pc:sldChg chg="del">
        <pc:chgData name="Bloesch, Troy" userId="d0937869-bb19-47f1-b7cb-e4344a414307" providerId="ADAL" clId="{0B9E4739-E43A-4485-B480-0870AB84DD6D}" dt="2025-12-05T19:05:24.669" v="486" actId="2696"/>
        <pc:sldMkLst>
          <pc:docMk/>
          <pc:sldMk cId="3010628253" sldId="266"/>
        </pc:sldMkLst>
      </pc:sldChg>
      <pc:sldChg chg="addSp delSp modSp add mod ord modNotesTx">
        <pc:chgData name="Bloesch, Troy" userId="d0937869-bb19-47f1-b7cb-e4344a414307" providerId="ADAL" clId="{0B9E4739-E43A-4485-B480-0870AB84DD6D}" dt="2025-12-05T23:17:02.723" v="6616" actId="20577"/>
        <pc:sldMkLst>
          <pc:docMk/>
          <pc:sldMk cId="3074683643" sldId="269"/>
        </pc:sldMkLst>
        <pc:spChg chg="mod ord">
          <ac:chgData name="Bloesch, Troy" userId="d0937869-bb19-47f1-b7cb-e4344a414307" providerId="ADAL" clId="{0B9E4739-E43A-4485-B480-0870AB84DD6D}" dt="2025-12-05T20:00:27.843" v="3298" actId="948"/>
          <ac:spMkLst>
            <pc:docMk/>
            <pc:sldMk cId="3074683643" sldId="269"/>
            <ac:spMk id="2" creationId="{2FFF1F5B-0831-4916-D2B2-2E91084A8C49}"/>
          </ac:spMkLst>
        </pc:spChg>
        <pc:spChg chg="mod ord">
          <ac:chgData name="Bloesch, Troy" userId="d0937869-bb19-47f1-b7cb-e4344a414307" providerId="ADAL" clId="{0B9E4739-E43A-4485-B480-0870AB84DD6D}" dt="2025-12-05T20:00:46.617" v="3335" actId="14100"/>
          <ac:spMkLst>
            <pc:docMk/>
            <pc:sldMk cId="3074683643" sldId="269"/>
            <ac:spMk id="3" creationId="{F6E540DE-92B8-3B89-009C-E1E536C4A770}"/>
          </ac:spMkLst>
        </pc:spChg>
        <pc:spChg chg="mod ord">
          <ac:chgData name="Bloesch, Troy" userId="d0937869-bb19-47f1-b7cb-e4344a414307" providerId="ADAL" clId="{0B9E4739-E43A-4485-B480-0870AB84DD6D}" dt="2025-12-05T19:58:18.228" v="2975"/>
          <ac:spMkLst>
            <pc:docMk/>
            <pc:sldMk cId="3074683643" sldId="269"/>
            <ac:spMk id="4" creationId="{14EB753C-56BB-BF9D-E81E-38DC69C5E2D4}"/>
          </ac:spMkLst>
        </pc:spChg>
        <pc:spChg chg="mod ord">
          <ac:chgData name="Bloesch, Troy" userId="d0937869-bb19-47f1-b7cb-e4344a414307" providerId="ADAL" clId="{0B9E4739-E43A-4485-B480-0870AB84DD6D}" dt="2025-12-05T22:01:51.760" v="6271" actId="1076"/>
          <ac:spMkLst>
            <pc:docMk/>
            <pc:sldMk cId="3074683643" sldId="269"/>
            <ac:spMk id="5" creationId="{B032E933-259A-5817-400C-22D58ACA80BE}"/>
          </ac:spMkLst>
        </pc:spChg>
        <pc:spChg chg="mod ord">
          <ac:chgData name="Bloesch, Troy" userId="d0937869-bb19-47f1-b7cb-e4344a414307" providerId="ADAL" clId="{0B9E4739-E43A-4485-B480-0870AB84DD6D}" dt="2025-12-05T19:58:18.228" v="2979"/>
          <ac:spMkLst>
            <pc:docMk/>
            <pc:sldMk cId="3074683643" sldId="269"/>
            <ac:spMk id="6" creationId="{DF24BE0F-DC41-899B-4913-958C1D75A5ED}"/>
          </ac:spMkLst>
        </pc:spChg>
        <pc:spChg chg="mod ord">
          <ac:chgData name="Bloesch, Troy" userId="d0937869-bb19-47f1-b7cb-e4344a414307" providerId="ADAL" clId="{0B9E4739-E43A-4485-B480-0870AB84DD6D}" dt="2025-12-05T21:25:51.967" v="5794" actId="20577"/>
          <ac:spMkLst>
            <pc:docMk/>
            <pc:sldMk cId="3074683643" sldId="269"/>
            <ac:spMk id="7" creationId="{31E17998-E4E7-AE51-3581-428EEB41A777}"/>
          </ac:spMkLst>
        </pc:spChg>
        <pc:spChg chg="mod ord">
          <ac:chgData name="Bloesch, Troy" userId="d0937869-bb19-47f1-b7cb-e4344a414307" providerId="ADAL" clId="{0B9E4739-E43A-4485-B480-0870AB84DD6D}" dt="2025-12-05T19:58:34.489" v="2990" actId="14100"/>
          <ac:spMkLst>
            <pc:docMk/>
            <pc:sldMk cId="3074683643" sldId="269"/>
            <ac:spMk id="8" creationId="{F0527432-7765-2168-BE2A-BAE2760E911C}"/>
          </ac:spMkLst>
        </pc:spChg>
        <pc:spChg chg="add del mod modVis">
          <ac:chgData name="Bloesch, Troy" userId="d0937869-bb19-47f1-b7cb-e4344a414307" providerId="ADAL" clId="{0B9E4739-E43A-4485-B480-0870AB84DD6D}" dt="2025-12-05T19:56:30.238" v="2329"/>
          <ac:spMkLst>
            <pc:docMk/>
            <pc:sldMk cId="3074683643" sldId="269"/>
            <ac:spMk id="17" creationId="{6063C1B9-C7A8-17BD-C865-B2A8F88B4B8A}"/>
          </ac:spMkLst>
        </pc:spChg>
        <pc:spChg chg="mod ord">
          <ac:chgData name="Bloesch, Troy" userId="d0937869-bb19-47f1-b7cb-e4344a414307" providerId="ADAL" clId="{0B9E4739-E43A-4485-B480-0870AB84DD6D}" dt="2025-12-05T19:58:18.228" v="2980"/>
          <ac:spMkLst>
            <pc:docMk/>
            <pc:sldMk cId="3074683643" sldId="269"/>
            <ac:spMk id="20" creationId="{3DFC7D25-469A-AA43-965E-8FA3751491F0}"/>
          </ac:spMkLst>
        </pc:spChg>
        <pc:spChg chg="add del mod modVis">
          <ac:chgData name="Bloesch, Troy" userId="d0937869-bb19-47f1-b7cb-e4344a414307" providerId="ADAL" clId="{0B9E4739-E43A-4485-B480-0870AB84DD6D}" dt="2025-12-05T20:00:08.415" v="3151"/>
          <ac:spMkLst>
            <pc:docMk/>
            <pc:sldMk cId="3074683643" sldId="269"/>
            <ac:spMk id="21" creationId="{7467AD32-FAF5-B54D-1979-7F4470062134}"/>
          </ac:spMkLst>
        </pc:spChg>
        <pc:spChg chg="add del mod modVis">
          <ac:chgData name="Bloesch, Troy" userId="d0937869-bb19-47f1-b7cb-e4344a414307" providerId="ADAL" clId="{0B9E4739-E43A-4485-B480-0870AB84DD6D}" dt="2025-12-05T20:00:09.021" v="3176"/>
          <ac:spMkLst>
            <pc:docMk/>
            <pc:sldMk cId="3074683643" sldId="269"/>
            <ac:spMk id="22" creationId="{B4FE03CC-8AA3-7CD2-0600-97683E05F3DE}"/>
          </ac:spMkLst>
        </pc:spChg>
        <pc:spChg chg="add del mod modVis">
          <ac:chgData name="Bloesch, Troy" userId="d0937869-bb19-47f1-b7cb-e4344a414307" providerId="ADAL" clId="{0B9E4739-E43A-4485-B480-0870AB84DD6D}" dt="2025-12-05T20:00:20.118" v="3204"/>
          <ac:spMkLst>
            <pc:docMk/>
            <pc:sldMk cId="3074683643" sldId="269"/>
            <ac:spMk id="23" creationId="{B2B876BA-2321-3F63-E60D-CD391FCD81A4}"/>
          </ac:spMkLst>
        </pc:spChg>
        <pc:spChg chg="mod ord">
          <ac:chgData name="Bloesch, Troy" userId="d0937869-bb19-47f1-b7cb-e4344a414307" providerId="ADAL" clId="{0B9E4739-E43A-4485-B480-0870AB84DD6D}" dt="2025-12-05T19:58:18.228" v="2982"/>
          <ac:spMkLst>
            <pc:docMk/>
            <pc:sldMk cId="3074683643" sldId="269"/>
            <ac:spMk id="32" creationId="{C274F77D-CE2D-43D3-AA63-D86CA6E24C9C}"/>
          </ac:spMkLst>
        </pc:spChg>
        <pc:spChg chg="mod ord">
          <ac:chgData name="Bloesch, Troy" userId="d0937869-bb19-47f1-b7cb-e4344a414307" providerId="ADAL" clId="{0B9E4739-E43A-4485-B480-0870AB84DD6D}" dt="2025-12-05T19:58:18.227" v="2973"/>
          <ac:spMkLst>
            <pc:docMk/>
            <pc:sldMk cId="3074683643" sldId="269"/>
            <ac:spMk id="33" creationId="{7095AD62-8A59-6EC8-E540-04D73B6CC6B8}"/>
          </ac:spMkLst>
        </pc:spChg>
        <pc:spChg chg="mod">
          <ac:chgData name="Bloesch, Troy" userId="d0937869-bb19-47f1-b7cb-e4344a414307" providerId="ADAL" clId="{0B9E4739-E43A-4485-B480-0870AB84DD6D}" dt="2025-12-05T22:12:08.746" v="6531"/>
          <ac:spMkLst>
            <pc:docMk/>
            <pc:sldMk cId="3074683643" sldId="269"/>
            <ac:spMk id="43" creationId="{3C401A6B-8685-223D-094D-D72B22A22DAC}"/>
          </ac:spMkLst>
        </pc:spChg>
        <pc:spChg chg="mod">
          <ac:chgData name="Bloesch, Troy" userId="d0937869-bb19-47f1-b7cb-e4344a414307" providerId="ADAL" clId="{0B9E4739-E43A-4485-B480-0870AB84DD6D}" dt="2025-12-05T20:01:09.476" v="3353" actId="20577"/>
          <ac:spMkLst>
            <pc:docMk/>
            <pc:sldMk cId="3074683643" sldId="269"/>
            <ac:spMk id="44" creationId="{C8B11E9F-5D0D-D509-89E2-6AC4A80AFAFB}"/>
          </ac:spMkLst>
        </pc:spChg>
        <pc:spChg chg="mod">
          <ac:chgData name="Bloesch, Troy" userId="d0937869-bb19-47f1-b7cb-e4344a414307" providerId="ADAL" clId="{0B9E4739-E43A-4485-B480-0870AB84DD6D}" dt="2025-12-05T22:12:08.746" v="6531"/>
          <ac:spMkLst>
            <pc:docMk/>
            <pc:sldMk cId="3074683643" sldId="269"/>
            <ac:spMk id="45" creationId="{A3283193-71F3-6386-8079-A110067BC7E0}"/>
          </ac:spMkLst>
        </pc:spChg>
        <pc:spChg chg="mod">
          <ac:chgData name="Bloesch, Troy" userId="d0937869-bb19-47f1-b7cb-e4344a414307" providerId="ADAL" clId="{0B9E4739-E43A-4485-B480-0870AB84DD6D}" dt="2025-12-05T22:12:14.787" v="6538" actId="20577"/>
          <ac:spMkLst>
            <pc:docMk/>
            <pc:sldMk cId="3074683643" sldId="269"/>
            <ac:spMk id="46" creationId="{8959F268-34E2-29DC-4702-7038FED4CEE3}"/>
          </ac:spMkLst>
        </pc:spChg>
        <pc:spChg chg="mod">
          <ac:chgData name="Bloesch, Troy" userId="d0937869-bb19-47f1-b7cb-e4344a414307" providerId="ADAL" clId="{0B9E4739-E43A-4485-B480-0870AB84DD6D}" dt="2025-12-05T22:12:08.746" v="6531"/>
          <ac:spMkLst>
            <pc:docMk/>
            <pc:sldMk cId="3074683643" sldId="269"/>
            <ac:spMk id="48" creationId="{B5B32743-AB49-8B39-756F-1B084F0AEC8D}"/>
          </ac:spMkLst>
        </pc:spChg>
        <pc:spChg chg="mod">
          <ac:chgData name="Bloesch, Troy" userId="d0937869-bb19-47f1-b7cb-e4344a414307" providerId="ADAL" clId="{0B9E4739-E43A-4485-B480-0870AB84DD6D}" dt="2025-12-05T22:12:08.746" v="6531"/>
          <ac:spMkLst>
            <pc:docMk/>
            <pc:sldMk cId="3074683643" sldId="269"/>
            <ac:spMk id="49" creationId="{165005E5-B8A6-7E63-FF47-13B520905CEE}"/>
          </ac:spMkLst>
        </pc:spChg>
        <pc:spChg chg="mod">
          <ac:chgData name="Bloesch, Troy" userId="d0937869-bb19-47f1-b7cb-e4344a414307" providerId="ADAL" clId="{0B9E4739-E43A-4485-B480-0870AB84DD6D}" dt="2025-12-05T22:12:08.746" v="6531"/>
          <ac:spMkLst>
            <pc:docMk/>
            <pc:sldMk cId="3074683643" sldId="269"/>
            <ac:spMk id="54" creationId="{309990A1-28CA-533D-D3D3-FD8FB015505D}"/>
          </ac:spMkLst>
        </pc:spChg>
        <pc:spChg chg="mod">
          <ac:chgData name="Bloesch, Troy" userId="d0937869-bb19-47f1-b7cb-e4344a414307" providerId="ADAL" clId="{0B9E4739-E43A-4485-B480-0870AB84DD6D}" dt="2025-12-05T22:12:08.746" v="6531"/>
          <ac:spMkLst>
            <pc:docMk/>
            <pc:sldMk cId="3074683643" sldId="269"/>
            <ac:spMk id="58" creationId="{476A1681-6999-1879-3699-C16D39373616}"/>
          </ac:spMkLst>
        </pc:spChg>
        <pc:spChg chg="mod">
          <ac:chgData name="Bloesch, Troy" userId="d0937869-bb19-47f1-b7cb-e4344a414307" providerId="ADAL" clId="{0B9E4739-E43A-4485-B480-0870AB84DD6D}" dt="2025-12-05T22:12:08.746" v="6531"/>
          <ac:spMkLst>
            <pc:docMk/>
            <pc:sldMk cId="3074683643" sldId="269"/>
            <ac:spMk id="60" creationId="{B0BABEA9-71EE-E221-FD0C-28E84E972A8B}"/>
          </ac:spMkLst>
        </pc:spChg>
        <pc:spChg chg="mod">
          <ac:chgData name="Bloesch, Troy" userId="d0937869-bb19-47f1-b7cb-e4344a414307" providerId="ADAL" clId="{0B9E4739-E43A-4485-B480-0870AB84DD6D}" dt="2025-12-05T22:12:08.746" v="6531"/>
          <ac:spMkLst>
            <pc:docMk/>
            <pc:sldMk cId="3074683643" sldId="269"/>
            <ac:spMk id="61" creationId="{DBB61AB0-D172-5378-E716-5F18B7AD10A0}"/>
          </ac:spMkLst>
        </pc:spChg>
        <pc:spChg chg="mod ord">
          <ac:chgData name="Bloesch, Troy" userId="d0937869-bb19-47f1-b7cb-e4344a414307" providerId="ADAL" clId="{0B9E4739-E43A-4485-B480-0870AB84DD6D}" dt="2025-12-05T19:58:18.227" v="2971"/>
          <ac:spMkLst>
            <pc:docMk/>
            <pc:sldMk cId="3074683643" sldId="269"/>
            <ac:spMk id="62" creationId="{5D7D7EFD-BD1E-6922-D0E1-19446A2E0865}"/>
          </ac:spMkLst>
        </pc:spChg>
        <pc:spChg chg="mod ord">
          <ac:chgData name="Bloesch, Troy" userId="d0937869-bb19-47f1-b7cb-e4344a414307" providerId="ADAL" clId="{0B9E4739-E43A-4485-B480-0870AB84DD6D}" dt="2025-12-05T19:58:18.227" v="2970"/>
          <ac:spMkLst>
            <pc:docMk/>
            <pc:sldMk cId="3074683643" sldId="269"/>
            <ac:spMk id="63" creationId="{B6687235-1847-71C6-FFB6-044646174531}"/>
          </ac:spMkLst>
        </pc:spChg>
        <pc:spChg chg="mod">
          <ac:chgData name="Bloesch, Troy" userId="d0937869-bb19-47f1-b7cb-e4344a414307" providerId="ADAL" clId="{0B9E4739-E43A-4485-B480-0870AB84DD6D}" dt="2025-12-05T22:12:08.746" v="6531"/>
          <ac:spMkLst>
            <pc:docMk/>
            <pc:sldMk cId="3074683643" sldId="269"/>
            <ac:spMk id="64" creationId="{1EA11C26-CAC9-472D-5436-1F137C062FD0}"/>
          </ac:spMkLst>
        </pc:spChg>
        <pc:spChg chg="mod ord">
          <ac:chgData name="Bloesch, Troy" userId="d0937869-bb19-47f1-b7cb-e4344a414307" providerId="ADAL" clId="{0B9E4739-E43A-4485-B480-0870AB84DD6D}" dt="2025-12-05T19:59:01.788" v="3012" actId="20577"/>
          <ac:spMkLst>
            <pc:docMk/>
            <pc:sldMk cId="3074683643" sldId="269"/>
            <ac:spMk id="65" creationId="{329866E9-0543-4483-7550-0B789D3F17BE}"/>
          </ac:spMkLst>
        </pc:spChg>
        <pc:spChg chg="mod ord">
          <ac:chgData name="Bloesch, Troy" userId="d0937869-bb19-47f1-b7cb-e4344a414307" providerId="ADAL" clId="{0B9E4739-E43A-4485-B480-0870AB84DD6D}" dt="2025-12-05T19:58:18.227" v="2968"/>
          <ac:spMkLst>
            <pc:docMk/>
            <pc:sldMk cId="3074683643" sldId="269"/>
            <ac:spMk id="66" creationId="{0A7ED01E-D893-B62D-5722-D5C85C581D5A}"/>
          </ac:spMkLst>
        </pc:spChg>
        <pc:spChg chg="mod">
          <ac:chgData name="Bloesch, Troy" userId="d0937869-bb19-47f1-b7cb-e4344a414307" providerId="ADAL" clId="{0B9E4739-E43A-4485-B480-0870AB84DD6D}" dt="2025-12-05T22:12:08.746" v="6531"/>
          <ac:spMkLst>
            <pc:docMk/>
            <pc:sldMk cId="3074683643" sldId="269"/>
            <ac:spMk id="67" creationId="{60DA3BA4-FFE5-BB0E-AB40-CD1CA21F9995}"/>
          </ac:spMkLst>
        </pc:spChg>
        <pc:spChg chg="mod ord">
          <ac:chgData name="Bloesch, Troy" userId="d0937869-bb19-47f1-b7cb-e4344a414307" providerId="ADAL" clId="{0B9E4739-E43A-4485-B480-0870AB84DD6D}" dt="2025-12-05T19:59:12.861" v="3048" actId="20577"/>
          <ac:spMkLst>
            <pc:docMk/>
            <pc:sldMk cId="3074683643" sldId="269"/>
            <ac:spMk id="68" creationId="{58191BD9-BD66-EFD2-54DF-61AE1E9704E4}"/>
          </ac:spMkLst>
        </pc:spChg>
        <pc:spChg chg="mod ord">
          <ac:chgData name="Bloesch, Troy" userId="d0937869-bb19-47f1-b7cb-e4344a414307" providerId="ADAL" clId="{0B9E4739-E43A-4485-B480-0870AB84DD6D}" dt="2025-12-05T19:58:18.227" v="2966"/>
          <ac:spMkLst>
            <pc:docMk/>
            <pc:sldMk cId="3074683643" sldId="269"/>
            <ac:spMk id="69" creationId="{108E97FC-3232-6FFE-7693-6CFB5D33ABE9}"/>
          </ac:spMkLst>
        </pc:spChg>
        <pc:spChg chg="mod ord">
          <ac:chgData name="Bloesch, Troy" userId="d0937869-bb19-47f1-b7cb-e4344a414307" providerId="ADAL" clId="{0B9E4739-E43A-4485-B480-0870AB84DD6D}" dt="2025-12-05T19:58:18.225" v="2955"/>
          <ac:spMkLst>
            <pc:docMk/>
            <pc:sldMk cId="3074683643" sldId="269"/>
            <ac:spMk id="70" creationId="{041569C2-0CD7-FCDC-EA58-859FFBCA807A}"/>
          </ac:spMkLst>
        </pc:spChg>
        <pc:spChg chg="mod ord">
          <ac:chgData name="Bloesch, Troy" userId="d0937869-bb19-47f1-b7cb-e4344a414307" providerId="ADAL" clId="{0B9E4739-E43A-4485-B480-0870AB84DD6D}" dt="2025-12-05T19:59:50.747" v="3125" actId="20577"/>
          <ac:spMkLst>
            <pc:docMk/>
            <pc:sldMk cId="3074683643" sldId="269"/>
            <ac:spMk id="71" creationId="{8D2DE16B-4D45-E512-87DA-9ACB751114F5}"/>
          </ac:spMkLst>
        </pc:spChg>
        <pc:spChg chg="mod ord">
          <ac:chgData name="Bloesch, Troy" userId="d0937869-bb19-47f1-b7cb-e4344a414307" providerId="ADAL" clId="{0B9E4739-E43A-4485-B480-0870AB84DD6D}" dt="2025-12-05T19:58:18.226" v="2964"/>
          <ac:spMkLst>
            <pc:docMk/>
            <pc:sldMk cId="3074683643" sldId="269"/>
            <ac:spMk id="72" creationId="{26D0932D-A79B-1BB3-FA32-721316489095}"/>
          </ac:spMkLst>
        </pc:spChg>
        <pc:spChg chg="mod ord">
          <ac:chgData name="Bloesch, Troy" userId="d0937869-bb19-47f1-b7cb-e4344a414307" providerId="ADAL" clId="{0B9E4739-E43A-4485-B480-0870AB84DD6D}" dt="2025-12-05T19:58:18.226" v="2960"/>
          <ac:spMkLst>
            <pc:docMk/>
            <pc:sldMk cId="3074683643" sldId="269"/>
            <ac:spMk id="93" creationId="{3E54FEC3-563B-9EAD-839C-127916A93D58}"/>
          </ac:spMkLst>
        </pc:spChg>
        <pc:spChg chg="add del mod modVis">
          <ac:chgData name="Bloesch, Troy" userId="d0937869-bb19-47f1-b7cb-e4344a414307" providerId="ADAL" clId="{0B9E4739-E43A-4485-B480-0870AB84DD6D}" dt="2025-12-05T20:00:24.600" v="3256"/>
          <ac:spMkLst>
            <pc:docMk/>
            <pc:sldMk cId="3074683643" sldId="269"/>
            <ac:spMk id="94" creationId="{3308D9BD-3B13-FE12-B939-07ABB7665F25}"/>
          </ac:spMkLst>
        </pc:spChg>
        <pc:spChg chg="add del mod modVis">
          <ac:chgData name="Bloesch, Troy" userId="d0937869-bb19-47f1-b7cb-e4344a414307" providerId="ADAL" clId="{0B9E4739-E43A-4485-B480-0870AB84DD6D}" dt="2025-12-05T20:00:25.482" v="3282"/>
          <ac:spMkLst>
            <pc:docMk/>
            <pc:sldMk cId="3074683643" sldId="269"/>
            <ac:spMk id="95" creationId="{47AC737D-2F75-3D87-60AE-4FAD045D7ED6}"/>
          </ac:spMkLst>
        </pc:spChg>
        <pc:spChg chg="mod ord">
          <ac:chgData name="Bloesch, Troy" userId="d0937869-bb19-47f1-b7cb-e4344a414307" providerId="ADAL" clId="{0B9E4739-E43A-4485-B480-0870AB84DD6D}" dt="2025-12-05T22:05:54.072" v="6307"/>
          <ac:spMkLst>
            <pc:docMk/>
            <pc:sldMk cId="3074683643" sldId="269"/>
            <ac:spMk id="96" creationId="{C36EBFE3-2FB0-FF73-94F7-2EAF24295B51}"/>
          </ac:spMkLst>
        </pc:spChg>
        <pc:spChg chg="mod ord">
          <ac:chgData name="Bloesch, Troy" userId="d0937869-bb19-47f1-b7cb-e4344a414307" providerId="ADAL" clId="{0B9E4739-E43A-4485-B480-0870AB84DD6D}" dt="2025-12-05T19:58:18.228" v="2982"/>
          <ac:spMkLst>
            <pc:docMk/>
            <pc:sldMk cId="3074683643" sldId="269"/>
            <ac:spMk id="97" creationId="{AD570FC4-A34C-9933-B74A-FE98E90EF680}"/>
          </ac:spMkLst>
        </pc:spChg>
        <pc:spChg chg="mod ord">
          <ac:chgData name="Bloesch, Troy" userId="d0937869-bb19-47f1-b7cb-e4344a414307" providerId="ADAL" clId="{0B9E4739-E43A-4485-B480-0870AB84DD6D}" dt="2025-12-05T20:01:16.431" v="3365" actId="20577"/>
          <ac:spMkLst>
            <pc:docMk/>
            <pc:sldMk cId="3074683643" sldId="269"/>
            <ac:spMk id="98" creationId="{93592B34-ECDA-0A77-CF53-09E38EA2ED6A}"/>
          </ac:spMkLst>
        </pc:spChg>
        <pc:spChg chg="mod ord">
          <ac:chgData name="Bloesch, Troy" userId="d0937869-bb19-47f1-b7cb-e4344a414307" providerId="ADAL" clId="{0B9E4739-E43A-4485-B480-0870AB84DD6D}" dt="2025-12-05T20:02:10.815" v="3457" actId="20577"/>
          <ac:spMkLst>
            <pc:docMk/>
            <pc:sldMk cId="3074683643" sldId="269"/>
            <ac:spMk id="99" creationId="{0B59EF6C-3DA1-BE47-8ACA-BE3A5599702E}"/>
          </ac:spMkLst>
        </pc:spChg>
        <pc:spChg chg="mod ord">
          <ac:chgData name="Bloesch, Troy" userId="d0937869-bb19-47f1-b7cb-e4344a414307" providerId="ADAL" clId="{0B9E4739-E43A-4485-B480-0870AB84DD6D}" dt="2025-12-05T22:10:41.966" v="6517" actId="108"/>
          <ac:spMkLst>
            <pc:docMk/>
            <pc:sldMk cId="3074683643" sldId="269"/>
            <ac:spMk id="100" creationId="{4E372F0D-7F1B-68CF-484D-5EFCA5E527B7}"/>
          </ac:spMkLst>
        </pc:spChg>
        <pc:spChg chg="mod ord">
          <ac:chgData name="Bloesch, Troy" userId="d0937869-bb19-47f1-b7cb-e4344a414307" providerId="ADAL" clId="{0B9E4739-E43A-4485-B480-0870AB84DD6D}" dt="2025-12-05T22:06:48.402" v="6384" actId="1076"/>
          <ac:spMkLst>
            <pc:docMk/>
            <pc:sldMk cId="3074683643" sldId="269"/>
            <ac:spMk id="118" creationId="{A5EB6F19-38D4-75AC-49EE-EA3AB1978E96}"/>
          </ac:spMkLst>
        </pc:spChg>
        <pc:spChg chg="mod ord">
          <ac:chgData name="Bloesch, Troy" userId="d0937869-bb19-47f1-b7cb-e4344a414307" providerId="ADAL" clId="{0B9E4739-E43A-4485-B480-0870AB84DD6D}" dt="2025-12-05T19:58:18.224" v="2947"/>
          <ac:spMkLst>
            <pc:docMk/>
            <pc:sldMk cId="3074683643" sldId="269"/>
            <ac:spMk id="119" creationId="{9D8BB9B3-DF8C-93B6-650E-0F523BA560BD}"/>
          </ac:spMkLst>
        </pc:spChg>
        <pc:spChg chg="mod ord">
          <ac:chgData name="Bloesch, Troy" userId="d0937869-bb19-47f1-b7cb-e4344a414307" providerId="ADAL" clId="{0B9E4739-E43A-4485-B480-0870AB84DD6D}" dt="2025-12-05T20:01:19.813" v="3372" actId="20577"/>
          <ac:spMkLst>
            <pc:docMk/>
            <pc:sldMk cId="3074683643" sldId="269"/>
            <ac:spMk id="120" creationId="{6ACEC017-5D0C-DEE8-1CB9-1DE63A19D243}"/>
          </ac:spMkLst>
        </pc:spChg>
        <pc:spChg chg="mod ord">
          <ac:chgData name="Bloesch, Troy" userId="d0937869-bb19-47f1-b7cb-e4344a414307" providerId="ADAL" clId="{0B9E4739-E43A-4485-B480-0870AB84DD6D}" dt="2025-12-05T19:58:18.228" v="2982"/>
          <ac:spMkLst>
            <pc:docMk/>
            <pc:sldMk cId="3074683643" sldId="269"/>
            <ac:spMk id="121" creationId="{5B09C279-38C8-3462-FB44-6EDE3F0B1DE8}"/>
          </ac:spMkLst>
        </pc:spChg>
        <pc:spChg chg="mod ord">
          <ac:chgData name="Bloesch, Troy" userId="d0937869-bb19-47f1-b7cb-e4344a414307" providerId="ADAL" clId="{0B9E4739-E43A-4485-B480-0870AB84DD6D}" dt="2025-12-05T22:14:19.076" v="6542"/>
          <ac:spMkLst>
            <pc:docMk/>
            <pc:sldMk cId="3074683643" sldId="269"/>
            <ac:spMk id="122" creationId="{F91726BA-8C6B-D4F1-86BD-652A1BC20CB5}"/>
          </ac:spMkLst>
        </pc:spChg>
        <pc:spChg chg="add del mod modVis">
          <ac:chgData name="Bloesch, Troy" userId="d0937869-bb19-47f1-b7cb-e4344a414307" providerId="ADAL" clId="{0B9E4739-E43A-4485-B480-0870AB84DD6D}" dt="2025-12-05T20:00:27.868" v="3319"/>
          <ac:spMkLst>
            <pc:docMk/>
            <pc:sldMk cId="3074683643" sldId="269"/>
            <ac:spMk id="140" creationId="{E6325789-B3E3-5E4A-D855-CE2978BA9325}"/>
          </ac:spMkLst>
        </pc:spChg>
        <pc:spChg chg="add del mod">
          <ac:chgData name="Bloesch, Troy" userId="d0937869-bb19-47f1-b7cb-e4344a414307" providerId="ADAL" clId="{0B9E4739-E43A-4485-B480-0870AB84DD6D}" dt="2025-12-05T22:06:13.835" v="6316" actId="478"/>
          <ac:spMkLst>
            <pc:docMk/>
            <pc:sldMk cId="3074683643" sldId="269"/>
            <ac:spMk id="141" creationId="{578819EC-F898-FA91-2BA8-5FCF2DABA6EA}"/>
          </ac:spMkLst>
        </pc:spChg>
        <pc:spChg chg="add">
          <ac:chgData name="Bloesch, Troy" userId="d0937869-bb19-47f1-b7cb-e4344a414307" providerId="ADAL" clId="{0B9E4739-E43A-4485-B480-0870AB84DD6D}" dt="2025-12-05T22:12:06.277" v="6529"/>
          <ac:spMkLst>
            <pc:docMk/>
            <pc:sldMk cId="3074683643" sldId="269"/>
            <ac:spMk id="143" creationId="{523F9D2F-E5B9-30D8-A52D-F9938199057E}"/>
          </ac:spMkLst>
        </pc:spChg>
        <pc:grpChg chg="mod ord">
          <ac:chgData name="Bloesch, Troy" userId="d0937869-bb19-47f1-b7cb-e4344a414307" providerId="ADAL" clId="{0B9E4739-E43A-4485-B480-0870AB84DD6D}" dt="2025-12-05T19:58:18.225" v="2957"/>
          <ac:grpSpMkLst>
            <pc:docMk/>
            <pc:sldMk cId="3074683643" sldId="269"/>
            <ac:grpSpMk id="10" creationId="{38AEAE77-7B25-AB2B-F398-FBF2A423C79C}"/>
          </ac:grpSpMkLst>
        </pc:grpChg>
        <pc:grpChg chg="mod ord">
          <ac:chgData name="Bloesch, Troy" userId="d0937869-bb19-47f1-b7cb-e4344a414307" providerId="ADAL" clId="{0B9E4739-E43A-4485-B480-0870AB84DD6D}" dt="2025-12-05T19:58:18.225" v="2956"/>
          <ac:grpSpMkLst>
            <pc:docMk/>
            <pc:sldMk cId="3074683643" sldId="269"/>
            <ac:grpSpMk id="19" creationId="{A2ABAC1F-CAC7-71C3-9A91-82DB83CB6DD5}"/>
          </ac:grpSpMkLst>
        </pc:grpChg>
        <pc:grpChg chg="mod ord">
          <ac:chgData name="Bloesch, Troy" userId="d0937869-bb19-47f1-b7cb-e4344a414307" providerId="ADAL" clId="{0B9E4739-E43A-4485-B480-0870AB84DD6D}" dt="2025-12-05T19:58:18.226" v="2963"/>
          <ac:grpSpMkLst>
            <pc:docMk/>
            <pc:sldMk cId="3074683643" sldId="269"/>
            <ac:grpSpMk id="73" creationId="{E592357F-B4AD-7B37-B6C0-630DDF6FF9EC}"/>
          </ac:grpSpMkLst>
        </pc:grpChg>
        <pc:grpChg chg="mod ord">
          <ac:chgData name="Bloesch, Troy" userId="d0937869-bb19-47f1-b7cb-e4344a414307" providerId="ADAL" clId="{0B9E4739-E43A-4485-B480-0870AB84DD6D}" dt="2025-12-05T19:58:18.226" v="2962"/>
          <ac:grpSpMkLst>
            <pc:docMk/>
            <pc:sldMk cId="3074683643" sldId="269"/>
            <ac:grpSpMk id="78" creationId="{3C8280DF-EAAB-DDCB-8B2B-A4AC82061ED9}"/>
          </ac:grpSpMkLst>
        </pc:grpChg>
        <pc:grpChg chg="mod ord">
          <ac:chgData name="Bloesch, Troy" userId="d0937869-bb19-47f1-b7cb-e4344a414307" providerId="ADAL" clId="{0B9E4739-E43A-4485-B480-0870AB84DD6D}" dt="2025-12-05T19:58:18.226" v="2961"/>
          <ac:grpSpMkLst>
            <pc:docMk/>
            <pc:sldMk cId="3074683643" sldId="269"/>
            <ac:grpSpMk id="92" creationId="{B461F074-2C89-BA38-465B-828C4689A603}"/>
          </ac:grpSpMkLst>
        </pc:grpChg>
        <pc:grpChg chg="mod ord">
          <ac:chgData name="Bloesch, Troy" userId="d0937869-bb19-47f1-b7cb-e4344a414307" providerId="ADAL" clId="{0B9E4739-E43A-4485-B480-0870AB84DD6D}" dt="2025-12-05T19:58:18.224" v="2949"/>
          <ac:grpSpMkLst>
            <pc:docMk/>
            <pc:sldMk cId="3074683643" sldId="269"/>
            <ac:grpSpMk id="101" creationId="{6C6FE32B-A3AA-10FD-D871-F4083507B6D7}"/>
          </ac:grpSpMkLst>
        </pc:grpChg>
        <pc:grpChg chg="mod ord">
          <ac:chgData name="Bloesch, Troy" userId="d0937869-bb19-47f1-b7cb-e4344a414307" providerId="ADAL" clId="{0B9E4739-E43A-4485-B480-0870AB84DD6D}" dt="2025-12-05T19:58:18.226" v="2959"/>
          <ac:grpSpMkLst>
            <pc:docMk/>
            <pc:sldMk cId="3074683643" sldId="269"/>
            <ac:grpSpMk id="123" creationId="{236F99E2-658C-562B-794E-74D56C9BCD92}"/>
          </ac:grpSpMkLst>
        </pc:grpChg>
        <pc:grpChg chg="mod ord">
          <ac:chgData name="Bloesch, Troy" userId="d0937869-bb19-47f1-b7cb-e4344a414307" providerId="ADAL" clId="{0B9E4739-E43A-4485-B480-0870AB84DD6D}" dt="2025-12-05T19:58:18.223" v="2943"/>
          <ac:grpSpMkLst>
            <pc:docMk/>
            <pc:sldMk cId="3074683643" sldId="269"/>
            <ac:grpSpMk id="126" creationId="{DD53579E-94C5-4026-8F21-7401FFCCE69E}"/>
          </ac:grpSpMkLst>
        </pc:grpChg>
        <pc:graphicFrameChg chg="add mod ord modVis">
          <ac:chgData name="Bloesch, Troy" userId="d0937869-bb19-47f1-b7cb-e4344a414307" providerId="ADAL" clId="{0B9E4739-E43A-4485-B480-0870AB84DD6D}" dt="2025-12-05T20:00:27.870" v="3321"/>
          <ac:graphicFrameMkLst>
            <pc:docMk/>
            <pc:sldMk cId="3074683643" sldId="269"/>
            <ac:graphicFrameMk id="18" creationId="{FAA129C2-82E2-1BBE-5856-8C60EB242778}"/>
          </ac:graphicFrameMkLst>
        </pc:graphicFrameChg>
        <pc:picChg chg="mod ord">
          <ac:chgData name="Bloesch, Troy" userId="d0937869-bb19-47f1-b7cb-e4344a414307" providerId="ADAL" clId="{0B9E4739-E43A-4485-B480-0870AB84DD6D}" dt="2025-12-05T21:16:53.699" v="5339" actId="1076"/>
          <ac:picMkLst>
            <pc:docMk/>
            <pc:sldMk cId="3074683643" sldId="269"/>
            <ac:picMk id="9" creationId="{3DE2FA52-AC86-D4B2-1F98-E4C38A7AE374}"/>
          </ac:picMkLst>
        </pc:picChg>
      </pc:sldChg>
      <pc:sldChg chg="del ord">
        <pc:chgData name="Bloesch, Troy" userId="d0937869-bb19-47f1-b7cb-e4344a414307" providerId="ADAL" clId="{0B9E4739-E43A-4485-B480-0870AB84DD6D}" dt="2025-12-05T19:11:49.819" v="620" actId="47"/>
        <pc:sldMkLst>
          <pc:docMk/>
          <pc:sldMk cId="4222896422" sldId="269"/>
        </pc:sldMkLst>
      </pc:sldChg>
      <pc:sldChg chg="addSp delSp modSp add del mod">
        <pc:chgData name="Bloesch, Troy" userId="d0937869-bb19-47f1-b7cb-e4344a414307" providerId="ADAL" clId="{0B9E4739-E43A-4485-B480-0870AB84DD6D}" dt="2025-12-05T19:52:45.264" v="2048" actId="47"/>
        <pc:sldMkLst>
          <pc:docMk/>
          <pc:sldMk cId="3912102047" sldId="272"/>
        </pc:sldMkLst>
        <pc:spChg chg="add del mod modVis">
          <ac:chgData name="Bloesch, Troy" userId="d0937869-bb19-47f1-b7cb-e4344a414307" providerId="ADAL" clId="{0B9E4739-E43A-4485-B480-0870AB84DD6D}" dt="2025-12-05T19:40:27.055" v="1463"/>
          <ac:spMkLst>
            <pc:docMk/>
            <pc:sldMk cId="3912102047" sldId="272"/>
            <ac:spMk id="6" creationId="{97796397-731A-7EB9-90BB-5E3823883B4B}"/>
          </ac:spMkLst>
        </pc:spChg>
        <pc:spChg chg="mod ord">
          <ac:chgData name="Bloesch, Troy" userId="d0937869-bb19-47f1-b7cb-e4344a414307" providerId="ADAL" clId="{0B9E4739-E43A-4485-B480-0870AB84DD6D}" dt="2025-12-05T19:43:34.539" v="1634"/>
          <ac:spMkLst>
            <pc:docMk/>
            <pc:sldMk cId="3912102047" sldId="272"/>
            <ac:spMk id="11" creationId="{F512E783-B7D9-CA88-10E6-6F47040F0381}"/>
          </ac:spMkLst>
        </pc:spChg>
        <pc:spChg chg="add mod">
          <ac:chgData name="Bloesch, Troy" userId="d0937869-bb19-47f1-b7cb-e4344a414307" providerId="ADAL" clId="{0B9E4739-E43A-4485-B480-0870AB84DD6D}" dt="2025-12-05T19:44:38.845" v="1711" actId="1076"/>
          <ac:spMkLst>
            <pc:docMk/>
            <pc:sldMk cId="3912102047" sldId="272"/>
            <ac:spMk id="12" creationId="{D9349BC8-4B29-A4C6-445A-52B2352A1E7A}"/>
          </ac:spMkLst>
        </pc:spChg>
        <pc:spChg chg="mod">
          <ac:chgData name="Bloesch, Troy" userId="d0937869-bb19-47f1-b7cb-e4344a414307" providerId="ADAL" clId="{0B9E4739-E43A-4485-B480-0870AB84DD6D}" dt="2025-12-05T19:44:11.878" v="1701"/>
          <ac:spMkLst>
            <pc:docMk/>
            <pc:sldMk cId="3912102047" sldId="272"/>
            <ac:spMk id="18" creationId="{FC77EA54-50AD-3B71-9ED4-52060865AD61}"/>
          </ac:spMkLst>
        </pc:spChg>
        <pc:spChg chg="mod">
          <ac:chgData name="Bloesch, Troy" userId="d0937869-bb19-47f1-b7cb-e4344a414307" providerId="ADAL" clId="{0B9E4739-E43A-4485-B480-0870AB84DD6D}" dt="2025-12-05T19:44:41.250" v="1713" actId="1076"/>
          <ac:spMkLst>
            <pc:docMk/>
            <pc:sldMk cId="3912102047" sldId="272"/>
            <ac:spMk id="23" creationId="{86FE6FEE-D7FB-FF61-55F6-68A194BBA541}"/>
          </ac:spMkLst>
        </pc:spChg>
        <pc:spChg chg="mod ord">
          <ac:chgData name="Bloesch, Troy" userId="d0937869-bb19-47f1-b7cb-e4344a414307" providerId="ADAL" clId="{0B9E4739-E43A-4485-B480-0870AB84DD6D}" dt="2025-12-05T19:43:34.536" v="1630"/>
          <ac:spMkLst>
            <pc:docMk/>
            <pc:sldMk cId="3912102047" sldId="272"/>
            <ac:spMk id="24" creationId="{EE8A1AFD-3D1E-C716-2933-18EEC54BCDEA}"/>
          </ac:spMkLst>
        </pc:spChg>
        <pc:spChg chg="mod">
          <ac:chgData name="Bloesch, Troy" userId="d0937869-bb19-47f1-b7cb-e4344a414307" providerId="ADAL" clId="{0B9E4739-E43A-4485-B480-0870AB84DD6D}" dt="2025-12-05T19:44:11.878" v="1701"/>
          <ac:spMkLst>
            <pc:docMk/>
            <pc:sldMk cId="3912102047" sldId="272"/>
            <ac:spMk id="25" creationId="{7622B1B0-D432-746A-0E79-AC9DF8179DA9}"/>
          </ac:spMkLst>
        </pc:spChg>
        <pc:spChg chg="mod ord">
          <ac:chgData name="Bloesch, Troy" userId="d0937869-bb19-47f1-b7cb-e4344a414307" providerId="ADAL" clId="{0B9E4739-E43A-4485-B480-0870AB84DD6D}" dt="2025-12-05T19:45:06.245" v="1718" actId="1076"/>
          <ac:spMkLst>
            <pc:docMk/>
            <pc:sldMk cId="3912102047" sldId="272"/>
            <ac:spMk id="28" creationId="{E3FBC6F5-453A-7C57-19BC-F4BBE43BD1B3}"/>
          </ac:spMkLst>
        </pc:spChg>
        <pc:spChg chg="mod">
          <ac:chgData name="Bloesch, Troy" userId="d0937869-bb19-47f1-b7cb-e4344a414307" providerId="ADAL" clId="{0B9E4739-E43A-4485-B480-0870AB84DD6D}" dt="2025-12-05T19:51:48.942" v="2040" actId="207"/>
          <ac:spMkLst>
            <pc:docMk/>
            <pc:sldMk cId="3912102047" sldId="272"/>
            <ac:spMk id="29" creationId="{F7A6AC9B-0218-78CD-1FCF-008E893095C6}"/>
          </ac:spMkLst>
        </pc:spChg>
        <pc:spChg chg="mod">
          <ac:chgData name="Bloesch, Troy" userId="d0937869-bb19-47f1-b7cb-e4344a414307" providerId="ADAL" clId="{0B9E4739-E43A-4485-B480-0870AB84DD6D}" dt="2025-12-05T19:47:03.006" v="1815" actId="20577"/>
          <ac:spMkLst>
            <pc:docMk/>
            <pc:sldMk cId="3912102047" sldId="272"/>
            <ac:spMk id="30" creationId="{8A2FE6D5-7388-2F7A-2930-04B759B63F06}"/>
          </ac:spMkLst>
        </pc:spChg>
        <pc:spChg chg="add mod">
          <ac:chgData name="Bloesch, Troy" userId="d0937869-bb19-47f1-b7cb-e4344a414307" providerId="ADAL" clId="{0B9E4739-E43A-4485-B480-0870AB84DD6D}" dt="2025-12-05T19:46:35.889" v="1770" actId="1076"/>
          <ac:spMkLst>
            <pc:docMk/>
            <pc:sldMk cId="3912102047" sldId="272"/>
            <ac:spMk id="31" creationId="{B72E0CCC-1A6D-AF9C-22C3-D171CDB1E4AF}"/>
          </ac:spMkLst>
        </pc:spChg>
        <pc:spChg chg="del">
          <ac:chgData name="Bloesch, Troy" userId="d0937869-bb19-47f1-b7cb-e4344a414307" providerId="ADAL" clId="{0B9E4739-E43A-4485-B480-0870AB84DD6D}" dt="2025-12-05T19:42:53.948" v="1599" actId="478"/>
          <ac:spMkLst>
            <pc:docMk/>
            <pc:sldMk cId="3912102047" sldId="272"/>
            <ac:spMk id="32" creationId="{566E9D9A-678F-47FD-1601-83997D59F79D}"/>
          </ac:spMkLst>
        </pc:spChg>
        <pc:spChg chg="mod ord">
          <ac:chgData name="Bloesch, Troy" userId="d0937869-bb19-47f1-b7cb-e4344a414307" providerId="ADAL" clId="{0B9E4739-E43A-4485-B480-0870AB84DD6D}" dt="2025-12-05T19:44:17.921" v="1703" actId="14100"/>
          <ac:spMkLst>
            <pc:docMk/>
            <pc:sldMk cId="3912102047" sldId="272"/>
            <ac:spMk id="33" creationId="{9FD2F5B1-286C-CF64-68A2-90B54D120367}"/>
          </ac:spMkLst>
        </pc:spChg>
        <pc:spChg chg="del mod ord">
          <ac:chgData name="Bloesch, Troy" userId="d0937869-bb19-47f1-b7cb-e4344a414307" providerId="ADAL" clId="{0B9E4739-E43A-4485-B480-0870AB84DD6D}" dt="2025-12-05T19:44:04.991" v="1699" actId="478"/>
          <ac:spMkLst>
            <pc:docMk/>
            <pc:sldMk cId="3912102047" sldId="272"/>
            <ac:spMk id="34" creationId="{A851AB90-C309-C339-945E-C4BCD9019315}"/>
          </ac:spMkLst>
        </pc:spChg>
        <pc:spChg chg="add mod">
          <ac:chgData name="Bloesch, Troy" userId="d0937869-bb19-47f1-b7cb-e4344a414307" providerId="ADAL" clId="{0B9E4739-E43A-4485-B480-0870AB84DD6D}" dt="2025-12-05T19:49:23.298" v="1954" actId="20577"/>
          <ac:spMkLst>
            <pc:docMk/>
            <pc:sldMk cId="3912102047" sldId="272"/>
            <ac:spMk id="35" creationId="{59069846-A6A9-DE2D-4E06-5BC0B997C669}"/>
          </ac:spMkLst>
        </pc:spChg>
        <pc:spChg chg="mod">
          <ac:chgData name="Bloesch, Troy" userId="d0937869-bb19-47f1-b7cb-e4344a414307" providerId="ADAL" clId="{0B9E4739-E43A-4485-B480-0870AB84DD6D}" dt="2025-12-05T19:44:04.192" v="1698" actId="6549"/>
          <ac:spMkLst>
            <pc:docMk/>
            <pc:sldMk cId="3912102047" sldId="272"/>
            <ac:spMk id="38" creationId="{6EE37F0A-A1F4-60B6-E56B-084E09E063CE}"/>
          </ac:spMkLst>
        </pc:spChg>
        <pc:spChg chg="mod ord">
          <ac:chgData name="Bloesch, Troy" userId="d0937869-bb19-47f1-b7cb-e4344a414307" providerId="ADAL" clId="{0B9E4739-E43A-4485-B480-0870AB84DD6D}" dt="2025-12-05T19:52:02.932" v="2041" actId="207"/>
          <ac:spMkLst>
            <pc:docMk/>
            <pc:sldMk cId="3912102047" sldId="272"/>
            <ac:spMk id="39" creationId="{EBA9C300-F84E-4A3F-CB2C-D781FC95D1B7}"/>
          </ac:spMkLst>
        </pc:spChg>
        <pc:spChg chg="mod ord">
          <ac:chgData name="Bloesch, Troy" userId="d0937869-bb19-47f1-b7cb-e4344a414307" providerId="ADAL" clId="{0B9E4739-E43A-4485-B480-0870AB84DD6D}" dt="2025-12-05T19:52:07.889" v="2043" actId="207"/>
          <ac:spMkLst>
            <pc:docMk/>
            <pc:sldMk cId="3912102047" sldId="272"/>
            <ac:spMk id="40" creationId="{09469181-0326-5651-9428-8133DB36E845}"/>
          </ac:spMkLst>
        </pc:spChg>
        <pc:spChg chg="mod ord">
          <ac:chgData name="Bloesch, Troy" userId="d0937869-bb19-47f1-b7cb-e4344a414307" providerId="ADAL" clId="{0B9E4739-E43A-4485-B480-0870AB84DD6D}" dt="2025-12-05T19:49:38.803" v="1993" actId="20577"/>
          <ac:spMkLst>
            <pc:docMk/>
            <pc:sldMk cId="3912102047" sldId="272"/>
            <ac:spMk id="41" creationId="{0BE6E80D-5134-DCA8-F261-CD805DB65B14}"/>
          </ac:spMkLst>
        </pc:spChg>
        <pc:spChg chg="mod">
          <ac:chgData name="Bloesch, Troy" userId="d0937869-bb19-47f1-b7cb-e4344a414307" providerId="ADAL" clId="{0B9E4739-E43A-4485-B480-0870AB84DD6D}" dt="2025-12-05T19:45:29.138" v="1756" actId="14100"/>
          <ac:spMkLst>
            <pc:docMk/>
            <pc:sldMk cId="3912102047" sldId="272"/>
            <ac:spMk id="43" creationId="{6F878898-FADE-43BF-B00B-607C99668C30}"/>
          </ac:spMkLst>
        </pc:spChg>
        <pc:spChg chg="mod">
          <ac:chgData name="Bloesch, Troy" userId="d0937869-bb19-47f1-b7cb-e4344a414307" providerId="ADAL" clId="{0B9E4739-E43A-4485-B480-0870AB84DD6D}" dt="2025-12-05T19:47:00.940" v="1812" actId="20577"/>
          <ac:spMkLst>
            <pc:docMk/>
            <pc:sldMk cId="3912102047" sldId="272"/>
            <ac:spMk id="46" creationId="{2F19AE05-51B7-82EF-D656-8FA454255FFA}"/>
          </ac:spMkLst>
        </pc:spChg>
        <pc:spChg chg="mod ord">
          <ac:chgData name="Bloesch, Troy" userId="d0937869-bb19-47f1-b7cb-e4344a414307" providerId="ADAL" clId="{0B9E4739-E43A-4485-B480-0870AB84DD6D}" dt="2025-12-05T19:43:53.294" v="1694" actId="14100"/>
          <ac:spMkLst>
            <pc:docMk/>
            <pc:sldMk cId="3912102047" sldId="272"/>
            <ac:spMk id="51" creationId="{E265BA3B-5545-2633-5667-95BE88F65BE6}"/>
          </ac:spMkLst>
        </pc:spChg>
        <pc:spChg chg="mod ord">
          <ac:chgData name="Bloesch, Troy" userId="d0937869-bb19-47f1-b7cb-e4344a414307" providerId="ADAL" clId="{0B9E4739-E43A-4485-B480-0870AB84DD6D}" dt="2025-12-05T19:52:05.601" v="2042" actId="207"/>
          <ac:spMkLst>
            <pc:docMk/>
            <pc:sldMk cId="3912102047" sldId="272"/>
            <ac:spMk id="52" creationId="{ED3A5E3B-5733-AD78-282A-568BD86143AA}"/>
          </ac:spMkLst>
        </pc:spChg>
        <pc:spChg chg="mod ord">
          <ac:chgData name="Bloesch, Troy" userId="d0937869-bb19-47f1-b7cb-e4344a414307" providerId="ADAL" clId="{0B9E4739-E43A-4485-B480-0870AB84DD6D}" dt="2025-12-05T19:49:30.841" v="1974" actId="20577"/>
          <ac:spMkLst>
            <pc:docMk/>
            <pc:sldMk cId="3912102047" sldId="272"/>
            <ac:spMk id="53" creationId="{8DA8E854-F390-4A29-0F5A-2A947B8D1904}"/>
          </ac:spMkLst>
        </pc:spChg>
        <pc:spChg chg="del mod ord">
          <ac:chgData name="Bloesch, Troy" userId="d0937869-bb19-47f1-b7cb-e4344a414307" providerId="ADAL" clId="{0B9E4739-E43A-4485-B480-0870AB84DD6D}" dt="2025-12-05T19:46:11.566" v="1764" actId="478"/>
          <ac:spMkLst>
            <pc:docMk/>
            <pc:sldMk cId="3912102047" sldId="272"/>
            <ac:spMk id="54" creationId="{5E76065B-48B3-508D-0ED8-99E708D333DC}"/>
          </ac:spMkLst>
        </pc:spChg>
        <pc:spChg chg="mod">
          <ac:chgData name="Bloesch, Troy" userId="d0937869-bb19-47f1-b7cb-e4344a414307" providerId="ADAL" clId="{0B9E4739-E43A-4485-B480-0870AB84DD6D}" dt="2025-12-05T19:42:12.002" v="1539" actId="20577"/>
          <ac:spMkLst>
            <pc:docMk/>
            <pc:sldMk cId="3912102047" sldId="272"/>
            <ac:spMk id="55" creationId="{B47E36ED-7456-F289-DF31-FD19B71C1A8B}"/>
          </ac:spMkLst>
        </pc:spChg>
        <pc:spChg chg="mod">
          <ac:chgData name="Bloesch, Troy" userId="d0937869-bb19-47f1-b7cb-e4344a414307" providerId="ADAL" clId="{0B9E4739-E43A-4485-B480-0870AB84DD6D}" dt="2025-12-05T19:46:59.034" v="1809" actId="20577"/>
          <ac:spMkLst>
            <pc:docMk/>
            <pc:sldMk cId="3912102047" sldId="272"/>
            <ac:spMk id="56" creationId="{C0AEA437-A438-30E4-878A-592E93579201}"/>
          </ac:spMkLst>
        </pc:spChg>
        <pc:spChg chg="mod ord">
          <ac:chgData name="Bloesch, Troy" userId="d0937869-bb19-47f1-b7cb-e4344a414307" providerId="ADAL" clId="{0B9E4739-E43A-4485-B480-0870AB84DD6D}" dt="2025-12-05T19:49:49.846" v="2016" actId="313"/>
          <ac:spMkLst>
            <pc:docMk/>
            <pc:sldMk cId="3912102047" sldId="272"/>
            <ac:spMk id="59" creationId="{B700BFD0-4A5C-DC63-B6B1-FD4A85A6615B}"/>
          </ac:spMkLst>
        </pc:spChg>
        <pc:spChg chg="mod ord">
          <ac:chgData name="Bloesch, Troy" userId="d0937869-bb19-47f1-b7cb-e4344a414307" providerId="ADAL" clId="{0B9E4739-E43A-4485-B480-0870AB84DD6D}" dt="2025-12-05T19:46:55.528" v="1806" actId="20577"/>
          <ac:spMkLst>
            <pc:docMk/>
            <pc:sldMk cId="3912102047" sldId="272"/>
            <ac:spMk id="66" creationId="{245535F5-6DE3-A83C-9650-1906003A175D}"/>
          </ac:spMkLst>
        </pc:spChg>
        <pc:spChg chg="mod">
          <ac:chgData name="Bloesch, Troy" userId="d0937869-bb19-47f1-b7cb-e4344a414307" providerId="ADAL" clId="{0B9E4739-E43A-4485-B480-0870AB84DD6D}" dt="2025-12-05T19:47:16.197" v="1816"/>
          <ac:spMkLst>
            <pc:docMk/>
            <pc:sldMk cId="3912102047" sldId="272"/>
            <ac:spMk id="74" creationId="{C146F276-4919-22BA-E573-3811B56E54A7}"/>
          </ac:spMkLst>
        </pc:spChg>
        <pc:spChg chg="mod">
          <ac:chgData name="Bloesch, Troy" userId="d0937869-bb19-47f1-b7cb-e4344a414307" providerId="ADAL" clId="{0B9E4739-E43A-4485-B480-0870AB84DD6D}" dt="2025-12-05T19:47:16.197" v="1816"/>
          <ac:spMkLst>
            <pc:docMk/>
            <pc:sldMk cId="3912102047" sldId="272"/>
            <ac:spMk id="80" creationId="{1EF06BB8-4E51-B8A0-0206-AEC0B00CDE9F}"/>
          </ac:spMkLst>
        </pc:spChg>
        <pc:spChg chg="mod">
          <ac:chgData name="Bloesch, Troy" userId="d0937869-bb19-47f1-b7cb-e4344a414307" providerId="ADAL" clId="{0B9E4739-E43A-4485-B480-0870AB84DD6D}" dt="2025-12-05T19:47:16.197" v="1816"/>
          <ac:spMkLst>
            <pc:docMk/>
            <pc:sldMk cId="3912102047" sldId="272"/>
            <ac:spMk id="89" creationId="{02CF6DBA-F99D-4BA7-0BAB-B166032A0DBA}"/>
          </ac:spMkLst>
        </pc:spChg>
        <pc:spChg chg="mod">
          <ac:chgData name="Bloesch, Troy" userId="d0937869-bb19-47f1-b7cb-e4344a414307" providerId="ADAL" clId="{0B9E4739-E43A-4485-B480-0870AB84DD6D}" dt="2025-12-05T19:47:16.197" v="1816"/>
          <ac:spMkLst>
            <pc:docMk/>
            <pc:sldMk cId="3912102047" sldId="272"/>
            <ac:spMk id="94" creationId="{918BAA2A-0E2A-20FA-7108-A9CC4B844FB2}"/>
          </ac:spMkLst>
        </pc:spChg>
        <pc:spChg chg="mod">
          <ac:chgData name="Bloesch, Troy" userId="d0937869-bb19-47f1-b7cb-e4344a414307" providerId="ADAL" clId="{0B9E4739-E43A-4485-B480-0870AB84DD6D}" dt="2025-12-05T19:47:16.197" v="1816"/>
          <ac:spMkLst>
            <pc:docMk/>
            <pc:sldMk cId="3912102047" sldId="272"/>
            <ac:spMk id="95" creationId="{2AD4B3FD-FD46-E334-F2EC-53DD95DFA379}"/>
          </ac:spMkLst>
        </pc:spChg>
        <pc:spChg chg="mod">
          <ac:chgData name="Bloesch, Troy" userId="d0937869-bb19-47f1-b7cb-e4344a414307" providerId="ADAL" clId="{0B9E4739-E43A-4485-B480-0870AB84DD6D}" dt="2025-12-05T19:47:16.197" v="1816"/>
          <ac:spMkLst>
            <pc:docMk/>
            <pc:sldMk cId="3912102047" sldId="272"/>
            <ac:spMk id="97" creationId="{83C8713B-C169-5060-D646-9782AA148A53}"/>
          </ac:spMkLst>
        </pc:spChg>
        <pc:spChg chg="mod">
          <ac:chgData name="Bloesch, Troy" userId="d0937869-bb19-47f1-b7cb-e4344a414307" providerId="ADAL" clId="{0B9E4739-E43A-4485-B480-0870AB84DD6D}" dt="2025-12-05T19:47:16.197" v="1816"/>
          <ac:spMkLst>
            <pc:docMk/>
            <pc:sldMk cId="3912102047" sldId="272"/>
            <ac:spMk id="98" creationId="{2597D694-B1DA-C5DE-35CC-E9460B34A425}"/>
          </ac:spMkLst>
        </pc:spChg>
        <pc:spChg chg="mod">
          <ac:chgData name="Bloesch, Troy" userId="d0937869-bb19-47f1-b7cb-e4344a414307" providerId="ADAL" clId="{0B9E4739-E43A-4485-B480-0870AB84DD6D}" dt="2025-12-05T19:47:16.197" v="1816"/>
          <ac:spMkLst>
            <pc:docMk/>
            <pc:sldMk cId="3912102047" sldId="272"/>
            <ac:spMk id="105" creationId="{ACF366B1-E8DF-2ABC-CBC5-2EA601904904}"/>
          </ac:spMkLst>
        </pc:spChg>
        <pc:spChg chg="add mod">
          <ac:chgData name="Bloesch, Troy" userId="d0937869-bb19-47f1-b7cb-e4344a414307" providerId="ADAL" clId="{0B9E4739-E43A-4485-B480-0870AB84DD6D}" dt="2025-12-05T19:47:16.197" v="1816"/>
          <ac:spMkLst>
            <pc:docMk/>
            <pc:sldMk cId="3912102047" sldId="272"/>
            <ac:spMk id="106" creationId="{93678A24-6DB0-FEE0-9D5C-9BD4BE5EB15A}"/>
          </ac:spMkLst>
        </pc:spChg>
        <pc:spChg chg="mod ord">
          <ac:chgData name="Bloesch, Troy" userId="d0937869-bb19-47f1-b7cb-e4344a414307" providerId="ADAL" clId="{0B9E4739-E43A-4485-B480-0870AB84DD6D}" dt="2025-12-05T19:43:34.538" v="1632"/>
          <ac:spMkLst>
            <pc:docMk/>
            <pc:sldMk cId="3912102047" sldId="272"/>
            <ac:spMk id="108" creationId="{44CC1970-E6D6-3ECB-D661-84E05836499C}"/>
          </ac:spMkLst>
        </pc:spChg>
        <pc:spChg chg="mod ord">
          <ac:chgData name="Bloesch, Troy" userId="d0937869-bb19-47f1-b7cb-e4344a414307" providerId="ADAL" clId="{0B9E4739-E43A-4485-B480-0870AB84DD6D}" dt="2025-12-05T19:43:34.535" v="1628"/>
          <ac:spMkLst>
            <pc:docMk/>
            <pc:sldMk cId="3912102047" sldId="272"/>
            <ac:spMk id="109" creationId="{C69EF1D4-C0D3-4DEB-D364-082AD2F46D51}"/>
          </ac:spMkLst>
        </pc:spChg>
        <pc:spChg chg="mod ord">
          <ac:chgData name="Bloesch, Troy" userId="d0937869-bb19-47f1-b7cb-e4344a414307" providerId="ADAL" clId="{0B9E4739-E43A-4485-B480-0870AB84DD6D}" dt="2025-12-05T19:46:18.983" v="1767" actId="14100"/>
          <ac:spMkLst>
            <pc:docMk/>
            <pc:sldMk cId="3912102047" sldId="272"/>
            <ac:spMk id="110" creationId="{9CF6969E-09F1-F032-6551-CAB120E1AE50}"/>
          </ac:spMkLst>
        </pc:spChg>
        <pc:spChg chg="mod ord">
          <ac:chgData name="Bloesch, Troy" userId="d0937869-bb19-47f1-b7cb-e4344a414307" providerId="ADAL" clId="{0B9E4739-E43A-4485-B480-0870AB84DD6D}" dt="2025-12-05T19:50:01.259" v="2019" actId="14100"/>
          <ac:spMkLst>
            <pc:docMk/>
            <pc:sldMk cId="3912102047" sldId="272"/>
            <ac:spMk id="111" creationId="{B5757115-B15E-9C6C-2C29-D79164472491}"/>
          </ac:spMkLst>
        </pc:spChg>
        <pc:spChg chg="mod ord">
          <ac:chgData name="Bloesch, Troy" userId="d0937869-bb19-47f1-b7cb-e4344a414307" providerId="ADAL" clId="{0B9E4739-E43A-4485-B480-0870AB84DD6D}" dt="2025-12-05T19:46:35.889" v="1770" actId="1076"/>
          <ac:spMkLst>
            <pc:docMk/>
            <pc:sldMk cId="3912102047" sldId="272"/>
            <ac:spMk id="112" creationId="{8FCEF568-6A84-0FC5-B98F-550C7390EA1F}"/>
          </ac:spMkLst>
        </pc:spChg>
        <pc:spChg chg="mod ord">
          <ac:chgData name="Bloesch, Troy" userId="d0937869-bb19-47f1-b7cb-e4344a414307" providerId="ADAL" clId="{0B9E4739-E43A-4485-B480-0870AB84DD6D}" dt="2025-12-05T19:50:01.259" v="2019" actId="14100"/>
          <ac:spMkLst>
            <pc:docMk/>
            <pc:sldMk cId="3912102047" sldId="272"/>
            <ac:spMk id="113" creationId="{41AD7026-5BE7-6657-FFA0-B390EA6D15B5}"/>
          </ac:spMkLst>
        </pc:spChg>
        <pc:spChg chg="mod ord">
          <ac:chgData name="Bloesch, Troy" userId="d0937869-bb19-47f1-b7cb-e4344a414307" providerId="ADAL" clId="{0B9E4739-E43A-4485-B480-0870AB84DD6D}" dt="2025-12-05T19:50:01.259" v="2019" actId="14100"/>
          <ac:spMkLst>
            <pc:docMk/>
            <pc:sldMk cId="3912102047" sldId="272"/>
            <ac:spMk id="114" creationId="{B40F9F8D-CD1E-F6D1-BF4D-9830AF865FDE}"/>
          </ac:spMkLst>
        </pc:spChg>
        <pc:spChg chg="del mod ord">
          <ac:chgData name="Bloesch, Troy" userId="d0937869-bb19-47f1-b7cb-e4344a414307" providerId="ADAL" clId="{0B9E4739-E43A-4485-B480-0870AB84DD6D}" dt="2025-12-05T19:46:08.806" v="1762" actId="478"/>
          <ac:spMkLst>
            <pc:docMk/>
            <pc:sldMk cId="3912102047" sldId="272"/>
            <ac:spMk id="115" creationId="{73FC1CA1-A571-E1C9-7C66-A7FEB7AC060B}"/>
          </ac:spMkLst>
        </pc:spChg>
        <pc:spChg chg="mod ord">
          <ac:chgData name="Bloesch, Troy" userId="d0937869-bb19-47f1-b7cb-e4344a414307" providerId="ADAL" clId="{0B9E4739-E43A-4485-B480-0870AB84DD6D}" dt="2025-12-05T19:46:35.889" v="1770" actId="1076"/>
          <ac:spMkLst>
            <pc:docMk/>
            <pc:sldMk cId="3912102047" sldId="272"/>
            <ac:spMk id="116" creationId="{EE6A6838-AF75-9DE2-D690-A31D1C326EE4}"/>
          </ac:spMkLst>
        </pc:spChg>
        <pc:spChg chg="mod ord">
          <ac:chgData name="Bloesch, Troy" userId="d0937869-bb19-47f1-b7cb-e4344a414307" providerId="ADAL" clId="{0B9E4739-E43A-4485-B480-0870AB84DD6D}" dt="2025-12-05T19:46:35.889" v="1770" actId="1076"/>
          <ac:spMkLst>
            <pc:docMk/>
            <pc:sldMk cId="3912102047" sldId="272"/>
            <ac:spMk id="117" creationId="{325CAFF2-957C-D1F4-1CA1-01BC41BF9AFA}"/>
          </ac:spMkLst>
        </pc:spChg>
        <pc:spChg chg="mod ord">
          <ac:chgData name="Bloesch, Troy" userId="d0937869-bb19-47f1-b7cb-e4344a414307" providerId="ADAL" clId="{0B9E4739-E43A-4485-B480-0870AB84DD6D}" dt="2025-12-05T19:50:01.259" v="2019" actId="14100"/>
          <ac:spMkLst>
            <pc:docMk/>
            <pc:sldMk cId="3912102047" sldId="272"/>
            <ac:spMk id="121" creationId="{C9FC6654-6258-8017-FF61-BB8BFE07882C}"/>
          </ac:spMkLst>
        </pc:spChg>
        <pc:spChg chg="add mod">
          <ac:chgData name="Bloesch, Troy" userId="d0937869-bb19-47f1-b7cb-e4344a414307" providerId="ADAL" clId="{0B9E4739-E43A-4485-B480-0870AB84DD6D}" dt="2025-12-05T19:47:16.197" v="1816"/>
          <ac:spMkLst>
            <pc:docMk/>
            <pc:sldMk cId="3912102047" sldId="272"/>
            <ac:spMk id="122" creationId="{EFE9BBF9-09EC-0A34-786E-24F636A79660}"/>
          </ac:spMkLst>
        </pc:spChg>
        <pc:grpChg chg="del">
          <ac:chgData name="Bloesch, Troy" userId="d0937869-bb19-47f1-b7cb-e4344a414307" providerId="ADAL" clId="{0B9E4739-E43A-4485-B480-0870AB84DD6D}" dt="2025-12-05T19:42:55.560" v="1600" actId="478"/>
          <ac:grpSpMkLst>
            <pc:docMk/>
            <pc:sldMk cId="3912102047" sldId="272"/>
            <ac:grpSpMk id="2" creationId="{B5D3BD97-8CA8-2D04-F89D-F7189DF04C36}"/>
          </ac:grpSpMkLst>
        </pc:grpChg>
        <pc:grpChg chg="del mod ord">
          <ac:chgData name="Bloesch, Troy" userId="d0937869-bb19-47f1-b7cb-e4344a414307" providerId="ADAL" clId="{0B9E4739-E43A-4485-B480-0870AB84DD6D}" dt="2025-12-05T19:44:06.297" v="1700" actId="478"/>
          <ac:grpSpMkLst>
            <pc:docMk/>
            <pc:sldMk cId="3912102047" sldId="272"/>
            <ac:grpSpMk id="3" creationId="{628FC233-DE7E-01E4-0421-D76E36DF9559}"/>
          </ac:grpSpMkLst>
        </pc:grpChg>
        <pc:grpChg chg="mod ord">
          <ac:chgData name="Bloesch, Troy" userId="d0937869-bb19-47f1-b7cb-e4344a414307" providerId="ADAL" clId="{0B9E4739-E43A-4485-B480-0870AB84DD6D}" dt="2025-12-05T19:45:31.935" v="1758" actId="1076"/>
          <ac:grpSpMkLst>
            <pc:docMk/>
            <pc:sldMk cId="3912102047" sldId="272"/>
            <ac:grpSpMk id="4" creationId="{2454781E-9698-6022-390D-8ED340740BCD}"/>
          </ac:grpSpMkLst>
        </pc:grpChg>
        <pc:grpChg chg="del">
          <ac:chgData name="Bloesch, Troy" userId="d0937869-bb19-47f1-b7cb-e4344a414307" providerId="ADAL" clId="{0B9E4739-E43A-4485-B480-0870AB84DD6D}" dt="2025-12-05T19:42:57.490" v="1601" actId="478"/>
          <ac:grpSpMkLst>
            <pc:docMk/>
            <pc:sldMk cId="3912102047" sldId="272"/>
            <ac:grpSpMk id="5" creationId="{F4318940-DA90-5C8B-65E8-144771FF534B}"/>
          </ac:grpSpMkLst>
        </pc:grpChg>
        <pc:grpChg chg="mod ord">
          <ac:chgData name="Bloesch, Troy" userId="d0937869-bb19-47f1-b7cb-e4344a414307" providerId="ADAL" clId="{0B9E4739-E43A-4485-B480-0870AB84DD6D}" dt="2025-12-05T19:43:34.546" v="1648"/>
          <ac:grpSpMkLst>
            <pc:docMk/>
            <pc:sldMk cId="3912102047" sldId="272"/>
            <ac:grpSpMk id="7" creationId="{A936087E-E98C-2B58-BDF1-E80890AE166B}"/>
          </ac:grpSpMkLst>
        </pc:grpChg>
        <pc:grpChg chg="mod ord">
          <ac:chgData name="Bloesch, Troy" userId="d0937869-bb19-47f1-b7cb-e4344a414307" providerId="ADAL" clId="{0B9E4739-E43A-4485-B480-0870AB84DD6D}" dt="2025-12-05T19:45:12.345" v="1719" actId="1076"/>
          <ac:grpSpMkLst>
            <pc:docMk/>
            <pc:sldMk cId="3912102047" sldId="272"/>
            <ac:grpSpMk id="13" creationId="{7FB4A83E-2E1D-4378-E660-66EBF40EEE42}"/>
          </ac:grpSpMkLst>
        </pc:grpChg>
        <pc:grpChg chg="add mod">
          <ac:chgData name="Bloesch, Troy" userId="d0937869-bb19-47f1-b7cb-e4344a414307" providerId="ADAL" clId="{0B9E4739-E43A-4485-B480-0870AB84DD6D}" dt="2025-12-05T19:45:15.801" v="1720" actId="1076"/>
          <ac:grpSpMkLst>
            <pc:docMk/>
            <pc:sldMk cId="3912102047" sldId="272"/>
            <ac:grpSpMk id="16" creationId="{42ED3959-E2E0-90BB-28F3-73C32CC1886A}"/>
          </ac:grpSpMkLst>
        </pc:grpChg>
        <pc:grpChg chg="del mod ord">
          <ac:chgData name="Bloesch, Troy" userId="d0937869-bb19-47f1-b7cb-e4344a414307" providerId="ADAL" clId="{0B9E4739-E43A-4485-B480-0870AB84DD6D}" dt="2025-12-05T19:43:36.156" v="1687" actId="478"/>
          <ac:grpSpMkLst>
            <pc:docMk/>
            <pc:sldMk cId="3912102047" sldId="272"/>
            <ac:grpSpMk id="19" creationId="{C1AC37B6-4089-4ECC-7FC9-2DD9ECF0D870}"/>
          </ac:grpSpMkLst>
        </pc:grpChg>
        <pc:grpChg chg="add del mod">
          <ac:chgData name="Bloesch, Troy" userId="d0937869-bb19-47f1-b7cb-e4344a414307" providerId="ADAL" clId="{0B9E4739-E43A-4485-B480-0870AB84DD6D}" dt="2025-12-05T19:44:43.258" v="1714" actId="478"/>
          <ac:grpSpMkLst>
            <pc:docMk/>
            <pc:sldMk cId="3912102047" sldId="272"/>
            <ac:grpSpMk id="22" creationId="{176392CF-80AB-876C-648F-C1F4FB271805}"/>
          </ac:grpSpMkLst>
        </pc:grpChg>
        <pc:grpChg chg="add mod">
          <ac:chgData name="Bloesch, Troy" userId="d0937869-bb19-47f1-b7cb-e4344a414307" providerId="ADAL" clId="{0B9E4739-E43A-4485-B480-0870AB84DD6D}" dt="2025-12-05T19:44:52.514" v="1716" actId="1076"/>
          <ac:grpSpMkLst>
            <pc:docMk/>
            <pc:sldMk cId="3912102047" sldId="272"/>
            <ac:grpSpMk id="26" creationId="{044FC226-39B7-62A3-FC6D-45D30D782A13}"/>
          </ac:grpSpMkLst>
        </pc:grpChg>
        <pc:graphicFrameChg chg="add mod ord modVis">
          <ac:chgData name="Bloesch, Troy" userId="d0937869-bb19-47f1-b7cb-e4344a414307" providerId="ADAL" clId="{0B9E4739-E43A-4485-B480-0870AB84DD6D}" dt="2025-12-05T19:43:34.567" v="1686"/>
          <ac:graphicFrameMkLst>
            <pc:docMk/>
            <pc:sldMk cId="3912102047" sldId="272"/>
            <ac:graphicFrameMk id="10" creationId="{B85459B4-007E-2959-EE0B-4FBC40FB24BB}"/>
          </ac:graphicFrameMkLst>
        </pc:graphicFrameChg>
        <pc:graphicFrameChg chg="mod">
          <ac:chgData name="Bloesch, Troy" userId="d0937869-bb19-47f1-b7cb-e4344a414307" providerId="ADAL" clId="{0B9E4739-E43A-4485-B480-0870AB84DD6D}" dt="2025-12-05T19:44:31.003" v="1707"/>
          <ac:graphicFrameMkLst>
            <pc:docMk/>
            <pc:sldMk cId="3912102047" sldId="272"/>
            <ac:graphicFrameMk id="17" creationId="{482228E3-F7FE-D841-C0BF-3EF793348011}"/>
          </ac:graphicFrameMkLst>
        </pc:graphicFrameChg>
        <pc:graphicFrameChg chg="mod ord">
          <ac:chgData name="Bloesch, Troy" userId="d0937869-bb19-47f1-b7cb-e4344a414307" providerId="ADAL" clId="{0B9E4739-E43A-4485-B480-0870AB84DD6D}" dt="2025-12-05T19:45:06.245" v="1718" actId="1076"/>
          <ac:graphicFrameMkLst>
            <pc:docMk/>
            <pc:sldMk cId="3912102047" sldId="272"/>
            <ac:graphicFrameMk id="27" creationId="{9D7CB1CB-EC23-2BFA-8788-444946BC0319}"/>
          </ac:graphicFrameMkLst>
        </pc:graphicFrameChg>
        <pc:picChg chg="del mod ord">
          <ac:chgData name="Bloesch, Troy" userId="d0937869-bb19-47f1-b7cb-e4344a414307" providerId="ADAL" clId="{0B9E4739-E43A-4485-B480-0870AB84DD6D}" dt="2025-12-05T19:46:12.573" v="1766" actId="478"/>
          <ac:picMkLst>
            <pc:docMk/>
            <pc:sldMk cId="3912102047" sldId="272"/>
            <ac:picMk id="57" creationId="{623FD98A-4821-E600-5404-5C96AE12B3E9}"/>
          </ac:picMkLst>
        </pc:picChg>
        <pc:picChg chg="mod ord">
          <ac:chgData name="Bloesch, Troy" userId="d0937869-bb19-47f1-b7cb-e4344a414307" providerId="ADAL" clId="{0B9E4739-E43A-4485-B480-0870AB84DD6D}" dt="2025-12-05T19:46:35.889" v="1770" actId="1076"/>
          <ac:picMkLst>
            <pc:docMk/>
            <pc:sldMk cId="3912102047" sldId="272"/>
            <ac:picMk id="60" creationId="{B328EE04-999B-F5DE-2878-3C237D122528}"/>
          </ac:picMkLst>
        </pc:picChg>
        <pc:picChg chg="mod ord">
          <ac:chgData name="Bloesch, Troy" userId="d0937869-bb19-47f1-b7cb-e4344a414307" providerId="ADAL" clId="{0B9E4739-E43A-4485-B480-0870AB84DD6D}" dt="2025-12-05T19:50:08.240" v="2020" actId="1076"/>
          <ac:picMkLst>
            <pc:docMk/>
            <pc:sldMk cId="3912102047" sldId="272"/>
            <ac:picMk id="61" creationId="{56D031F6-6BC9-ED43-7547-7733E1844F48}"/>
          </ac:picMkLst>
        </pc:picChg>
        <pc:picChg chg="mod ord">
          <ac:chgData name="Bloesch, Troy" userId="d0937869-bb19-47f1-b7cb-e4344a414307" providerId="ADAL" clId="{0B9E4739-E43A-4485-B480-0870AB84DD6D}" dt="2025-12-05T19:50:01.259" v="2019" actId="14100"/>
          <ac:picMkLst>
            <pc:docMk/>
            <pc:sldMk cId="3912102047" sldId="272"/>
            <ac:picMk id="62" creationId="{131FF5A7-38C5-B46D-6337-FE7BBEC0EB4D}"/>
          </ac:picMkLst>
        </pc:picChg>
        <pc:picChg chg="mod ord">
          <ac:chgData name="Bloesch, Troy" userId="d0937869-bb19-47f1-b7cb-e4344a414307" providerId="ADAL" clId="{0B9E4739-E43A-4485-B480-0870AB84DD6D}" dt="2025-12-05T19:46:35.889" v="1770" actId="1076"/>
          <ac:picMkLst>
            <pc:docMk/>
            <pc:sldMk cId="3912102047" sldId="272"/>
            <ac:picMk id="63" creationId="{12281BBE-9CED-F2DC-0AE4-388F66FF8363}"/>
          </ac:picMkLst>
        </pc:picChg>
        <pc:picChg chg="mod ord">
          <ac:chgData name="Bloesch, Troy" userId="d0937869-bb19-47f1-b7cb-e4344a414307" providerId="ADAL" clId="{0B9E4739-E43A-4485-B480-0870AB84DD6D}" dt="2025-12-05T19:46:35.889" v="1770" actId="1076"/>
          <ac:picMkLst>
            <pc:docMk/>
            <pc:sldMk cId="3912102047" sldId="272"/>
            <ac:picMk id="64" creationId="{213B4330-6A06-85EF-D22A-2A7787B58FA1}"/>
          </ac:picMkLst>
        </pc:picChg>
        <pc:picChg chg="mod ord">
          <ac:chgData name="Bloesch, Troy" userId="d0937869-bb19-47f1-b7cb-e4344a414307" providerId="ADAL" clId="{0B9E4739-E43A-4485-B480-0870AB84DD6D}" dt="2025-12-05T19:50:01.259" v="2019" actId="14100"/>
          <ac:picMkLst>
            <pc:docMk/>
            <pc:sldMk cId="3912102047" sldId="272"/>
            <ac:picMk id="65" creationId="{0533ABDD-3C4A-2EE5-997B-42CD46683666}"/>
          </ac:picMkLst>
        </pc:picChg>
      </pc:sldChg>
      <pc:sldChg chg="add del">
        <pc:chgData name="Bloesch, Troy" userId="d0937869-bb19-47f1-b7cb-e4344a414307" providerId="ADAL" clId="{0B9E4739-E43A-4485-B480-0870AB84DD6D}" dt="2025-12-05T19:20:33.100" v="886" actId="47"/>
        <pc:sldMkLst>
          <pc:docMk/>
          <pc:sldMk cId="2646448513" sldId="276"/>
        </pc:sldMkLst>
      </pc:sldChg>
      <pc:sldChg chg="del">
        <pc:chgData name="Bloesch, Troy" userId="d0937869-bb19-47f1-b7cb-e4344a414307" providerId="ADAL" clId="{0B9E4739-E43A-4485-B480-0870AB84DD6D}" dt="2025-12-05T19:05:24.669" v="486" actId="2696"/>
        <pc:sldMkLst>
          <pc:docMk/>
          <pc:sldMk cId="3892908697" sldId="276"/>
        </pc:sldMkLst>
      </pc:sldChg>
      <pc:sldChg chg="add del ord">
        <pc:chgData name="Bloesch, Troy" userId="d0937869-bb19-47f1-b7cb-e4344a414307" providerId="ADAL" clId="{0B9E4739-E43A-4485-B480-0870AB84DD6D}" dt="2025-12-05T21:03:59.578" v="4978" actId="47"/>
        <pc:sldMkLst>
          <pc:docMk/>
          <pc:sldMk cId="1914685290" sldId="279"/>
        </pc:sldMkLst>
      </pc:sldChg>
      <pc:sldChg chg="add del">
        <pc:chgData name="Bloesch, Troy" userId="d0937869-bb19-47f1-b7cb-e4344a414307" providerId="ADAL" clId="{0B9E4739-E43A-4485-B480-0870AB84DD6D}" dt="2025-12-05T19:20:41.080" v="902" actId="47"/>
        <pc:sldMkLst>
          <pc:docMk/>
          <pc:sldMk cId="2039375922" sldId="279"/>
        </pc:sldMkLst>
      </pc:sldChg>
      <pc:sldChg chg="del">
        <pc:chgData name="Bloesch, Troy" userId="d0937869-bb19-47f1-b7cb-e4344a414307" providerId="ADAL" clId="{0B9E4739-E43A-4485-B480-0870AB84DD6D}" dt="2025-12-05T19:05:24.669" v="486" actId="2696"/>
        <pc:sldMkLst>
          <pc:docMk/>
          <pc:sldMk cId="2041049611" sldId="279"/>
        </pc:sldMkLst>
      </pc:sldChg>
      <pc:sldChg chg="add del">
        <pc:chgData name="Bloesch, Troy" userId="d0937869-bb19-47f1-b7cb-e4344a414307" providerId="ADAL" clId="{0B9E4739-E43A-4485-B480-0870AB84DD6D}" dt="2025-12-05T19:20:37.446" v="899" actId="47"/>
        <pc:sldMkLst>
          <pc:docMk/>
          <pc:sldMk cId="1432460366" sldId="284"/>
        </pc:sldMkLst>
      </pc:sldChg>
      <pc:sldChg chg="del">
        <pc:chgData name="Bloesch, Troy" userId="d0937869-bb19-47f1-b7cb-e4344a414307" providerId="ADAL" clId="{0B9E4739-E43A-4485-B480-0870AB84DD6D}" dt="2025-12-05T19:05:24.669" v="486" actId="2696"/>
        <pc:sldMkLst>
          <pc:docMk/>
          <pc:sldMk cId="4140627074" sldId="284"/>
        </pc:sldMkLst>
      </pc:sldChg>
      <pc:sldChg chg="addSp delSp modSp mod ord modClrScheme chgLayout">
        <pc:chgData name="Bloesch, Troy" userId="d0937869-bb19-47f1-b7cb-e4344a414307" providerId="ADAL" clId="{0B9E4739-E43A-4485-B480-0870AB84DD6D}" dt="2025-12-05T22:23:56.211" v="6585" actId="1037"/>
        <pc:sldMkLst>
          <pc:docMk/>
          <pc:sldMk cId="257949166" sldId="290"/>
        </pc:sldMkLst>
        <pc:spChg chg="mod ord">
          <ac:chgData name="Bloesch, Troy" userId="d0937869-bb19-47f1-b7cb-e4344a414307" providerId="ADAL" clId="{0B9E4739-E43A-4485-B480-0870AB84DD6D}" dt="2025-12-05T21:46:08.969" v="6021"/>
          <ac:spMkLst>
            <pc:docMk/>
            <pc:sldMk cId="257949166" sldId="290"/>
            <ac:spMk id="3" creationId="{56CC6476-2377-307E-03A5-E6AEB379A627}"/>
          </ac:spMkLst>
        </pc:spChg>
        <pc:spChg chg="mod ord">
          <ac:chgData name="Bloesch, Troy" userId="d0937869-bb19-47f1-b7cb-e4344a414307" providerId="ADAL" clId="{0B9E4739-E43A-4485-B480-0870AB84DD6D}" dt="2025-12-05T21:48:12.537" v="6117" actId="1076"/>
          <ac:spMkLst>
            <pc:docMk/>
            <pc:sldMk cId="257949166" sldId="290"/>
            <ac:spMk id="6" creationId="{F15C7546-1138-8D8A-1A87-D5140B5F9E82}"/>
          </ac:spMkLst>
        </pc:spChg>
        <pc:spChg chg="add mod ord">
          <ac:chgData name="Bloesch, Troy" userId="d0937869-bb19-47f1-b7cb-e4344a414307" providerId="ADAL" clId="{0B9E4739-E43A-4485-B480-0870AB84DD6D}" dt="2025-12-05T21:52:14.028" v="6170" actId="108"/>
          <ac:spMkLst>
            <pc:docMk/>
            <pc:sldMk cId="257949166" sldId="290"/>
            <ac:spMk id="7" creationId="{F9083B19-BECC-56AC-D0AE-8B2BDBE98073}"/>
          </ac:spMkLst>
        </pc:spChg>
        <pc:spChg chg="add del mod modVis">
          <ac:chgData name="Bloesch, Troy" userId="d0937869-bb19-47f1-b7cb-e4344a414307" providerId="ADAL" clId="{0B9E4739-E43A-4485-B480-0870AB84DD6D}" dt="2025-12-05T21:36:56.606" v="5865"/>
          <ac:spMkLst>
            <pc:docMk/>
            <pc:sldMk cId="257949166" sldId="290"/>
            <ac:spMk id="8" creationId="{2C146190-AA0E-CFCC-672C-11EEE2F4CD5D}"/>
          </ac:spMkLst>
        </pc:spChg>
        <pc:spChg chg="mod ord">
          <ac:chgData name="Bloesch, Troy" userId="d0937869-bb19-47f1-b7cb-e4344a414307" providerId="ADAL" clId="{0B9E4739-E43A-4485-B480-0870AB84DD6D}" dt="2025-12-05T21:46:08.975" v="6025"/>
          <ac:spMkLst>
            <pc:docMk/>
            <pc:sldMk cId="257949166" sldId="290"/>
            <ac:spMk id="9" creationId="{F6C80C89-DEB3-05BB-0F50-511D1527C742}"/>
          </ac:spMkLst>
        </pc:spChg>
        <pc:spChg chg="mod ord">
          <ac:chgData name="Bloesch, Troy" userId="d0937869-bb19-47f1-b7cb-e4344a414307" providerId="ADAL" clId="{0B9E4739-E43A-4485-B480-0870AB84DD6D}" dt="2025-12-05T21:46:08.977" v="6027"/>
          <ac:spMkLst>
            <pc:docMk/>
            <pc:sldMk cId="257949166" sldId="290"/>
            <ac:spMk id="13" creationId="{430822A1-9B9D-2498-386B-3E1DE1F560BD}"/>
          </ac:spMkLst>
        </pc:spChg>
        <pc:spChg chg="del mod">
          <ac:chgData name="Bloesch, Troy" userId="d0937869-bb19-47f1-b7cb-e4344a414307" providerId="ADAL" clId="{0B9E4739-E43A-4485-B480-0870AB84DD6D}" dt="2025-12-05T21:44:11.014" v="5907" actId="478"/>
          <ac:spMkLst>
            <pc:docMk/>
            <pc:sldMk cId="257949166" sldId="290"/>
            <ac:spMk id="14" creationId="{8737189B-DB5B-10C9-2E33-42770A134773}"/>
          </ac:spMkLst>
        </pc:spChg>
        <pc:spChg chg="mod ord">
          <ac:chgData name="Bloesch, Troy" userId="d0937869-bb19-47f1-b7cb-e4344a414307" providerId="ADAL" clId="{0B9E4739-E43A-4485-B480-0870AB84DD6D}" dt="2025-12-05T21:46:08.980" v="6029"/>
          <ac:spMkLst>
            <pc:docMk/>
            <pc:sldMk cId="257949166" sldId="290"/>
            <ac:spMk id="17" creationId="{E0020848-78B5-A818-19D4-928A5B8B6B16}"/>
          </ac:spMkLst>
        </pc:spChg>
        <pc:spChg chg="mod ord">
          <ac:chgData name="Bloesch, Troy" userId="d0937869-bb19-47f1-b7cb-e4344a414307" providerId="ADAL" clId="{0B9E4739-E43A-4485-B480-0870AB84DD6D}" dt="2025-12-05T22:23:56.211" v="6585" actId="1037"/>
          <ac:spMkLst>
            <pc:docMk/>
            <pc:sldMk cId="257949166" sldId="290"/>
            <ac:spMk id="23" creationId="{D0CE1439-7289-A28A-7A66-0A9BA2D98593}"/>
          </ac:spMkLst>
        </pc:spChg>
        <pc:spChg chg="add mod ord">
          <ac:chgData name="Bloesch, Troy" userId="d0937869-bb19-47f1-b7cb-e4344a414307" providerId="ADAL" clId="{0B9E4739-E43A-4485-B480-0870AB84DD6D}" dt="2025-12-05T22:15:32.507" v="6554" actId="1036"/>
          <ac:spMkLst>
            <pc:docMk/>
            <pc:sldMk cId="257949166" sldId="290"/>
            <ac:spMk id="25" creationId="{3B43884D-1494-94A0-DC99-0A635DFC7DE9}"/>
          </ac:spMkLst>
        </pc:spChg>
        <pc:spChg chg="mod ord">
          <ac:chgData name="Bloesch, Troy" userId="d0937869-bb19-47f1-b7cb-e4344a414307" providerId="ADAL" clId="{0B9E4739-E43A-4485-B480-0870AB84DD6D}" dt="2025-12-05T21:46:08.985" v="6033"/>
          <ac:spMkLst>
            <pc:docMk/>
            <pc:sldMk cId="257949166" sldId="290"/>
            <ac:spMk id="26" creationId="{1826C823-D0E3-4A48-3DF5-C2D849FFF19A}"/>
          </ac:spMkLst>
        </pc:spChg>
        <pc:spChg chg="add del mod modVis">
          <ac:chgData name="Bloesch, Troy" userId="d0937869-bb19-47f1-b7cb-e4344a414307" providerId="ADAL" clId="{0B9E4739-E43A-4485-B480-0870AB84DD6D}" dt="2025-12-05T21:45:59.771" v="6012"/>
          <ac:spMkLst>
            <pc:docMk/>
            <pc:sldMk cId="257949166" sldId="290"/>
            <ac:spMk id="27" creationId="{7F597526-685A-1B33-C7A6-72DA4310342C}"/>
          </ac:spMkLst>
        </pc:spChg>
        <pc:spChg chg="add del mod">
          <ac:chgData name="Bloesch, Troy" userId="d0937869-bb19-47f1-b7cb-e4344a414307" providerId="ADAL" clId="{0B9E4739-E43A-4485-B480-0870AB84DD6D}" dt="2025-12-05T21:48:18.974" v="6118" actId="478"/>
          <ac:spMkLst>
            <pc:docMk/>
            <pc:sldMk cId="257949166" sldId="290"/>
            <ac:spMk id="28" creationId="{7B144AC2-3E76-494A-940A-351BC710899C}"/>
          </ac:spMkLst>
        </pc:spChg>
        <pc:spChg chg="mod ord">
          <ac:chgData name="Bloesch, Troy" userId="d0937869-bb19-47f1-b7cb-e4344a414307" providerId="ADAL" clId="{0B9E4739-E43A-4485-B480-0870AB84DD6D}" dt="2025-12-05T21:46:08.986" v="6035"/>
          <ac:spMkLst>
            <pc:docMk/>
            <pc:sldMk cId="257949166" sldId="290"/>
            <ac:spMk id="29" creationId="{A5632402-BBCF-4B56-E4CE-B93B160A11C0}"/>
          </ac:spMkLst>
        </pc:spChg>
        <pc:spChg chg="add del mod">
          <ac:chgData name="Bloesch, Troy" userId="d0937869-bb19-47f1-b7cb-e4344a414307" providerId="ADAL" clId="{0B9E4739-E43A-4485-B480-0870AB84DD6D}" dt="2025-12-05T21:48:18.974" v="6118" actId="478"/>
          <ac:spMkLst>
            <pc:docMk/>
            <pc:sldMk cId="257949166" sldId="290"/>
            <ac:spMk id="31" creationId="{A8F3D180-FB5D-F9DC-A29F-42981DF75CCF}"/>
          </ac:spMkLst>
        </pc:spChg>
        <pc:spChg chg="mod ord">
          <ac:chgData name="Bloesch, Troy" userId="d0937869-bb19-47f1-b7cb-e4344a414307" providerId="ADAL" clId="{0B9E4739-E43A-4485-B480-0870AB84DD6D}" dt="2025-12-05T21:46:08.987" v="6037"/>
          <ac:spMkLst>
            <pc:docMk/>
            <pc:sldMk cId="257949166" sldId="290"/>
            <ac:spMk id="32" creationId="{62EE6AB7-D12F-75D5-B193-BD28746869E8}"/>
          </ac:spMkLst>
        </pc:spChg>
        <pc:spChg chg="mod ord">
          <ac:chgData name="Bloesch, Troy" userId="d0937869-bb19-47f1-b7cb-e4344a414307" providerId="ADAL" clId="{0B9E4739-E43A-4485-B480-0870AB84DD6D}" dt="2025-12-05T22:23:56.211" v="6585" actId="1037"/>
          <ac:spMkLst>
            <pc:docMk/>
            <pc:sldMk cId="257949166" sldId="290"/>
            <ac:spMk id="34" creationId="{5A038242-7C5C-ECB0-7B32-8EC0D1B66C58}"/>
          </ac:spMkLst>
        </pc:spChg>
        <pc:spChg chg="mod ord">
          <ac:chgData name="Bloesch, Troy" userId="d0937869-bb19-47f1-b7cb-e4344a414307" providerId="ADAL" clId="{0B9E4739-E43A-4485-B480-0870AB84DD6D}" dt="2025-12-05T22:14:55.974" v="6543" actId="2711"/>
          <ac:spMkLst>
            <pc:docMk/>
            <pc:sldMk cId="257949166" sldId="290"/>
            <ac:spMk id="35" creationId="{E174CBD3-24BA-A625-12BE-5C63CFE7DCB1}"/>
          </ac:spMkLst>
        </pc:spChg>
        <pc:spChg chg="mod ord">
          <ac:chgData name="Bloesch, Troy" userId="d0937869-bb19-47f1-b7cb-e4344a414307" providerId="ADAL" clId="{0B9E4739-E43A-4485-B480-0870AB84DD6D}" dt="2025-12-05T22:14:55.974" v="6543" actId="2711"/>
          <ac:spMkLst>
            <pc:docMk/>
            <pc:sldMk cId="257949166" sldId="290"/>
            <ac:spMk id="36" creationId="{E49B960F-FF00-D42F-D167-7B5F71F8CBFC}"/>
          </ac:spMkLst>
        </pc:spChg>
        <pc:spChg chg="mod ord">
          <ac:chgData name="Bloesch, Troy" userId="d0937869-bb19-47f1-b7cb-e4344a414307" providerId="ADAL" clId="{0B9E4739-E43A-4485-B480-0870AB84DD6D}" dt="2025-12-05T22:14:55.974" v="6543" actId="2711"/>
          <ac:spMkLst>
            <pc:docMk/>
            <pc:sldMk cId="257949166" sldId="290"/>
            <ac:spMk id="37" creationId="{BDE73C50-9703-2455-EBA8-8FF7BEFC540F}"/>
          </ac:spMkLst>
        </pc:spChg>
        <pc:spChg chg="add del mod">
          <ac:chgData name="Bloesch, Troy" userId="d0937869-bb19-47f1-b7cb-e4344a414307" providerId="ADAL" clId="{0B9E4739-E43A-4485-B480-0870AB84DD6D}" dt="2025-12-05T21:48:18.974" v="6118" actId="478"/>
          <ac:spMkLst>
            <pc:docMk/>
            <pc:sldMk cId="257949166" sldId="290"/>
            <ac:spMk id="38" creationId="{73784C50-6CE8-BC2F-7460-52B146AABEE4}"/>
          </ac:spMkLst>
        </pc:spChg>
        <pc:spChg chg="add del mod">
          <ac:chgData name="Bloesch, Troy" userId="d0937869-bb19-47f1-b7cb-e4344a414307" providerId="ADAL" clId="{0B9E4739-E43A-4485-B480-0870AB84DD6D}" dt="2025-12-05T21:48:21.330" v="6119" actId="478"/>
          <ac:spMkLst>
            <pc:docMk/>
            <pc:sldMk cId="257949166" sldId="290"/>
            <ac:spMk id="40" creationId="{00AF8ED7-8AC4-29FC-844A-E4A99C60FB29}"/>
          </ac:spMkLst>
        </pc:spChg>
        <pc:spChg chg="mod ord">
          <ac:chgData name="Bloesch, Troy" userId="d0937869-bb19-47f1-b7cb-e4344a414307" providerId="ADAL" clId="{0B9E4739-E43A-4485-B480-0870AB84DD6D}" dt="2025-12-05T22:15:04.018" v="6544" actId="2711"/>
          <ac:spMkLst>
            <pc:docMk/>
            <pc:sldMk cId="257949166" sldId="290"/>
            <ac:spMk id="41" creationId="{47758AC9-8ABC-E942-903D-A484823A1629}"/>
          </ac:spMkLst>
        </pc:spChg>
        <pc:spChg chg="mod ord">
          <ac:chgData name="Bloesch, Troy" userId="d0937869-bb19-47f1-b7cb-e4344a414307" providerId="ADAL" clId="{0B9E4739-E43A-4485-B480-0870AB84DD6D}" dt="2025-12-05T22:15:09.421" v="6545" actId="14100"/>
          <ac:spMkLst>
            <pc:docMk/>
            <pc:sldMk cId="257949166" sldId="290"/>
            <ac:spMk id="42" creationId="{98E7601F-FBE0-AEDC-61B8-2C91A4268238}"/>
          </ac:spMkLst>
        </pc:spChg>
        <pc:spChg chg="mod ord">
          <ac:chgData name="Bloesch, Troy" userId="d0937869-bb19-47f1-b7cb-e4344a414307" providerId="ADAL" clId="{0B9E4739-E43A-4485-B480-0870AB84DD6D}" dt="2025-12-05T22:15:04.018" v="6544" actId="2711"/>
          <ac:spMkLst>
            <pc:docMk/>
            <pc:sldMk cId="257949166" sldId="290"/>
            <ac:spMk id="43" creationId="{F393410F-E2BC-5BB0-1CA8-F78E08851466}"/>
          </ac:spMkLst>
        </pc:spChg>
        <pc:spChg chg="add del mod">
          <ac:chgData name="Bloesch, Troy" userId="d0937869-bb19-47f1-b7cb-e4344a414307" providerId="ADAL" clId="{0B9E4739-E43A-4485-B480-0870AB84DD6D}" dt="2025-12-05T21:48:21.330" v="6119" actId="478"/>
          <ac:spMkLst>
            <pc:docMk/>
            <pc:sldMk cId="257949166" sldId="290"/>
            <ac:spMk id="45" creationId="{BE9E54EC-A29C-6445-77F8-D8D1EEF82656}"/>
          </ac:spMkLst>
        </pc:spChg>
        <pc:spChg chg="mod ord">
          <ac:chgData name="Bloesch, Troy" userId="d0937869-bb19-47f1-b7cb-e4344a414307" providerId="ADAL" clId="{0B9E4739-E43A-4485-B480-0870AB84DD6D}" dt="2025-12-05T22:23:56.211" v="6585" actId="1037"/>
          <ac:spMkLst>
            <pc:docMk/>
            <pc:sldMk cId="257949166" sldId="290"/>
            <ac:spMk id="47" creationId="{A56613EE-C927-856F-8AB7-F34F3BB3BE10}"/>
          </ac:spMkLst>
        </pc:spChg>
        <pc:spChg chg="add del mod">
          <ac:chgData name="Bloesch, Troy" userId="d0937869-bb19-47f1-b7cb-e4344a414307" providerId="ADAL" clId="{0B9E4739-E43A-4485-B480-0870AB84DD6D}" dt="2025-12-05T21:48:21.330" v="6119" actId="478"/>
          <ac:spMkLst>
            <pc:docMk/>
            <pc:sldMk cId="257949166" sldId="290"/>
            <ac:spMk id="48" creationId="{0331262F-A424-465F-5CF1-B5874B3D4F09}"/>
          </ac:spMkLst>
        </pc:spChg>
        <pc:spChg chg="mod ord">
          <ac:chgData name="Bloesch, Troy" userId="d0937869-bb19-47f1-b7cb-e4344a414307" providerId="ADAL" clId="{0B9E4739-E43A-4485-B480-0870AB84DD6D}" dt="2025-12-05T22:15:13.568" v="6546" actId="404"/>
          <ac:spMkLst>
            <pc:docMk/>
            <pc:sldMk cId="257949166" sldId="290"/>
            <ac:spMk id="49" creationId="{5A0797E4-DAE9-60A4-D7E4-95D9DFE4C7E2}"/>
          </ac:spMkLst>
        </pc:spChg>
        <pc:spChg chg="mod ord">
          <ac:chgData name="Bloesch, Troy" userId="d0937869-bb19-47f1-b7cb-e4344a414307" providerId="ADAL" clId="{0B9E4739-E43A-4485-B480-0870AB84DD6D}" dt="2025-12-05T22:15:13.568" v="6546" actId="404"/>
          <ac:spMkLst>
            <pc:docMk/>
            <pc:sldMk cId="257949166" sldId="290"/>
            <ac:spMk id="50" creationId="{A83FC953-1656-D9A8-28A3-884E9531BDAA}"/>
          </ac:spMkLst>
        </pc:spChg>
        <pc:spChg chg="mod ord">
          <ac:chgData name="Bloesch, Troy" userId="d0937869-bb19-47f1-b7cb-e4344a414307" providerId="ADAL" clId="{0B9E4739-E43A-4485-B480-0870AB84DD6D}" dt="2025-12-05T22:23:56.211" v="6585" actId="1037"/>
          <ac:spMkLst>
            <pc:docMk/>
            <pc:sldMk cId="257949166" sldId="290"/>
            <ac:spMk id="51" creationId="{5DCEE4C6-7E64-5040-295B-E1CF1414AFD0}"/>
          </ac:spMkLst>
        </pc:spChg>
        <pc:spChg chg="add del mod">
          <ac:chgData name="Bloesch, Troy" userId="d0937869-bb19-47f1-b7cb-e4344a414307" providerId="ADAL" clId="{0B9E4739-E43A-4485-B480-0870AB84DD6D}" dt="2025-12-05T21:48:58.724" v="6129" actId="478"/>
          <ac:spMkLst>
            <pc:docMk/>
            <pc:sldMk cId="257949166" sldId="290"/>
            <ac:spMk id="53" creationId="{4FD9FBAA-CA77-64AA-5874-6618E8DAD984}"/>
          </ac:spMkLst>
        </pc:spChg>
        <pc:spChg chg="mod ord">
          <ac:chgData name="Bloesch, Troy" userId="d0937869-bb19-47f1-b7cb-e4344a414307" providerId="ADAL" clId="{0B9E4739-E43A-4485-B480-0870AB84DD6D}" dt="2025-12-05T22:23:44.237" v="6580" actId="1076"/>
          <ac:spMkLst>
            <pc:docMk/>
            <pc:sldMk cId="257949166" sldId="290"/>
            <ac:spMk id="55" creationId="{464A3164-A36D-434C-B92C-0C3C760F5FEF}"/>
          </ac:spMkLst>
        </pc:spChg>
        <pc:spChg chg="add mod">
          <ac:chgData name="Bloesch, Troy" userId="d0937869-bb19-47f1-b7cb-e4344a414307" providerId="ADAL" clId="{0B9E4739-E43A-4485-B480-0870AB84DD6D}" dt="2025-12-05T22:15:32.507" v="6554" actId="1036"/>
          <ac:spMkLst>
            <pc:docMk/>
            <pc:sldMk cId="257949166" sldId="290"/>
            <ac:spMk id="56" creationId="{0E0E77DC-1CAC-4A12-A536-06FA5AC25C57}"/>
          </ac:spMkLst>
        </pc:spChg>
        <pc:spChg chg="add mod">
          <ac:chgData name="Bloesch, Troy" userId="d0937869-bb19-47f1-b7cb-e4344a414307" providerId="ADAL" clId="{0B9E4739-E43A-4485-B480-0870AB84DD6D}" dt="2025-12-05T22:15:32.507" v="6554" actId="1036"/>
          <ac:spMkLst>
            <pc:docMk/>
            <pc:sldMk cId="257949166" sldId="290"/>
            <ac:spMk id="58" creationId="{7E57A82F-8309-1C18-1A43-0CB92BEEE866}"/>
          </ac:spMkLst>
        </pc:spChg>
        <pc:spChg chg="add mod">
          <ac:chgData name="Bloesch, Troy" userId="d0937869-bb19-47f1-b7cb-e4344a414307" providerId="ADAL" clId="{0B9E4739-E43A-4485-B480-0870AB84DD6D}" dt="2025-12-05T22:15:32.507" v="6554" actId="1036"/>
          <ac:spMkLst>
            <pc:docMk/>
            <pc:sldMk cId="257949166" sldId="290"/>
            <ac:spMk id="60" creationId="{D99F4E80-3B2F-8E17-9F57-FA816BFC4655}"/>
          </ac:spMkLst>
        </pc:spChg>
        <pc:spChg chg="add mod">
          <ac:chgData name="Bloesch, Troy" userId="d0937869-bb19-47f1-b7cb-e4344a414307" providerId="ADAL" clId="{0B9E4739-E43A-4485-B480-0870AB84DD6D}" dt="2025-12-05T21:48:48.937" v="6125" actId="1076"/>
          <ac:spMkLst>
            <pc:docMk/>
            <pc:sldMk cId="257949166" sldId="290"/>
            <ac:spMk id="62" creationId="{73A27CEA-F52F-454B-0759-5EAC18D8E78A}"/>
          </ac:spMkLst>
        </pc:spChg>
        <pc:spChg chg="add mod">
          <ac:chgData name="Bloesch, Troy" userId="d0937869-bb19-47f1-b7cb-e4344a414307" providerId="ADAL" clId="{0B9E4739-E43A-4485-B480-0870AB84DD6D}" dt="2025-12-05T21:48:48.937" v="6125" actId="1076"/>
          <ac:spMkLst>
            <pc:docMk/>
            <pc:sldMk cId="257949166" sldId="290"/>
            <ac:spMk id="64" creationId="{6F12E1F1-8B3B-EA16-48E6-335B7CBF4564}"/>
          </ac:spMkLst>
        </pc:spChg>
        <pc:spChg chg="add mod">
          <ac:chgData name="Bloesch, Troy" userId="d0937869-bb19-47f1-b7cb-e4344a414307" providerId="ADAL" clId="{0B9E4739-E43A-4485-B480-0870AB84DD6D}" dt="2025-12-05T21:48:48.937" v="6125" actId="1076"/>
          <ac:spMkLst>
            <pc:docMk/>
            <pc:sldMk cId="257949166" sldId="290"/>
            <ac:spMk id="66" creationId="{4D2A7823-7DE7-8D18-7CC3-5820E50C7E5C}"/>
          </ac:spMkLst>
        </pc:spChg>
        <pc:spChg chg="add del mod">
          <ac:chgData name="Bloesch, Troy" userId="d0937869-bb19-47f1-b7cb-e4344a414307" providerId="ADAL" clId="{0B9E4739-E43A-4485-B480-0870AB84DD6D}" dt="2025-12-05T21:49:06.814" v="6133" actId="1038"/>
          <ac:spMkLst>
            <pc:docMk/>
            <pc:sldMk cId="257949166" sldId="290"/>
            <ac:spMk id="68" creationId="{713793FD-A08E-24BC-8BDF-179AC2469DEE}"/>
          </ac:spMkLst>
        </pc:spChg>
        <pc:spChg chg="mod ord">
          <ac:chgData name="Bloesch, Troy" userId="d0937869-bb19-47f1-b7cb-e4344a414307" providerId="ADAL" clId="{0B9E4739-E43A-4485-B480-0870AB84DD6D}" dt="2025-12-05T22:23:40.358" v="6579" actId="14100"/>
          <ac:spMkLst>
            <pc:docMk/>
            <pc:sldMk cId="257949166" sldId="290"/>
            <ac:spMk id="70" creationId="{97631922-BCED-3CA3-9C4A-1EE5CE29BB97}"/>
          </ac:spMkLst>
        </pc:spChg>
        <pc:spChg chg="mod ord">
          <ac:chgData name="Bloesch, Troy" userId="d0937869-bb19-47f1-b7cb-e4344a414307" providerId="ADAL" clId="{0B9E4739-E43A-4485-B480-0870AB84DD6D}" dt="2025-12-05T22:15:23.482" v="6547" actId="404"/>
          <ac:spMkLst>
            <pc:docMk/>
            <pc:sldMk cId="257949166" sldId="290"/>
            <ac:spMk id="72" creationId="{8C5A465A-3305-13EA-3D07-13B73A3671E0}"/>
          </ac:spMkLst>
        </pc:spChg>
        <pc:spChg chg="mod ord">
          <ac:chgData name="Bloesch, Troy" userId="d0937869-bb19-47f1-b7cb-e4344a414307" providerId="ADAL" clId="{0B9E4739-E43A-4485-B480-0870AB84DD6D}" dt="2025-12-05T22:23:56.211" v="6585" actId="1037"/>
          <ac:spMkLst>
            <pc:docMk/>
            <pc:sldMk cId="257949166" sldId="290"/>
            <ac:spMk id="80" creationId="{5091BC64-2F92-F34D-9AD3-3EB88CCF2FFB}"/>
          </ac:spMkLst>
        </pc:spChg>
        <pc:spChg chg="mod ord">
          <ac:chgData name="Bloesch, Troy" userId="d0937869-bb19-47f1-b7cb-e4344a414307" providerId="ADAL" clId="{0B9E4739-E43A-4485-B480-0870AB84DD6D}" dt="2025-12-05T22:15:13.568" v="6546" actId="404"/>
          <ac:spMkLst>
            <pc:docMk/>
            <pc:sldMk cId="257949166" sldId="290"/>
            <ac:spMk id="82" creationId="{172A7B5D-6F51-34ED-6A0B-C2C445899C5C}"/>
          </ac:spMkLst>
        </pc:spChg>
        <pc:spChg chg="del mod">
          <ac:chgData name="Bloesch, Troy" userId="d0937869-bb19-47f1-b7cb-e4344a414307" providerId="ADAL" clId="{0B9E4739-E43A-4485-B480-0870AB84DD6D}" dt="2025-12-05T21:37:42.355" v="5874" actId="478"/>
          <ac:spMkLst>
            <pc:docMk/>
            <pc:sldMk cId="257949166" sldId="290"/>
            <ac:spMk id="88" creationId="{4E67A019-9CD9-412F-7547-E90E9462273E}"/>
          </ac:spMkLst>
        </pc:spChg>
        <pc:spChg chg="del">
          <ac:chgData name="Bloesch, Troy" userId="d0937869-bb19-47f1-b7cb-e4344a414307" providerId="ADAL" clId="{0B9E4739-E43A-4485-B480-0870AB84DD6D}" dt="2025-12-05T21:37:42.355" v="5874" actId="478"/>
          <ac:spMkLst>
            <pc:docMk/>
            <pc:sldMk cId="257949166" sldId="290"/>
            <ac:spMk id="91" creationId="{6805ECCA-2CA1-1997-56F3-9E63B721293F}"/>
          </ac:spMkLst>
        </pc:spChg>
        <pc:spChg chg="del">
          <ac:chgData name="Bloesch, Troy" userId="d0937869-bb19-47f1-b7cb-e4344a414307" providerId="ADAL" clId="{0B9E4739-E43A-4485-B480-0870AB84DD6D}" dt="2025-12-05T21:44:11.014" v="5907" actId="478"/>
          <ac:spMkLst>
            <pc:docMk/>
            <pc:sldMk cId="257949166" sldId="290"/>
            <ac:spMk id="183" creationId="{0BB1D8B9-6B74-593F-B293-115BDFF70AF1}"/>
          </ac:spMkLst>
        </pc:spChg>
        <pc:spChg chg="del">
          <ac:chgData name="Bloesch, Troy" userId="d0937869-bb19-47f1-b7cb-e4344a414307" providerId="ADAL" clId="{0B9E4739-E43A-4485-B480-0870AB84DD6D}" dt="2025-12-05T21:44:11.014" v="5907" actId="478"/>
          <ac:spMkLst>
            <pc:docMk/>
            <pc:sldMk cId="257949166" sldId="290"/>
            <ac:spMk id="188" creationId="{3F3A4FDB-5E69-434F-0BE7-BA2A93B6EC79}"/>
          </ac:spMkLst>
        </pc:spChg>
        <pc:graphicFrameChg chg="mod">
          <ac:chgData name="Bloesch, Troy" userId="d0937869-bb19-47f1-b7cb-e4344a414307" providerId="ADAL" clId="{0B9E4739-E43A-4485-B480-0870AB84DD6D}" dt="2025-12-05T21:46:09.014" v="6089"/>
          <ac:graphicFrameMkLst>
            <pc:docMk/>
            <pc:sldMk cId="257949166" sldId="290"/>
            <ac:graphicFrameMk id="4" creationId="{BF4D4602-B599-CF1F-A8E7-99F90CF6474F}"/>
          </ac:graphicFrameMkLst>
        </pc:graphicFrameChg>
        <pc:picChg chg="add del mod ord">
          <ac:chgData name="Bloesch, Troy" userId="d0937869-bb19-47f1-b7cb-e4344a414307" providerId="ADAL" clId="{0B9E4739-E43A-4485-B480-0870AB84DD6D}" dt="2025-12-05T21:49:09.382" v="6134" actId="21"/>
          <ac:picMkLst>
            <pc:docMk/>
            <pc:sldMk cId="257949166" sldId="290"/>
            <ac:picMk id="5" creationId="{447F8E7E-45B1-3C76-1636-19F3FD6D40DC}"/>
          </ac:picMkLst>
        </pc:picChg>
        <pc:picChg chg="add del mod ord">
          <ac:chgData name="Bloesch, Troy" userId="d0937869-bb19-47f1-b7cb-e4344a414307" providerId="ADAL" clId="{0B9E4739-E43A-4485-B480-0870AB84DD6D}" dt="2025-12-05T21:50:08.378" v="6157" actId="21"/>
          <ac:picMkLst>
            <pc:docMk/>
            <pc:sldMk cId="257949166" sldId="290"/>
            <ac:picMk id="10" creationId="{CB298D98-34B8-5974-5F39-535B4682AB02}"/>
          </ac:picMkLst>
        </pc:picChg>
        <pc:picChg chg="add del mod ord">
          <ac:chgData name="Bloesch, Troy" userId="d0937869-bb19-47f1-b7cb-e4344a414307" providerId="ADAL" clId="{0B9E4739-E43A-4485-B480-0870AB84DD6D}" dt="2025-12-05T21:49:44.004" v="6143" actId="21"/>
          <ac:picMkLst>
            <pc:docMk/>
            <pc:sldMk cId="257949166" sldId="290"/>
            <ac:picMk id="19" creationId="{50104746-371E-1293-860F-6BFDFA9F0D36}"/>
          </ac:picMkLst>
        </pc:picChg>
        <pc:picChg chg="add del mod ord">
          <ac:chgData name="Bloesch, Troy" userId="d0937869-bb19-47f1-b7cb-e4344a414307" providerId="ADAL" clId="{0B9E4739-E43A-4485-B480-0870AB84DD6D}" dt="2025-12-05T21:49:17.949" v="6138" actId="21"/>
          <ac:picMkLst>
            <pc:docMk/>
            <pc:sldMk cId="257949166" sldId="290"/>
            <ac:picMk id="21" creationId="{EDD2BF3F-0A01-BC29-511D-B4F0F42170F7}"/>
          </ac:picMkLst>
        </pc:picChg>
        <pc:picChg chg="add mod ord">
          <ac:chgData name="Bloesch, Troy" userId="d0937869-bb19-47f1-b7cb-e4344a414307" providerId="ADAL" clId="{0B9E4739-E43A-4485-B480-0870AB84DD6D}" dt="2025-12-05T22:15:32.507" v="6554" actId="1036"/>
          <ac:picMkLst>
            <pc:docMk/>
            <pc:sldMk cId="257949166" sldId="290"/>
            <ac:picMk id="24" creationId="{DC1E49D5-2136-A66F-D455-5B10B2ABAE71}"/>
          </ac:picMkLst>
        </pc:picChg>
        <pc:picChg chg="add del mod">
          <ac:chgData name="Bloesch, Troy" userId="d0937869-bb19-47f1-b7cb-e4344a414307" providerId="ADAL" clId="{0B9E4739-E43A-4485-B480-0870AB84DD6D}" dt="2025-12-05T21:48:18.974" v="6118" actId="478"/>
          <ac:picMkLst>
            <pc:docMk/>
            <pc:sldMk cId="257949166" sldId="290"/>
            <ac:picMk id="30" creationId="{5CA52D52-8E2C-B27C-8FA3-DA2695C35242}"/>
          </ac:picMkLst>
        </pc:picChg>
        <pc:picChg chg="add del mod">
          <ac:chgData name="Bloesch, Troy" userId="d0937869-bb19-47f1-b7cb-e4344a414307" providerId="ADAL" clId="{0B9E4739-E43A-4485-B480-0870AB84DD6D}" dt="2025-12-05T21:48:18.974" v="6118" actId="478"/>
          <ac:picMkLst>
            <pc:docMk/>
            <pc:sldMk cId="257949166" sldId="290"/>
            <ac:picMk id="33" creationId="{41353FB2-4F14-FF1F-1273-B3EAF52F1407}"/>
          </ac:picMkLst>
        </pc:picChg>
        <pc:picChg chg="add del mod">
          <ac:chgData name="Bloesch, Troy" userId="d0937869-bb19-47f1-b7cb-e4344a414307" providerId="ADAL" clId="{0B9E4739-E43A-4485-B480-0870AB84DD6D}" dt="2025-12-05T21:48:18.974" v="6118" actId="478"/>
          <ac:picMkLst>
            <pc:docMk/>
            <pc:sldMk cId="257949166" sldId="290"/>
            <ac:picMk id="39" creationId="{68847EA2-3BD3-9A38-B189-CDD82135DAEA}"/>
          </ac:picMkLst>
        </pc:picChg>
        <pc:picChg chg="add del mod">
          <ac:chgData name="Bloesch, Troy" userId="d0937869-bb19-47f1-b7cb-e4344a414307" providerId="ADAL" clId="{0B9E4739-E43A-4485-B480-0870AB84DD6D}" dt="2025-12-05T21:48:21.330" v="6119" actId="478"/>
          <ac:picMkLst>
            <pc:docMk/>
            <pc:sldMk cId="257949166" sldId="290"/>
            <ac:picMk id="44" creationId="{627A4399-8DB1-9EEE-DB4A-00FF7D3321EE}"/>
          </ac:picMkLst>
        </pc:picChg>
        <pc:picChg chg="add del mod">
          <ac:chgData name="Bloesch, Troy" userId="d0937869-bb19-47f1-b7cb-e4344a414307" providerId="ADAL" clId="{0B9E4739-E43A-4485-B480-0870AB84DD6D}" dt="2025-12-05T21:48:21.330" v="6119" actId="478"/>
          <ac:picMkLst>
            <pc:docMk/>
            <pc:sldMk cId="257949166" sldId="290"/>
            <ac:picMk id="46" creationId="{90860480-CB75-1ACF-B7A6-85C69C53DCEA}"/>
          </ac:picMkLst>
        </pc:picChg>
        <pc:picChg chg="add del mod">
          <ac:chgData name="Bloesch, Troy" userId="d0937869-bb19-47f1-b7cb-e4344a414307" providerId="ADAL" clId="{0B9E4739-E43A-4485-B480-0870AB84DD6D}" dt="2025-12-05T21:48:21.330" v="6119" actId="478"/>
          <ac:picMkLst>
            <pc:docMk/>
            <pc:sldMk cId="257949166" sldId="290"/>
            <ac:picMk id="52" creationId="{247C4238-4A00-94F8-9530-A582C84B6C98}"/>
          </ac:picMkLst>
        </pc:picChg>
        <pc:picChg chg="add del mod">
          <ac:chgData name="Bloesch, Troy" userId="d0937869-bb19-47f1-b7cb-e4344a414307" providerId="ADAL" clId="{0B9E4739-E43A-4485-B480-0870AB84DD6D}" dt="2025-12-05T21:48:21.330" v="6119" actId="478"/>
          <ac:picMkLst>
            <pc:docMk/>
            <pc:sldMk cId="257949166" sldId="290"/>
            <ac:picMk id="54" creationId="{BACE2BF7-C285-EAF3-2126-BAD71D5AB30E}"/>
          </ac:picMkLst>
        </pc:picChg>
        <pc:picChg chg="add mod">
          <ac:chgData name="Bloesch, Troy" userId="d0937869-bb19-47f1-b7cb-e4344a414307" providerId="ADAL" clId="{0B9E4739-E43A-4485-B480-0870AB84DD6D}" dt="2025-12-05T22:15:32.507" v="6554" actId="1036"/>
          <ac:picMkLst>
            <pc:docMk/>
            <pc:sldMk cId="257949166" sldId="290"/>
            <ac:picMk id="57" creationId="{C6D57D0E-3CA2-AB28-CCBB-17D0DD53E089}"/>
          </ac:picMkLst>
        </pc:picChg>
        <pc:picChg chg="add mod">
          <ac:chgData name="Bloesch, Troy" userId="d0937869-bb19-47f1-b7cb-e4344a414307" providerId="ADAL" clId="{0B9E4739-E43A-4485-B480-0870AB84DD6D}" dt="2025-12-05T22:15:32.507" v="6554" actId="1036"/>
          <ac:picMkLst>
            <pc:docMk/>
            <pc:sldMk cId="257949166" sldId="290"/>
            <ac:picMk id="59" creationId="{EEB95181-EFC3-8293-660F-41345351A4BF}"/>
          </ac:picMkLst>
        </pc:picChg>
        <pc:picChg chg="add mod">
          <ac:chgData name="Bloesch, Troy" userId="d0937869-bb19-47f1-b7cb-e4344a414307" providerId="ADAL" clId="{0B9E4739-E43A-4485-B480-0870AB84DD6D}" dt="2025-12-05T22:15:32.507" v="6554" actId="1036"/>
          <ac:picMkLst>
            <pc:docMk/>
            <pc:sldMk cId="257949166" sldId="290"/>
            <ac:picMk id="61" creationId="{95526D13-1B25-E0C9-574F-E531A4D71E67}"/>
          </ac:picMkLst>
        </pc:picChg>
        <pc:picChg chg="add del mod">
          <ac:chgData name="Bloesch, Troy" userId="d0937869-bb19-47f1-b7cb-e4344a414307" providerId="ADAL" clId="{0B9E4739-E43A-4485-B480-0870AB84DD6D}" dt="2025-12-05T21:50:05.764" v="6156" actId="21"/>
          <ac:picMkLst>
            <pc:docMk/>
            <pc:sldMk cId="257949166" sldId="290"/>
            <ac:picMk id="63" creationId="{81C0411A-2B87-9473-CDEF-907CB34FFA35}"/>
          </ac:picMkLst>
        </pc:picChg>
        <pc:picChg chg="add mod">
          <ac:chgData name="Bloesch, Troy" userId="d0937869-bb19-47f1-b7cb-e4344a414307" providerId="ADAL" clId="{0B9E4739-E43A-4485-B480-0870AB84DD6D}" dt="2025-12-05T21:51:07.701" v="6162" actId="14826"/>
          <ac:picMkLst>
            <pc:docMk/>
            <pc:sldMk cId="257949166" sldId="290"/>
            <ac:picMk id="65" creationId="{9434A35A-A7A5-8F07-8391-61976E85582F}"/>
          </ac:picMkLst>
        </pc:picChg>
        <pc:picChg chg="add mod">
          <ac:chgData name="Bloesch, Troy" userId="d0937869-bb19-47f1-b7cb-e4344a414307" providerId="ADAL" clId="{0B9E4739-E43A-4485-B480-0870AB84DD6D}" dt="2025-12-05T21:49:33.607" v="6141" actId="207"/>
          <ac:picMkLst>
            <pc:docMk/>
            <pc:sldMk cId="257949166" sldId="290"/>
            <ac:picMk id="67" creationId="{0D509D53-CF24-E378-3990-BC757A4D1BE4}"/>
          </ac:picMkLst>
        </pc:picChg>
        <pc:picChg chg="add mod">
          <ac:chgData name="Bloesch, Troy" userId="d0937869-bb19-47f1-b7cb-e4344a414307" providerId="ADAL" clId="{0B9E4739-E43A-4485-B480-0870AB84DD6D}" dt="2025-12-05T21:51:29.178" v="6163" actId="14826"/>
          <ac:picMkLst>
            <pc:docMk/>
            <pc:sldMk cId="257949166" sldId="290"/>
            <ac:picMk id="69" creationId="{11F574BA-8EA5-F1B9-3F7A-7D93D9466DF7}"/>
          </ac:picMkLst>
        </pc:picChg>
        <pc:cxnChg chg="add mod ord">
          <ac:chgData name="Bloesch, Troy" userId="d0937869-bb19-47f1-b7cb-e4344a414307" providerId="ADAL" clId="{0B9E4739-E43A-4485-B480-0870AB84DD6D}" dt="2025-12-05T21:51:52.534" v="6166" actId="1582"/>
          <ac:cxnSpMkLst>
            <pc:docMk/>
            <pc:sldMk cId="257949166" sldId="290"/>
            <ac:cxnSpMk id="11" creationId="{7509EAF4-52C7-9BD0-8556-5622DFD74E5D}"/>
          </ac:cxnSpMkLst>
        </pc:cxnChg>
        <pc:cxnChg chg="add mod ord">
          <ac:chgData name="Bloesch, Troy" userId="d0937869-bb19-47f1-b7cb-e4344a414307" providerId="ADAL" clId="{0B9E4739-E43A-4485-B480-0870AB84DD6D}" dt="2025-12-05T21:51:52.534" v="6166" actId="1582"/>
          <ac:cxnSpMkLst>
            <pc:docMk/>
            <pc:sldMk cId="257949166" sldId="290"/>
            <ac:cxnSpMk id="12" creationId="{83C3CDF2-5D41-2A6D-86DC-D92DA025C05A}"/>
          </ac:cxnSpMkLst>
        </pc:cxnChg>
        <pc:cxnChg chg="add mod ord">
          <ac:chgData name="Bloesch, Troy" userId="d0937869-bb19-47f1-b7cb-e4344a414307" providerId="ADAL" clId="{0B9E4739-E43A-4485-B480-0870AB84DD6D}" dt="2025-12-05T21:51:52.534" v="6166" actId="1582"/>
          <ac:cxnSpMkLst>
            <pc:docMk/>
            <pc:sldMk cId="257949166" sldId="290"/>
            <ac:cxnSpMk id="15" creationId="{7AACAEAC-32B6-81D0-04E4-636D94AFFE58}"/>
          </ac:cxnSpMkLst>
        </pc:cxnChg>
        <pc:cxnChg chg="add mod ord">
          <ac:chgData name="Bloesch, Troy" userId="d0937869-bb19-47f1-b7cb-e4344a414307" providerId="ADAL" clId="{0B9E4739-E43A-4485-B480-0870AB84DD6D}" dt="2025-12-05T21:51:52.534" v="6166" actId="1582"/>
          <ac:cxnSpMkLst>
            <pc:docMk/>
            <pc:sldMk cId="257949166" sldId="290"/>
            <ac:cxnSpMk id="16" creationId="{1F4A2CB1-F7DA-A482-D72E-11C66F28F14B}"/>
          </ac:cxnSpMkLst>
        </pc:cxnChg>
      </pc:sldChg>
      <pc:sldChg chg="add del">
        <pc:chgData name="Bloesch, Troy" userId="d0937869-bb19-47f1-b7cb-e4344a414307" providerId="ADAL" clId="{0B9E4739-E43A-4485-B480-0870AB84DD6D}" dt="2025-12-05T19:20:44.356" v="905" actId="47"/>
        <pc:sldMkLst>
          <pc:docMk/>
          <pc:sldMk cId="765914002" sldId="301"/>
        </pc:sldMkLst>
      </pc:sldChg>
      <pc:sldChg chg="del">
        <pc:chgData name="Bloesch, Troy" userId="d0937869-bb19-47f1-b7cb-e4344a414307" providerId="ADAL" clId="{0B9E4739-E43A-4485-B480-0870AB84DD6D}" dt="2025-12-05T19:05:24.669" v="486" actId="2696"/>
        <pc:sldMkLst>
          <pc:docMk/>
          <pc:sldMk cId="2101467125" sldId="301"/>
        </pc:sldMkLst>
      </pc:sldChg>
      <pc:sldChg chg="del">
        <pc:chgData name="Bloesch, Troy" userId="d0937869-bb19-47f1-b7cb-e4344a414307" providerId="ADAL" clId="{0B9E4739-E43A-4485-B480-0870AB84DD6D}" dt="2025-12-05T19:05:24.669" v="486" actId="2696"/>
        <pc:sldMkLst>
          <pc:docMk/>
          <pc:sldMk cId="437231864" sldId="303"/>
        </pc:sldMkLst>
      </pc:sldChg>
      <pc:sldChg chg="add del">
        <pc:chgData name="Bloesch, Troy" userId="d0937869-bb19-47f1-b7cb-e4344a414307" providerId="ADAL" clId="{0B9E4739-E43A-4485-B480-0870AB84DD6D}" dt="2025-12-05T19:20:31.652" v="878" actId="47"/>
        <pc:sldMkLst>
          <pc:docMk/>
          <pc:sldMk cId="2066973140" sldId="303"/>
        </pc:sldMkLst>
      </pc:sldChg>
      <pc:sldChg chg="add del">
        <pc:chgData name="Bloesch, Troy" userId="d0937869-bb19-47f1-b7cb-e4344a414307" providerId="ADAL" clId="{0B9E4739-E43A-4485-B480-0870AB84DD6D}" dt="2025-12-05T19:20:34.549" v="894" actId="47"/>
        <pc:sldMkLst>
          <pc:docMk/>
          <pc:sldMk cId="2731131416" sldId="304"/>
        </pc:sldMkLst>
      </pc:sldChg>
      <pc:sldChg chg="del">
        <pc:chgData name="Bloesch, Troy" userId="d0937869-bb19-47f1-b7cb-e4344a414307" providerId="ADAL" clId="{0B9E4739-E43A-4485-B480-0870AB84DD6D}" dt="2025-12-05T19:05:24.669" v="486" actId="2696"/>
        <pc:sldMkLst>
          <pc:docMk/>
          <pc:sldMk cId="3943129932" sldId="304"/>
        </pc:sldMkLst>
      </pc:sldChg>
      <pc:sldChg chg="modSp del mod">
        <pc:chgData name="Bloesch, Troy" userId="d0937869-bb19-47f1-b7cb-e4344a414307" providerId="ADAL" clId="{0B9E4739-E43A-4485-B480-0870AB84DD6D}" dt="2025-12-05T19:39:54.962" v="1439" actId="47"/>
        <pc:sldMkLst>
          <pc:docMk/>
          <pc:sldMk cId="1880062872" sldId="310"/>
        </pc:sldMkLst>
        <pc:spChg chg="mod">
          <ac:chgData name="Bloesch, Troy" userId="d0937869-bb19-47f1-b7cb-e4344a414307" providerId="ADAL" clId="{0B9E4739-E43A-4485-B480-0870AB84DD6D}" dt="2025-12-05T19:04:36.737" v="483" actId="20577"/>
          <ac:spMkLst>
            <pc:docMk/>
            <pc:sldMk cId="1880062872" sldId="310"/>
            <ac:spMk id="3" creationId="{5A953E7C-6F83-E53B-C062-476DA9E65EF9}"/>
          </ac:spMkLst>
        </pc:spChg>
      </pc:sldChg>
      <pc:sldChg chg="addSp delSp modSp mod ord setBg modClrScheme chgLayout">
        <pc:chgData name="Bloesch, Troy" userId="d0937869-bb19-47f1-b7cb-e4344a414307" providerId="ADAL" clId="{0B9E4739-E43A-4485-B480-0870AB84DD6D}" dt="2025-12-05T21:25:03.885" v="5769"/>
        <pc:sldMkLst>
          <pc:docMk/>
          <pc:sldMk cId="0" sldId="311"/>
        </pc:sldMkLst>
        <pc:spChg chg="add del mod ord">
          <ac:chgData name="Bloesch, Troy" userId="d0937869-bb19-47f1-b7cb-e4344a414307" providerId="ADAL" clId="{0B9E4739-E43A-4485-B480-0870AB84DD6D}" dt="2025-12-05T21:19:42.387" v="5624" actId="700"/>
          <ac:spMkLst>
            <pc:docMk/>
            <pc:sldMk cId="0" sldId="311"/>
            <ac:spMk id="4" creationId="{DFB90949-5100-A035-F143-07B02FF3AC2A}"/>
          </ac:spMkLst>
        </pc:spChg>
        <pc:spChg chg="add del mod ord">
          <ac:chgData name="Bloesch, Troy" userId="d0937869-bb19-47f1-b7cb-e4344a414307" providerId="ADAL" clId="{0B9E4739-E43A-4485-B480-0870AB84DD6D}" dt="2025-12-05T21:24:41.399" v="5738" actId="700"/>
          <ac:spMkLst>
            <pc:docMk/>
            <pc:sldMk cId="0" sldId="311"/>
            <ac:spMk id="5" creationId="{353E6B4E-F9E7-3502-631F-29747544AB1A}"/>
          </ac:spMkLst>
        </pc:spChg>
        <pc:spChg chg="add del mod ord">
          <ac:chgData name="Bloesch, Troy" userId="d0937869-bb19-47f1-b7cb-e4344a414307" providerId="ADAL" clId="{0B9E4739-E43A-4485-B480-0870AB84DD6D}" dt="2025-12-05T21:24:48.080" v="5750" actId="700"/>
          <ac:spMkLst>
            <pc:docMk/>
            <pc:sldMk cId="0" sldId="311"/>
            <ac:spMk id="6" creationId="{498E2CB8-9EC6-BD1A-7F5F-2D030D293467}"/>
          </ac:spMkLst>
        </pc:spChg>
        <pc:spChg chg="mod ord">
          <ac:chgData name="Bloesch, Troy" userId="d0937869-bb19-47f1-b7cb-e4344a414307" providerId="ADAL" clId="{0B9E4739-E43A-4485-B480-0870AB84DD6D}" dt="2025-12-05T21:25:03.182" v="5763" actId="700"/>
          <ac:spMkLst>
            <pc:docMk/>
            <pc:sldMk cId="0" sldId="311"/>
            <ac:spMk id="14" creationId="{00000000-0000-0000-0000-000000000000}"/>
          </ac:spMkLst>
        </pc:spChg>
        <pc:spChg chg="mod">
          <ac:chgData name="Bloesch, Troy" userId="d0937869-bb19-47f1-b7cb-e4344a414307" providerId="ADAL" clId="{0B9E4739-E43A-4485-B480-0870AB84DD6D}" dt="2025-12-05T21:20:31.922" v="5652" actId="207"/>
          <ac:spMkLst>
            <pc:docMk/>
            <pc:sldMk cId="0" sldId="311"/>
            <ac:spMk id="25" creationId="{00000000-0000-0000-0000-000000000000}"/>
          </ac:spMkLst>
        </pc:spChg>
        <pc:spChg chg="add del mod ord">
          <ac:chgData name="Bloesch, Troy" userId="d0937869-bb19-47f1-b7cb-e4344a414307" providerId="ADAL" clId="{0B9E4739-E43A-4485-B480-0870AB84DD6D}" dt="2025-12-05T21:25:03.182" v="5763" actId="700"/>
          <ac:spMkLst>
            <pc:docMk/>
            <pc:sldMk cId="0" sldId="311"/>
            <ac:spMk id="26" creationId="{E2D2FEA9-347A-A141-BE19-EA9E07F9B728}"/>
          </ac:spMkLst>
        </pc:spChg>
        <pc:spChg chg="mod">
          <ac:chgData name="Bloesch, Troy" userId="d0937869-bb19-47f1-b7cb-e4344a414307" providerId="ADAL" clId="{0B9E4739-E43A-4485-B480-0870AB84DD6D}" dt="2025-12-05T21:20:31.922" v="5652" actId="207"/>
          <ac:spMkLst>
            <pc:docMk/>
            <pc:sldMk cId="0" sldId="311"/>
            <ac:spMk id="28" creationId="{C5328432-4C56-218B-B129-0C81C5B567E7}"/>
          </ac:spMkLst>
        </pc:spChg>
        <pc:spChg chg="mod">
          <ac:chgData name="Bloesch, Troy" userId="d0937869-bb19-47f1-b7cb-e4344a414307" providerId="ADAL" clId="{0B9E4739-E43A-4485-B480-0870AB84DD6D}" dt="2025-12-05T21:20:31.922" v="5652" actId="207"/>
          <ac:spMkLst>
            <pc:docMk/>
            <pc:sldMk cId="0" sldId="311"/>
            <ac:spMk id="40" creationId="{F1C806C9-0BEE-C57A-6054-7CE97099A740}"/>
          </ac:spMkLst>
        </pc:spChg>
        <pc:spChg chg="mod">
          <ac:chgData name="Bloesch, Troy" userId="d0937869-bb19-47f1-b7cb-e4344a414307" providerId="ADAL" clId="{0B9E4739-E43A-4485-B480-0870AB84DD6D}" dt="2025-12-05T21:20:31.922" v="5652" actId="207"/>
          <ac:spMkLst>
            <pc:docMk/>
            <pc:sldMk cId="0" sldId="311"/>
            <ac:spMk id="42" creationId="{093702B8-4C44-C7EA-D308-F15A97E5A0D7}"/>
          </ac:spMkLst>
        </pc:spChg>
        <pc:spChg chg="mod">
          <ac:chgData name="Bloesch, Troy" userId="d0937869-bb19-47f1-b7cb-e4344a414307" providerId="ADAL" clId="{0B9E4739-E43A-4485-B480-0870AB84DD6D}" dt="2025-12-05T21:20:31.922" v="5652" actId="207"/>
          <ac:spMkLst>
            <pc:docMk/>
            <pc:sldMk cId="0" sldId="311"/>
            <ac:spMk id="52" creationId="{24BB8196-D576-16F4-86D9-5E5CB9180957}"/>
          </ac:spMkLst>
        </pc:spChg>
        <pc:graphicFrameChg chg="mod">
          <ac:chgData name="Bloesch, Troy" userId="d0937869-bb19-47f1-b7cb-e4344a414307" providerId="ADAL" clId="{0B9E4739-E43A-4485-B480-0870AB84DD6D}" dt="2025-12-05T21:25:03.885" v="5769"/>
          <ac:graphicFrameMkLst>
            <pc:docMk/>
            <pc:sldMk cId="0" sldId="311"/>
            <ac:graphicFrameMk id="2" creationId="{90D31C58-C7DA-C4C0-9790-1501B0C85B01}"/>
          </ac:graphicFrameMkLst>
        </pc:graphicFrameChg>
        <pc:picChg chg="mod">
          <ac:chgData name="Bloesch, Troy" userId="d0937869-bb19-47f1-b7cb-e4344a414307" providerId="ADAL" clId="{0B9E4739-E43A-4485-B480-0870AB84DD6D}" dt="2025-12-05T21:20:31.922" v="5652" actId="207"/>
          <ac:picMkLst>
            <pc:docMk/>
            <pc:sldMk cId="0" sldId="311"/>
            <ac:picMk id="41" creationId="{8A485379-D813-1610-E2C3-837155C503C7}"/>
          </ac:picMkLst>
        </pc:picChg>
        <pc:picChg chg="mod">
          <ac:chgData name="Bloesch, Troy" userId="d0937869-bb19-47f1-b7cb-e4344a414307" providerId="ADAL" clId="{0B9E4739-E43A-4485-B480-0870AB84DD6D}" dt="2025-12-05T21:20:31.922" v="5652" actId="207"/>
          <ac:picMkLst>
            <pc:docMk/>
            <pc:sldMk cId="0" sldId="311"/>
            <ac:picMk id="54" creationId="{7CF88750-1614-BAC8-2431-3DA1E6FE557D}"/>
          </ac:picMkLst>
        </pc:picChg>
      </pc:sldChg>
      <pc:sldChg chg="delSp modSp del mod">
        <pc:chgData name="Bloesch, Troy" userId="d0937869-bb19-47f1-b7cb-e4344a414307" providerId="ADAL" clId="{0B9E4739-E43A-4485-B480-0870AB84DD6D}" dt="2025-12-05T19:36:41.309" v="1284" actId="47"/>
        <pc:sldMkLst>
          <pc:docMk/>
          <pc:sldMk cId="2796690912" sldId="312"/>
        </pc:sldMkLst>
        <pc:spChg chg="mod">
          <ac:chgData name="Bloesch, Troy" userId="d0937869-bb19-47f1-b7cb-e4344a414307" providerId="ADAL" clId="{0B9E4739-E43A-4485-B480-0870AB84DD6D}" dt="2025-12-05T19:27:47.047" v="1259" actId="313"/>
          <ac:spMkLst>
            <pc:docMk/>
            <pc:sldMk cId="2796690912" sldId="312"/>
            <ac:spMk id="8" creationId="{FE5EC1D7-AF03-9F60-DDA6-4474ED07A3BC}"/>
          </ac:spMkLst>
        </pc:spChg>
        <pc:spChg chg="mod ord">
          <ac:chgData name="Bloesch, Troy" userId="d0937869-bb19-47f1-b7cb-e4344a414307" providerId="ADAL" clId="{0B9E4739-E43A-4485-B480-0870AB84DD6D}" dt="2025-12-05T19:11:29.363" v="593"/>
          <ac:spMkLst>
            <pc:docMk/>
            <pc:sldMk cId="2796690912" sldId="312"/>
            <ac:spMk id="10" creationId="{438AAE8B-F5ED-65B7-852A-1CB3E8F19BE1}"/>
          </ac:spMkLst>
        </pc:spChg>
        <pc:spChg chg="del mod ord">
          <ac:chgData name="Bloesch, Troy" userId="d0937869-bb19-47f1-b7cb-e4344a414307" providerId="ADAL" clId="{0B9E4739-E43A-4485-B480-0870AB84DD6D}" dt="2025-12-05T19:27:41.798" v="1256" actId="478"/>
          <ac:spMkLst>
            <pc:docMk/>
            <pc:sldMk cId="2796690912" sldId="312"/>
            <ac:spMk id="11" creationId="{B22647E4-9A5A-3A36-6317-30785F28CA1C}"/>
          </ac:spMkLst>
        </pc:spChg>
        <pc:spChg chg="mod ord">
          <ac:chgData name="Bloesch, Troy" userId="d0937869-bb19-47f1-b7cb-e4344a414307" providerId="ADAL" clId="{0B9E4739-E43A-4485-B480-0870AB84DD6D}" dt="2025-12-05T19:11:29.364" v="595"/>
          <ac:spMkLst>
            <pc:docMk/>
            <pc:sldMk cId="2796690912" sldId="312"/>
            <ac:spMk id="14" creationId="{7BBAF06F-659C-A1B1-70D0-6DA14EDDA692}"/>
          </ac:spMkLst>
        </pc:spChg>
        <pc:spChg chg="mod">
          <ac:chgData name="Bloesch, Troy" userId="d0937869-bb19-47f1-b7cb-e4344a414307" providerId="ADAL" clId="{0B9E4739-E43A-4485-B480-0870AB84DD6D}" dt="2025-12-05T19:27:19.334" v="1219" actId="20577"/>
          <ac:spMkLst>
            <pc:docMk/>
            <pc:sldMk cId="2796690912" sldId="312"/>
            <ac:spMk id="16" creationId="{70312820-C8C0-A52F-FB2D-BF8D41AA322D}"/>
          </ac:spMkLst>
        </pc:spChg>
        <pc:spChg chg="mod">
          <ac:chgData name="Bloesch, Troy" userId="d0937869-bb19-47f1-b7cb-e4344a414307" providerId="ADAL" clId="{0B9E4739-E43A-4485-B480-0870AB84DD6D}" dt="2025-12-05T19:27:14.639" v="1201" actId="20577"/>
          <ac:spMkLst>
            <pc:docMk/>
            <pc:sldMk cId="2796690912" sldId="312"/>
            <ac:spMk id="26" creationId="{692A01B2-60AC-4854-CABB-CAD24B94A349}"/>
          </ac:spMkLst>
        </pc:spChg>
        <pc:spChg chg="mod">
          <ac:chgData name="Bloesch, Troy" userId="d0937869-bb19-47f1-b7cb-e4344a414307" providerId="ADAL" clId="{0B9E4739-E43A-4485-B480-0870AB84DD6D}" dt="2025-12-05T19:27:27.332" v="1237" actId="5793"/>
          <ac:spMkLst>
            <pc:docMk/>
            <pc:sldMk cId="2796690912" sldId="312"/>
            <ac:spMk id="32" creationId="{9D190ED1-6B3A-AD63-B84E-067BEF69EB70}"/>
          </ac:spMkLst>
        </pc:spChg>
        <pc:spChg chg="del topLvl">
          <ac:chgData name="Bloesch, Troy" userId="d0937869-bb19-47f1-b7cb-e4344a414307" providerId="ADAL" clId="{0B9E4739-E43A-4485-B480-0870AB84DD6D}" dt="2025-12-05T19:27:45.121" v="1258" actId="478"/>
          <ac:spMkLst>
            <pc:docMk/>
            <pc:sldMk cId="2796690912" sldId="312"/>
            <ac:spMk id="35" creationId="{EE2C2591-5E38-E89F-C396-306912D2A0E5}"/>
          </ac:spMkLst>
        </pc:spChg>
        <pc:spChg chg="del topLvl">
          <ac:chgData name="Bloesch, Troy" userId="d0937869-bb19-47f1-b7cb-e4344a414307" providerId="ADAL" clId="{0B9E4739-E43A-4485-B480-0870AB84DD6D}" dt="2025-12-05T19:27:42.746" v="1257" actId="478"/>
          <ac:spMkLst>
            <pc:docMk/>
            <pc:sldMk cId="2796690912" sldId="312"/>
            <ac:spMk id="36" creationId="{C432A400-8E99-A482-CBE6-E92ADB1B83C4}"/>
          </ac:spMkLst>
        </pc:spChg>
        <pc:spChg chg="mod ord">
          <ac:chgData name="Bloesch, Troy" userId="d0937869-bb19-47f1-b7cb-e4344a414307" providerId="ADAL" clId="{0B9E4739-E43A-4485-B480-0870AB84DD6D}" dt="2025-12-05T19:11:29.352" v="589"/>
          <ac:spMkLst>
            <pc:docMk/>
            <pc:sldMk cId="2796690912" sldId="312"/>
            <ac:spMk id="47" creationId="{6C8EAA74-9736-2749-09FA-045D6354F1FA}"/>
          </ac:spMkLst>
        </pc:spChg>
        <pc:grpChg chg="mod ord">
          <ac:chgData name="Bloesch, Troy" userId="d0937869-bb19-47f1-b7cb-e4344a414307" providerId="ADAL" clId="{0B9E4739-E43A-4485-B480-0870AB84DD6D}" dt="2025-12-05T19:11:29.380" v="613"/>
          <ac:grpSpMkLst>
            <pc:docMk/>
            <pc:sldMk cId="2796690912" sldId="312"/>
            <ac:grpSpMk id="6" creationId="{13596551-7F29-1703-84F6-C9B03D623CA5}"/>
          </ac:grpSpMkLst>
        </pc:grpChg>
        <pc:grpChg chg="mod ord">
          <ac:chgData name="Bloesch, Troy" userId="d0937869-bb19-47f1-b7cb-e4344a414307" providerId="ADAL" clId="{0B9E4739-E43A-4485-B480-0870AB84DD6D}" dt="2025-12-05T19:11:29.370" v="603"/>
          <ac:grpSpMkLst>
            <pc:docMk/>
            <pc:sldMk cId="2796690912" sldId="312"/>
            <ac:grpSpMk id="18" creationId="{63671BCC-863E-8DB3-7C96-D84C7D2C12D5}"/>
          </ac:grpSpMkLst>
        </pc:grpChg>
        <pc:grpChg chg="mod ord">
          <ac:chgData name="Bloesch, Troy" userId="d0937869-bb19-47f1-b7cb-e4344a414307" providerId="ADAL" clId="{0B9E4739-E43A-4485-B480-0870AB84DD6D}" dt="2025-12-05T19:11:29.371" v="605"/>
          <ac:grpSpMkLst>
            <pc:docMk/>
            <pc:sldMk cId="2796690912" sldId="312"/>
            <ac:grpSpMk id="24" creationId="{24354FDB-C33D-EE9A-9564-6C158E574FE0}"/>
          </ac:grpSpMkLst>
        </pc:grpChg>
        <pc:grpChg chg="mod ord">
          <ac:chgData name="Bloesch, Troy" userId="d0937869-bb19-47f1-b7cb-e4344a414307" providerId="ADAL" clId="{0B9E4739-E43A-4485-B480-0870AB84DD6D}" dt="2025-12-05T19:11:29.374" v="607"/>
          <ac:grpSpMkLst>
            <pc:docMk/>
            <pc:sldMk cId="2796690912" sldId="312"/>
            <ac:grpSpMk id="30" creationId="{E309CC37-933C-3038-C94A-624516794BA3}"/>
          </ac:grpSpMkLst>
        </pc:grpChg>
        <pc:grpChg chg="del mod ord">
          <ac:chgData name="Bloesch, Troy" userId="d0937869-bb19-47f1-b7cb-e4344a414307" providerId="ADAL" clId="{0B9E4739-E43A-4485-B480-0870AB84DD6D}" dt="2025-12-05T19:27:42.746" v="1257" actId="478"/>
          <ac:grpSpMkLst>
            <pc:docMk/>
            <pc:sldMk cId="2796690912" sldId="312"/>
            <ac:grpSpMk id="34" creationId="{81435348-0A32-39EB-71F8-92A8590E36D0}"/>
          </ac:grpSpMkLst>
        </pc:grpChg>
        <pc:graphicFrameChg chg="mod">
          <ac:chgData name="Bloesch, Troy" userId="d0937869-bb19-47f1-b7cb-e4344a414307" providerId="ADAL" clId="{0B9E4739-E43A-4485-B480-0870AB84DD6D}" dt="2025-12-05T19:11:29.385" v="617"/>
          <ac:graphicFrameMkLst>
            <pc:docMk/>
            <pc:sldMk cId="2796690912" sldId="312"/>
            <ac:graphicFrameMk id="17" creationId="{C92F7EFC-3F54-B32E-245B-0E0F2D83C2CF}"/>
          </ac:graphicFrameMkLst>
        </pc:graphicFrameChg>
        <pc:picChg chg="mod ord">
          <ac:chgData name="Bloesch, Troy" userId="d0937869-bb19-47f1-b7cb-e4344a414307" providerId="ADAL" clId="{0B9E4739-E43A-4485-B480-0870AB84DD6D}" dt="2025-12-05T19:11:29.359" v="591"/>
          <ac:picMkLst>
            <pc:docMk/>
            <pc:sldMk cId="2796690912" sldId="312"/>
            <ac:picMk id="4" creationId="{B03C86C9-99FD-69F6-5793-D9F86D081970}"/>
          </ac:picMkLst>
        </pc:picChg>
        <pc:cxnChg chg="del mod ord">
          <ac:chgData name="Bloesch, Troy" userId="d0937869-bb19-47f1-b7cb-e4344a414307" providerId="ADAL" clId="{0B9E4739-E43A-4485-B480-0870AB84DD6D}" dt="2025-12-05T19:27:48.480" v="1260" actId="478"/>
          <ac:cxnSpMkLst>
            <pc:docMk/>
            <pc:sldMk cId="2796690912" sldId="312"/>
            <ac:cxnSpMk id="5" creationId="{6AACAF11-0561-1999-73B9-6A5F222E9A78}"/>
          </ac:cxnSpMkLst>
        </pc:cxnChg>
        <pc:cxnChg chg="mod ord">
          <ac:chgData name="Bloesch, Troy" userId="d0937869-bb19-47f1-b7cb-e4344a414307" providerId="ADAL" clId="{0B9E4739-E43A-4485-B480-0870AB84DD6D}" dt="2025-12-05T19:11:29.366" v="597"/>
          <ac:cxnSpMkLst>
            <pc:docMk/>
            <pc:sldMk cId="2796690912" sldId="312"/>
            <ac:cxnSpMk id="39" creationId="{4F1A904B-6741-80E0-74D5-23EB3CA97485}"/>
          </ac:cxnSpMkLst>
        </pc:cxnChg>
        <pc:cxnChg chg="mod ord">
          <ac:chgData name="Bloesch, Troy" userId="d0937869-bb19-47f1-b7cb-e4344a414307" providerId="ADAL" clId="{0B9E4739-E43A-4485-B480-0870AB84DD6D}" dt="2025-12-05T19:11:29.367" v="599"/>
          <ac:cxnSpMkLst>
            <pc:docMk/>
            <pc:sldMk cId="2796690912" sldId="312"/>
            <ac:cxnSpMk id="41" creationId="{BD68A853-8B7B-9CD0-E844-2831723378FF}"/>
          </ac:cxnSpMkLst>
        </pc:cxnChg>
        <pc:cxnChg chg="mod ord">
          <ac:chgData name="Bloesch, Troy" userId="d0937869-bb19-47f1-b7cb-e4344a414307" providerId="ADAL" clId="{0B9E4739-E43A-4485-B480-0870AB84DD6D}" dt="2025-12-05T19:11:29.369" v="601"/>
          <ac:cxnSpMkLst>
            <pc:docMk/>
            <pc:sldMk cId="2796690912" sldId="312"/>
            <ac:cxnSpMk id="42" creationId="{DC403C13-12B2-DB09-A11A-830D5D6EBF25}"/>
          </ac:cxnSpMkLst>
        </pc:cxnChg>
      </pc:sldChg>
      <pc:sldChg chg="add del">
        <pc:chgData name="Bloesch, Troy" userId="d0937869-bb19-47f1-b7cb-e4344a414307" providerId="ADAL" clId="{0B9E4739-E43A-4485-B480-0870AB84DD6D}" dt="2025-12-05T19:20:33.644" v="889" actId="47"/>
        <pc:sldMkLst>
          <pc:docMk/>
          <pc:sldMk cId="2544562263" sldId="314"/>
        </pc:sldMkLst>
      </pc:sldChg>
      <pc:sldChg chg="del">
        <pc:chgData name="Bloesch, Troy" userId="d0937869-bb19-47f1-b7cb-e4344a414307" providerId="ADAL" clId="{0B9E4739-E43A-4485-B480-0870AB84DD6D}" dt="2025-12-05T19:05:24.669" v="486" actId="2696"/>
        <pc:sldMkLst>
          <pc:docMk/>
          <pc:sldMk cId="3157195770" sldId="314"/>
        </pc:sldMkLst>
      </pc:sldChg>
      <pc:sldChg chg="del">
        <pc:chgData name="Bloesch, Troy" userId="d0937869-bb19-47f1-b7cb-e4344a414307" providerId="ADAL" clId="{0B9E4739-E43A-4485-B480-0870AB84DD6D}" dt="2025-12-05T19:05:24.669" v="486" actId="2696"/>
        <pc:sldMkLst>
          <pc:docMk/>
          <pc:sldMk cId="77603538" sldId="316"/>
        </pc:sldMkLst>
      </pc:sldChg>
      <pc:sldChg chg="add del">
        <pc:chgData name="Bloesch, Troy" userId="d0937869-bb19-47f1-b7cb-e4344a414307" providerId="ADAL" clId="{0B9E4739-E43A-4485-B480-0870AB84DD6D}" dt="2025-12-05T19:20:39.739" v="901" actId="47"/>
        <pc:sldMkLst>
          <pc:docMk/>
          <pc:sldMk cId="100273113" sldId="316"/>
        </pc:sldMkLst>
      </pc:sldChg>
      <pc:sldChg chg="del">
        <pc:chgData name="Bloesch, Troy" userId="d0937869-bb19-47f1-b7cb-e4344a414307" providerId="ADAL" clId="{0B9E4739-E43A-4485-B480-0870AB84DD6D}" dt="2025-12-05T19:05:24.669" v="486" actId="2696"/>
        <pc:sldMkLst>
          <pc:docMk/>
          <pc:sldMk cId="187076681" sldId="317"/>
        </pc:sldMkLst>
      </pc:sldChg>
      <pc:sldChg chg="add del">
        <pc:chgData name="Bloesch, Troy" userId="d0937869-bb19-47f1-b7cb-e4344a414307" providerId="ADAL" clId="{0B9E4739-E43A-4485-B480-0870AB84DD6D}" dt="2025-12-05T19:20:32.869" v="885" actId="47"/>
        <pc:sldMkLst>
          <pc:docMk/>
          <pc:sldMk cId="3503506223" sldId="317"/>
        </pc:sldMkLst>
      </pc:sldChg>
      <pc:sldChg chg="del">
        <pc:chgData name="Bloesch, Troy" userId="d0937869-bb19-47f1-b7cb-e4344a414307" providerId="ADAL" clId="{0B9E4739-E43A-4485-B480-0870AB84DD6D}" dt="2025-12-05T19:05:24.669" v="486" actId="2696"/>
        <pc:sldMkLst>
          <pc:docMk/>
          <pc:sldMk cId="78140183" sldId="318"/>
        </pc:sldMkLst>
      </pc:sldChg>
      <pc:sldChg chg="add del">
        <pc:chgData name="Bloesch, Troy" userId="d0937869-bb19-47f1-b7cb-e4344a414307" providerId="ADAL" clId="{0B9E4739-E43A-4485-B480-0870AB84DD6D}" dt="2025-12-05T19:20:32.683" v="884" actId="47"/>
        <pc:sldMkLst>
          <pc:docMk/>
          <pc:sldMk cId="3234315157" sldId="318"/>
        </pc:sldMkLst>
      </pc:sldChg>
      <pc:sldChg chg="del">
        <pc:chgData name="Bloesch, Troy" userId="d0937869-bb19-47f1-b7cb-e4344a414307" providerId="ADAL" clId="{0B9E4739-E43A-4485-B480-0870AB84DD6D}" dt="2025-12-05T19:05:24.669" v="486" actId="2696"/>
        <pc:sldMkLst>
          <pc:docMk/>
          <pc:sldMk cId="2258973888" sldId="319"/>
        </pc:sldMkLst>
      </pc:sldChg>
      <pc:sldChg chg="add del">
        <pc:chgData name="Bloesch, Troy" userId="d0937869-bb19-47f1-b7cb-e4344a414307" providerId="ADAL" clId="{0B9E4739-E43A-4485-B480-0870AB84DD6D}" dt="2025-12-05T19:20:31.715" v="879" actId="47"/>
        <pc:sldMkLst>
          <pc:docMk/>
          <pc:sldMk cId="2738567220" sldId="319"/>
        </pc:sldMkLst>
      </pc:sldChg>
      <pc:sldChg chg="add del">
        <pc:chgData name="Bloesch, Troy" userId="d0937869-bb19-47f1-b7cb-e4344a414307" providerId="ADAL" clId="{0B9E4739-E43A-4485-B480-0870AB84DD6D}" dt="2025-12-05T19:20:32.484" v="883" actId="47"/>
        <pc:sldMkLst>
          <pc:docMk/>
          <pc:sldMk cId="559996457" sldId="320"/>
        </pc:sldMkLst>
      </pc:sldChg>
      <pc:sldChg chg="del">
        <pc:chgData name="Bloesch, Troy" userId="d0937869-bb19-47f1-b7cb-e4344a414307" providerId="ADAL" clId="{0B9E4739-E43A-4485-B480-0870AB84DD6D}" dt="2025-12-05T19:05:24.669" v="486" actId="2696"/>
        <pc:sldMkLst>
          <pc:docMk/>
          <pc:sldMk cId="3875464029" sldId="320"/>
        </pc:sldMkLst>
      </pc:sldChg>
      <pc:sldChg chg="del">
        <pc:chgData name="Bloesch, Troy" userId="d0937869-bb19-47f1-b7cb-e4344a414307" providerId="ADAL" clId="{0B9E4739-E43A-4485-B480-0870AB84DD6D}" dt="2025-12-05T19:05:24.669" v="486" actId="2696"/>
        <pc:sldMkLst>
          <pc:docMk/>
          <pc:sldMk cId="2596510938" sldId="322"/>
        </pc:sldMkLst>
      </pc:sldChg>
      <pc:sldChg chg="add del">
        <pc:chgData name="Bloesch, Troy" userId="d0937869-bb19-47f1-b7cb-e4344a414307" providerId="ADAL" clId="{0B9E4739-E43A-4485-B480-0870AB84DD6D}" dt="2025-12-05T19:20:32.309" v="882" actId="47"/>
        <pc:sldMkLst>
          <pc:docMk/>
          <pc:sldMk cId="4084714252" sldId="322"/>
        </pc:sldMkLst>
      </pc:sldChg>
      <pc:sldChg chg="add del">
        <pc:chgData name="Bloesch, Troy" userId="d0937869-bb19-47f1-b7cb-e4344a414307" providerId="ADAL" clId="{0B9E4739-E43A-4485-B480-0870AB84DD6D}" dt="2025-12-05T21:19:10.805" v="5609" actId="47"/>
        <pc:sldMkLst>
          <pc:docMk/>
          <pc:sldMk cId="1616820925" sldId="324"/>
        </pc:sldMkLst>
      </pc:sldChg>
      <pc:sldChg chg="del">
        <pc:chgData name="Bloesch, Troy" userId="d0937869-bb19-47f1-b7cb-e4344a414307" providerId="ADAL" clId="{0B9E4739-E43A-4485-B480-0870AB84DD6D}" dt="2025-12-05T19:05:24.669" v="486" actId="2696"/>
        <pc:sldMkLst>
          <pc:docMk/>
          <pc:sldMk cId="4167894291" sldId="324"/>
        </pc:sldMkLst>
      </pc:sldChg>
      <pc:sldChg chg="add del">
        <pc:chgData name="Bloesch, Troy" userId="d0937869-bb19-47f1-b7cb-e4344a414307" providerId="ADAL" clId="{0B9E4739-E43A-4485-B480-0870AB84DD6D}" dt="2025-12-05T21:19:11.310" v="5611" actId="47"/>
        <pc:sldMkLst>
          <pc:docMk/>
          <pc:sldMk cId="1642186985" sldId="332"/>
        </pc:sldMkLst>
      </pc:sldChg>
      <pc:sldChg chg="del">
        <pc:chgData name="Bloesch, Troy" userId="d0937869-bb19-47f1-b7cb-e4344a414307" providerId="ADAL" clId="{0B9E4739-E43A-4485-B480-0870AB84DD6D}" dt="2025-12-05T19:05:24.669" v="486" actId="2696"/>
        <pc:sldMkLst>
          <pc:docMk/>
          <pc:sldMk cId="3613694820" sldId="332"/>
        </pc:sldMkLst>
      </pc:sldChg>
      <pc:sldChg chg="del">
        <pc:chgData name="Bloesch, Troy" userId="d0937869-bb19-47f1-b7cb-e4344a414307" providerId="ADAL" clId="{0B9E4739-E43A-4485-B480-0870AB84DD6D}" dt="2025-12-05T19:04:43.234" v="484" actId="2696"/>
        <pc:sldMkLst>
          <pc:docMk/>
          <pc:sldMk cId="1620772415" sldId="336"/>
        </pc:sldMkLst>
      </pc:sldChg>
      <pc:sldChg chg="add del">
        <pc:chgData name="Bloesch, Troy" userId="d0937869-bb19-47f1-b7cb-e4344a414307" providerId="ADAL" clId="{0B9E4739-E43A-4485-B480-0870AB84DD6D}" dt="2025-12-05T19:20:50.715" v="906" actId="47"/>
        <pc:sldMkLst>
          <pc:docMk/>
          <pc:sldMk cId="3481278240" sldId="336"/>
        </pc:sldMkLst>
      </pc:sldChg>
      <pc:sldChg chg="add del">
        <pc:chgData name="Bloesch, Troy" userId="d0937869-bb19-47f1-b7cb-e4344a414307" providerId="ADAL" clId="{0B9E4739-E43A-4485-B480-0870AB84DD6D}" dt="2025-12-05T19:20:31.376" v="877" actId="47"/>
        <pc:sldMkLst>
          <pc:docMk/>
          <pc:sldMk cId="902491723" sldId="343"/>
        </pc:sldMkLst>
      </pc:sldChg>
      <pc:sldChg chg="del">
        <pc:chgData name="Bloesch, Troy" userId="d0937869-bb19-47f1-b7cb-e4344a414307" providerId="ADAL" clId="{0B9E4739-E43A-4485-B480-0870AB84DD6D}" dt="2025-12-05T19:05:24.669" v="486" actId="2696"/>
        <pc:sldMkLst>
          <pc:docMk/>
          <pc:sldMk cId="1953992707" sldId="343"/>
        </pc:sldMkLst>
      </pc:sldChg>
      <pc:sldChg chg="del">
        <pc:chgData name="Bloesch, Troy" userId="d0937869-bb19-47f1-b7cb-e4344a414307" providerId="ADAL" clId="{0B9E4739-E43A-4485-B480-0870AB84DD6D}" dt="2025-12-05T19:05:24.669" v="486" actId="2696"/>
        <pc:sldMkLst>
          <pc:docMk/>
          <pc:sldMk cId="2297188790" sldId="344"/>
        </pc:sldMkLst>
      </pc:sldChg>
      <pc:sldChg chg="add del">
        <pc:chgData name="Bloesch, Troy" userId="d0937869-bb19-47f1-b7cb-e4344a414307" providerId="ADAL" clId="{0B9E4739-E43A-4485-B480-0870AB84DD6D}" dt="2025-12-05T19:20:31.246" v="876" actId="47"/>
        <pc:sldMkLst>
          <pc:docMk/>
          <pc:sldMk cId="2413129580" sldId="344"/>
        </pc:sldMkLst>
      </pc:sldChg>
      <pc:sldChg chg="del">
        <pc:chgData name="Bloesch, Troy" userId="d0937869-bb19-47f1-b7cb-e4344a414307" providerId="ADAL" clId="{0B9E4739-E43A-4485-B480-0870AB84DD6D}" dt="2025-12-05T19:05:24.669" v="486" actId="2696"/>
        <pc:sldMkLst>
          <pc:docMk/>
          <pc:sldMk cId="1327395463" sldId="345"/>
        </pc:sldMkLst>
      </pc:sldChg>
      <pc:sldChg chg="add del">
        <pc:chgData name="Bloesch, Troy" userId="d0937869-bb19-47f1-b7cb-e4344a414307" providerId="ADAL" clId="{0B9E4739-E43A-4485-B480-0870AB84DD6D}" dt="2025-12-05T19:20:31.030" v="875" actId="47"/>
        <pc:sldMkLst>
          <pc:docMk/>
          <pc:sldMk cId="1378808830" sldId="345"/>
        </pc:sldMkLst>
      </pc:sldChg>
      <pc:sldChg chg="del mod ord modShow">
        <pc:chgData name="Bloesch, Troy" userId="d0937869-bb19-47f1-b7cb-e4344a414307" providerId="ADAL" clId="{0B9E4739-E43A-4485-B480-0870AB84DD6D}" dt="2025-12-05T21:19:04.966" v="5599" actId="47"/>
        <pc:sldMkLst>
          <pc:docMk/>
          <pc:sldMk cId="250765560" sldId="348"/>
        </pc:sldMkLst>
      </pc:sldChg>
      <pc:sldChg chg="del">
        <pc:chgData name="Bloesch, Troy" userId="d0937869-bb19-47f1-b7cb-e4344a414307" providerId="ADAL" clId="{0B9E4739-E43A-4485-B480-0870AB84DD6D}" dt="2025-12-05T19:05:24.669" v="486" actId="2696"/>
        <pc:sldMkLst>
          <pc:docMk/>
          <pc:sldMk cId="910902459" sldId="351"/>
        </pc:sldMkLst>
      </pc:sldChg>
      <pc:sldChg chg="add del">
        <pc:chgData name="Bloesch, Troy" userId="d0937869-bb19-47f1-b7cb-e4344a414307" providerId="ADAL" clId="{0B9E4739-E43A-4485-B480-0870AB84DD6D}" dt="2025-12-05T21:19:11.524" v="5612" actId="47"/>
        <pc:sldMkLst>
          <pc:docMk/>
          <pc:sldMk cId="1503453864" sldId="351"/>
        </pc:sldMkLst>
      </pc:sldChg>
      <pc:sldChg chg="del">
        <pc:chgData name="Bloesch, Troy" userId="d0937869-bb19-47f1-b7cb-e4344a414307" providerId="ADAL" clId="{0B9E4739-E43A-4485-B480-0870AB84DD6D}" dt="2025-12-05T19:05:24.669" v="486" actId="2696"/>
        <pc:sldMkLst>
          <pc:docMk/>
          <pc:sldMk cId="3839043530" sldId="352"/>
        </pc:sldMkLst>
      </pc:sldChg>
      <pc:sldChg chg="add del">
        <pc:chgData name="Bloesch, Troy" userId="d0937869-bb19-47f1-b7cb-e4344a414307" providerId="ADAL" clId="{0B9E4739-E43A-4485-B480-0870AB84DD6D}" dt="2025-12-05T21:19:11.746" v="5613" actId="47"/>
        <pc:sldMkLst>
          <pc:docMk/>
          <pc:sldMk cId="3898417745" sldId="352"/>
        </pc:sldMkLst>
      </pc:sldChg>
      <pc:sldChg chg="del">
        <pc:chgData name="Bloesch, Troy" userId="d0937869-bb19-47f1-b7cb-e4344a414307" providerId="ADAL" clId="{0B9E4739-E43A-4485-B480-0870AB84DD6D}" dt="2025-12-05T21:04:01.107" v="4981" actId="47"/>
        <pc:sldMkLst>
          <pc:docMk/>
          <pc:sldMk cId="1543457547" sldId="356"/>
        </pc:sldMkLst>
      </pc:sldChg>
      <pc:sldChg chg="add del">
        <pc:chgData name="Bloesch, Troy" userId="d0937869-bb19-47f1-b7cb-e4344a414307" providerId="ADAL" clId="{0B9E4739-E43A-4485-B480-0870AB84DD6D}" dt="2025-12-05T19:20:51.615" v="907" actId="47"/>
        <pc:sldMkLst>
          <pc:docMk/>
          <pc:sldMk cId="3147429595" sldId="357"/>
        </pc:sldMkLst>
      </pc:sldChg>
      <pc:sldChg chg="del">
        <pc:chgData name="Bloesch, Troy" userId="d0937869-bb19-47f1-b7cb-e4344a414307" providerId="ADAL" clId="{0B9E4739-E43A-4485-B480-0870AB84DD6D}" dt="2025-12-05T19:05:24.669" v="486" actId="2696"/>
        <pc:sldMkLst>
          <pc:docMk/>
          <pc:sldMk cId="3223024343" sldId="357"/>
        </pc:sldMkLst>
      </pc:sldChg>
      <pc:sldChg chg="del">
        <pc:chgData name="Bloesch, Troy" userId="d0937869-bb19-47f1-b7cb-e4344a414307" providerId="ADAL" clId="{0B9E4739-E43A-4485-B480-0870AB84DD6D}" dt="2025-12-05T19:05:24.669" v="486" actId="2696"/>
        <pc:sldMkLst>
          <pc:docMk/>
          <pc:sldMk cId="2262253126" sldId="358"/>
        </pc:sldMkLst>
      </pc:sldChg>
      <pc:sldChg chg="add del">
        <pc:chgData name="Bloesch, Troy" userId="d0937869-bb19-47f1-b7cb-e4344a414307" providerId="ADAL" clId="{0B9E4739-E43A-4485-B480-0870AB84DD6D}" dt="2025-12-05T19:20:32.112" v="881" actId="47"/>
        <pc:sldMkLst>
          <pc:docMk/>
          <pc:sldMk cId="4142260261" sldId="358"/>
        </pc:sldMkLst>
      </pc:sldChg>
      <pc:sldChg chg="add del">
        <pc:chgData name="Bloesch, Troy" userId="d0937869-bb19-47f1-b7cb-e4344a414307" providerId="ADAL" clId="{0B9E4739-E43A-4485-B480-0870AB84DD6D}" dt="2025-12-05T19:20:31.925" v="880" actId="47"/>
        <pc:sldMkLst>
          <pc:docMk/>
          <pc:sldMk cId="883524424" sldId="359"/>
        </pc:sldMkLst>
      </pc:sldChg>
      <pc:sldChg chg="del">
        <pc:chgData name="Bloesch, Troy" userId="d0937869-bb19-47f1-b7cb-e4344a414307" providerId="ADAL" clId="{0B9E4739-E43A-4485-B480-0870AB84DD6D}" dt="2025-12-05T19:05:24.669" v="486" actId="2696"/>
        <pc:sldMkLst>
          <pc:docMk/>
          <pc:sldMk cId="1950366739" sldId="359"/>
        </pc:sldMkLst>
      </pc:sldChg>
      <pc:sldChg chg="del">
        <pc:chgData name="Bloesch, Troy" userId="d0937869-bb19-47f1-b7cb-e4344a414307" providerId="ADAL" clId="{0B9E4739-E43A-4485-B480-0870AB84DD6D}" dt="2025-12-05T19:05:24.669" v="486" actId="2696"/>
        <pc:sldMkLst>
          <pc:docMk/>
          <pc:sldMk cId="1105364859" sldId="361"/>
        </pc:sldMkLst>
      </pc:sldChg>
      <pc:sldChg chg="add del">
        <pc:chgData name="Bloesch, Troy" userId="d0937869-bb19-47f1-b7cb-e4344a414307" providerId="ADAL" clId="{0B9E4739-E43A-4485-B480-0870AB84DD6D}" dt="2025-12-05T21:19:11.014" v="5610" actId="47"/>
        <pc:sldMkLst>
          <pc:docMk/>
          <pc:sldMk cId="2548195025" sldId="361"/>
        </pc:sldMkLst>
      </pc:sldChg>
      <pc:sldChg chg="del">
        <pc:chgData name="Bloesch, Troy" userId="d0937869-bb19-47f1-b7cb-e4344a414307" providerId="ADAL" clId="{0B9E4739-E43A-4485-B480-0870AB84DD6D}" dt="2025-12-05T19:05:45.244" v="488" actId="2696"/>
        <pc:sldMkLst>
          <pc:docMk/>
          <pc:sldMk cId="828020107" sldId="362"/>
        </pc:sldMkLst>
      </pc:sldChg>
      <pc:sldChg chg="add del">
        <pc:chgData name="Bloesch, Troy" userId="d0937869-bb19-47f1-b7cb-e4344a414307" providerId="ADAL" clId="{0B9E4739-E43A-4485-B480-0870AB84DD6D}" dt="2025-12-05T19:20:30.646" v="873" actId="47"/>
        <pc:sldMkLst>
          <pc:docMk/>
          <pc:sldMk cId="2498653167" sldId="362"/>
        </pc:sldMkLst>
      </pc:sldChg>
      <pc:sldChg chg="del mod ord modShow">
        <pc:chgData name="Bloesch, Troy" userId="d0937869-bb19-47f1-b7cb-e4344a414307" providerId="ADAL" clId="{0B9E4739-E43A-4485-B480-0870AB84DD6D}" dt="2025-12-05T21:04:00.672" v="4980" actId="47"/>
        <pc:sldMkLst>
          <pc:docMk/>
          <pc:sldMk cId="452762657" sldId="364"/>
        </pc:sldMkLst>
      </pc:sldChg>
      <pc:sldChg chg="del">
        <pc:chgData name="Bloesch, Troy" userId="d0937869-bb19-47f1-b7cb-e4344a414307" providerId="ADAL" clId="{0B9E4739-E43A-4485-B480-0870AB84DD6D}" dt="2025-12-05T19:05:45.244" v="488" actId="2696"/>
        <pc:sldMkLst>
          <pc:docMk/>
          <pc:sldMk cId="374374163" sldId="367"/>
        </pc:sldMkLst>
      </pc:sldChg>
      <pc:sldChg chg="add del">
        <pc:chgData name="Bloesch, Troy" userId="d0937869-bb19-47f1-b7cb-e4344a414307" providerId="ADAL" clId="{0B9E4739-E43A-4485-B480-0870AB84DD6D}" dt="2025-12-05T19:20:30.339" v="872" actId="47"/>
        <pc:sldMkLst>
          <pc:docMk/>
          <pc:sldMk cId="3024580278" sldId="367"/>
        </pc:sldMkLst>
      </pc:sldChg>
      <pc:sldChg chg="add del">
        <pc:chgData name="Bloesch, Troy" userId="d0937869-bb19-47f1-b7cb-e4344a414307" providerId="ADAL" clId="{0B9E4739-E43A-4485-B480-0870AB84DD6D}" dt="2025-12-05T21:19:09.319" v="5604" actId="47"/>
        <pc:sldMkLst>
          <pc:docMk/>
          <pc:sldMk cId="809520038" sldId="368"/>
        </pc:sldMkLst>
      </pc:sldChg>
      <pc:sldChg chg="del">
        <pc:chgData name="Bloesch, Troy" userId="d0937869-bb19-47f1-b7cb-e4344a414307" providerId="ADAL" clId="{0B9E4739-E43A-4485-B480-0870AB84DD6D}" dt="2025-12-05T19:05:24.669" v="486" actId="2696"/>
        <pc:sldMkLst>
          <pc:docMk/>
          <pc:sldMk cId="3542178160" sldId="368"/>
        </pc:sldMkLst>
      </pc:sldChg>
      <pc:sldChg chg="add del">
        <pc:chgData name="Bloesch, Troy" userId="d0937869-bb19-47f1-b7cb-e4344a414307" providerId="ADAL" clId="{0B9E4739-E43A-4485-B480-0870AB84DD6D}" dt="2025-12-05T21:19:09.737" v="5605" actId="47"/>
        <pc:sldMkLst>
          <pc:docMk/>
          <pc:sldMk cId="500420432" sldId="369"/>
        </pc:sldMkLst>
      </pc:sldChg>
      <pc:sldChg chg="del">
        <pc:chgData name="Bloesch, Troy" userId="d0937869-bb19-47f1-b7cb-e4344a414307" providerId="ADAL" clId="{0B9E4739-E43A-4485-B480-0870AB84DD6D}" dt="2025-12-05T19:05:24.669" v="486" actId="2696"/>
        <pc:sldMkLst>
          <pc:docMk/>
          <pc:sldMk cId="3385606139" sldId="369"/>
        </pc:sldMkLst>
      </pc:sldChg>
      <pc:sldChg chg="del">
        <pc:chgData name="Bloesch, Troy" userId="d0937869-bb19-47f1-b7cb-e4344a414307" providerId="ADAL" clId="{0B9E4739-E43A-4485-B480-0870AB84DD6D}" dt="2025-12-05T19:05:24.669" v="486" actId="2696"/>
        <pc:sldMkLst>
          <pc:docMk/>
          <pc:sldMk cId="1672926136" sldId="372"/>
        </pc:sldMkLst>
      </pc:sldChg>
      <pc:sldChg chg="add del">
        <pc:chgData name="Bloesch, Troy" userId="d0937869-bb19-47f1-b7cb-e4344a414307" providerId="ADAL" clId="{0B9E4739-E43A-4485-B480-0870AB84DD6D}" dt="2025-12-05T19:20:38.794" v="900" actId="47"/>
        <pc:sldMkLst>
          <pc:docMk/>
          <pc:sldMk cId="2648798768" sldId="372"/>
        </pc:sldMkLst>
      </pc:sldChg>
      <pc:sldChg chg="add del">
        <pc:chgData name="Bloesch, Troy" userId="d0937869-bb19-47f1-b7cb-e4344a414307" providerId="ADAL" clId="{0B9E4739-E43A-4485-B480-0870AB84DD6D}" dt="2025-12-05T19:20:42.719" v="904" actId="47"/>
        <pc:sldMkLst>
          <pc:docMk/>
          <pc:sldMk cId="834153634" sldId="376"/>
        </pc:sldMkLst>
      </pc:sldChg>
      <pc:sldChg chg="del">
        <pc:chgData name="Bloesch, Troy" userId="d0937869-bb19-47f1-b7cb-e4344a414307" providerId="ADAL" clId="{0B9E4739-E43A-4485-B480-0870AB84DD6D}" dt="2025-12-05T19:05:24.669" v="486" actId="2696"/>
        <pc:sldMkLst>
          <pc:docMk/>
          <pc:sldMk cId="3256819678" sldId="376"/>
        </pc:sldMkLst>
      </pc:sldChg>
      <pc:sldChg chg="add del">
        <pc:chgData name="Bloesch, Troy" userId="d0937869-bb19-47f1-b7cb-e4344a414307" providerId="ADAL" clId="{0B9E4739-E43A-4485-B480-0870AB84DD6D}" dt="2025-12-05T19:20:41.751" v="903" actId="47"/>
        <pc:sldMkLst>
          <pc:docMk/>
          <pc:sldMk cId="3057073219" sldId="377"/>
        </pc:sldMkLst>
      </pc:sldChg>
      <pc:sldChg chg="del">
        <pc:chgData name="Bloesch, Troy" userId="d0937869-bb19-47f1-b7cb-e4344a414307" providerId="ADAL" clId="{0B9E4739-E43A-4485-B480-0870AB84DD6D}" dt="2025-12-05T19:05:24.669" v="486" actId="2696"/>
        <pc:sldMkLst>
          <pc:docMk/>
          <pc:sldMk cId="3540593863" sldId="377"/>
        </pc:sldMkLst>
      </pc:sldChg>
      <pc:sldChg chg="del">
        <pc:chgData name="Bloesch, Troy" userId="d0937869-bb19-47f1-b7cb-e4344a414307" providerId="ADAL" clId="{0B9E4739-E43A-4485-B480-0870AB84DD6D}" dt="2025-12-05T19:05:24.669" v="486" actId="2696"/>
        <pc:sldMkLst>
          <pc:docMk/>
          <pc:sldMk cId="892361839" sldId="380"/>
        </pc:sldMkLst>
      </pc:sldChg>
      <pc:sldChg chg="add del">
        <pc:chgData name="Bloesch, Troy" userId="d0937869-bb19-47f1-b7cb-e4344a414307" providerId="ADAL" clId="{0B9E4739-E43A-4485-B480-0870AB84DD6D}" dt="2025-12-05T19:20:34.778" v="895" actId="47"/>
        <pc:sldMkLst>
          <pc:docMk/>
          <pc:sldMk cId="1717546628" sldId="380"/>
        </pc:sldMkLst>
      </pc:sldChg>
      <pc:sldChg chg="del">
        <pc:chgData name="Bloesch, Troy" userId="d0937869-bb19-47f1-b7cb-e4344a414307" providerId="ADAL" clId="{0B9E4739-E43A-4485-B480-0870AB84DD6D}" dt="2025-12-05T19:05:24.669" v="486" actId="2696"/>
        <pc:sldMkLst>
          <pc:docMk/>
          <pc:sldMk cId="2528108484" sldId="381"/>
        </pc:sldMkLst>
      </pc:sldChg>
      <pc:sldChg chg="add del">
        <pc:chgData name="Bloesch, Troy" userId="d0937869-bb19-47f1-b7cb-e4344a414307" providerId="ADAL" clId="{0B9E4739-E43A-4485-B480-0870AB84DD6D}" dt="2025-12-05T19:20:33.480" v="888" actId="47"/>
        <pc:sldMkLst>
          <pc:docMk/>
          <pc:sldMk cId="3804204134" sldId="381"/>
        </pc:sldMkLst>
      </pc:sldChg>
      <pc:sldChg chg="del">
        <pc:chgData name="Bloesch, Troy" userId="d0937869-bb19-47f1-b7cb-e4344a414307" providerId="ADAL" clId="{0B9E4739-E43A-4485-B480-0870AB84DD6D}" dt="2025-12-05T19:05:24.669" v="486" actId="2696"/>
        <pc:sldMkLst>
          <pc:docMk/>
          <pc:sldMk cId="382631251" sldId="382"/>
        </pc:sldMkLst>
      </pc:sldChg>
      <pc:sldChg chg="add del">
        <pc:chgData name="Bloesch, Troy" userId="d0937869-bb19-47f1-b7cb-e4344a414307" providerId="ADAL" clId="{0B9E4739-E43A-4485-B480-0870AB84DD6D}" dt="2025-12-05T19:20:34.999" v="896" actId="47"/>
        <pc:sldMkLst>
          <pc:docMk/>
          <pc:sldMk cId="577191886" sldId="382"/>
        </pc:sldMkLst>
      </pc:sldChg>
      <pc:sldChg chg="del">
        <pc:chgData name="Bloesch, Troy" userId="d0937869-bb19-47f1-b7cb-e4344a414307" providerId="ADAL" clId="{0B9E4739-E43A-4485-B480-0870AB84DD6D}" dt="2025-12-05T19:05:24.669" v="486" actId="2696"/>
        <pc:sldMkLst>
          <pc:docMk/>
          <pc:sldMk cId="2483777477" sldId="384"/>
        </pc:sldMkLst>
      </pc:sldChg>
      <pc:sldChg chg="add del">
        <pc:chgData name="Bloesch, Troy" userId="d0937869-bb19-47f1-b7cb-e4344a414307" providerId="ADAL" clId="{0B9E4739-E43A-4485-B480-0870AB84DD6D}" dt="2025-12-05T19:20:34.213" v="892" actId="47"/>
        <pc:sldMkLst>
          <pc:docMk/>
          <pc:sldMk cId="4131416500" sldId="384"/>
        </pc:sldMkLst>
      </pc:sldChg>
      <pc:sldChg chg="add del">
        <pc:chgData name="Bloesch, Troy" userId="d0937869-bb19-47f1-b7cb-e4344a414307" providerId="ADAL" clId="{0B9E4739-E43A-4485-B480-0870AB84DD6D}" dt="2025-12-05T19:20:34.362" v="893" actId="47"/>
        <pc:sldMkLst>
          <pc:docMk/>
          <pc:sldMk cId="964687823" sldId="385"/>
        </pc:sldMkLst>
      </pc:sldChg>
      <pc:sldChg chg="del">
        <pc:chgData name="Bloesch, Troy" userId="d0937869-bb19-47f1-b7cb-e4344a414307" providerId="ADAL" clId="{0B9E4739-E43A-4485-B480-0870AB84DD6D}" dt="2025-12-05T19:05:24.669" v="486" actId="2696"/>
        <pc:sldMkLst>
          <pc:docMk/>
          <pc:sldMk cId="2567895928" sldId="385"/>
        </pc:sldMkLst>
      </pc:sldChg>
      <pc:sldChg chg="add del">
        <pc:chgData name="Bloesch, Troy" userId="d0937869-bb19-47f1-b7cb-e4344a414307" providerId="ADAL" clId="{0B9E4739-E43A-4485-B480-0870AB84DD6D}" dt="2025-12-05T19:20:34" v="891" actId="47"/>
        <pc:sldMkLst>
          <pc:docMk/>
          <pc:sldMk cId="1821741464" sldId="386"/>
        </pc:sldMkLst>
      </pc:sldChg>
      <pc:sldChg chg="del">
        <pc:chgData name="Bloesch, Troy" userId="d0937869-bb19-47f1-b7cb-e4344a414307" providerId="ADAL" clId="{0B9E4739-E43A-4485-B480-0870AB84DD6D}" dt="2025-12-05T19:05:24.669" v="486" actId="2696"/>
        <pc:sldMkLst>
          <pc:docMk/>
          <pc:sldMk cId="2826914906" sldId="386"/>
        </pc:sldMkLst>
      </pc:sldChg>
      <pc:sldChg chg="add del">
        <pc:chgData name="Bloesch, Troy" userId="d0937869-bb19-47f1-b7cb-e4344a414307" providerId="ADAL" clId="{0B9E4739-E43A-4485-B480-0870AB84DD6D}" dt="2025-12-05T19:20:33.801" v="890" actId="47"/>
        <pc:sldMkLst>
          <pc:docMk/>
          <pc:sldMk cId="1019498305" sldId="387"/>
        </pc:sldMkLst>
      </pc:sldChg>
      <pc:sldChg chg="del">
        <pc:chgData name="Bloesch, Troy" userId="d0937869-bb19-47f1-b7cb-e4344a414307" providerId="ADAL" clId="{0B9E4739-E43A-4485-B480-0870AB84DD6D}" dt="2025-12-05T19:05:24.669" v="486" actId="2696"/>
        <pc:sldMkLst>
          <pc:docMk/>
          <pc:sldMk cId="1342837804" sldId="387"/>
        </pc:sldMkLst>
      </pc:sldChg>
      <pc:sldChg chg="del">
        <pc:chgData name="Bloesch, Troy" userId="d0937869-bb19-47f1-b7cb-e4344a414307" providerId="ADAL" clId="{0B9E4739-E43A-4485-B480-0870AB84DD6D}" dt="2025-12-05T19:05:24.669" v="486" actId="2696"/>
        <pc:sldMkLst>
          <pc:docMk/>
          <pc:sldMk cId="202144664" sldId="393"/>
        </pc:sldMkLst>
      </pc:sldChg>
      <pc:sldChg chg="add del">
        <pc:chgData name="Bloesch, Troy" userId="d0937869-bb19-47f1-b7cb-e4344a414307" providerId="ADAL" clId="{0B9E4739-E43A-4485-B480-0870AB84DD6D}" dt="2025-12-05T19:20:35.179" v="897" actId="47"/>
        <pc:sldMkLst>
          <pc:docMk/>
          <pc:sldMk cId="861663502" sldId="393"/>
        </pc:sldMkLst>
      </pc:sldChg>
      <pc:sldChg chg="del mod ord modShow">
        <pc:chgData name="Bloesch, Troy" userId="d0937869-bb19-47f1-b7cb-e4344a414307" providerId="ADAL" clId="{0B9E4739-E43A-4485-B480-0870AB84DD6D}" dt="2025-12-05T21:19:05.758" v="5600" actId="47"/>
        <pc:sldMkLst>
          <pc:docMk/>
          <pc:sldMk cId="928378230" sldId="395"/>
        </pc:sldMkLst>
      </pc:sldChg>
      <pc:sldChg chg="del ord">
        <pc:chgData name="Bloesch, Troy" userId="d0937869-bb19-47f1-b7cb-e4344a414307" providerId="ADAL" clId="{0B9E4739-E43A-4485-B480-0870AB84DD6D}" dt="2025-12-05T21:19:03.948" v="5598" actId="47"/>
        <pc:sldMkLst>
          <pc:docMk/>
          <pc:sldMk cId="3008778504" sldId="396"/>
        </pc:sldMkLst>
      </pc:sldChg>
      <pc:sldChg chg="del mod ord modShow">
        <pc:chgData name="Bloesch, Troy" userId="d0937869-bb19-47f1-b7cb-e4344a414307" providerId="ADAL" clId="{0B9E4739-E43A-4485-B480-0870AB84DD6D}" dt="2025-12-05T21:19:06.786" v="5602" actId="47"/>
        <pc:sldMkLst>
          <pc:docMk/>
          <pc:sldMk cId="1750376452" sldId="397"/>
        </pc:sldMkLst>
      </pc:sldChg>
      <pc:sldChg chg="del mod modShow">
        <pc:chgData name="Bloesch, Troy" userId="d0937869-bb19-47f1-b7cb-e4344a414307" providerId="ADAL" clId="{0B9E4739-E43A-4485-B480-0870AB84DD6D}" dt="2025-12-05T21:19:07.521" v="5603" actId="47"/>
        <pc:sldMkLst>
          <pc:docMk/>
          <pc:sldMk cId="854201239" sldId="400"/>
        </pc:sldMkLst>
      </pc:sldChg>
      <pc:sldChg chg="del">
        <pc:chgData name="Bloesch, Troy" userId="d0937869-bb19-47f1-b7cb-e4344a414307" providerId="ADAL" clId="{0B9E4739-E43A-4485-B480-0870AB84DD6D}" dt="2025-12-05T19:05:24.669" v="486" actId="2696"/>
        <pc:sldMkLst>
          <pc:docMk/>
          <pc:sldMk cId="1712283916" sldId="432"/>
        </pc:sldMkLst>
      </pc:sldChg>
      <pc:sldChg chg="add del">
        <pc:chgData name="Bloesch, Troy" userId="d0937869-bb19-47f1-b7cb-e4344a414307" providerId="ADAL" clId="{0B9E4739-E43A-4485-B480-0870AB84DD6D}" dt="2025-12-05T21:19:10.322" v="5608" actId="47"/>
        <pc:sldMkLst>
          <pc:docMk/>
          <pc:sldMk cId="2993389483" sldId="432"/>
        </pc:sldMkLst>
      </pc:sldChg>
      <pc:sldChg chg="del">
        <pc:chgData name="Bloesch, Troy" userId="d0937869-bb19-47f1-b7cb-e4344a414307" providerId="ADAL" clId="{0B9E4739-E43A-4485-B480-0870AB84DD6D}" dt="2025-12-05T19:05:24.669" v="486" actId="2696"/>
        <pc:sldMkLst>
          <pc:docMk/>
          <pc:sldMk cId="964433209" sldId="445"/>
        </pc:sldMkLst>
      </pc:sldChg>
      <pc:sldChg chg="add del">
        <pc:chgData name="Bloesch, Troy" userId="d0937869-bb19-47f1-b7cb-e4344a414307" providerId="ADAL" clId="{0B9E4739-E43A-4485-B480-0870AB84DD6D}" dt="2025-12-05T21:19:09.980" v="5606" actId="47"/>
        <pc:sldMkLst>
          <pc:docMk/>
          <pc:sldMk cId="1234764322" sldId="445"/>
        </pc:sldMkLst>
      </pc:sldChg>
      <pc:sldChg chg="del">
        <pc:chgData name="Bloesch, Troy" userId="d0937869-bb19-47f1-b7cb-e4344a414307" providerId="ADAL" clId="{0B9E4739-E43A-4485-B480-0870AB84DD6D}" dt="2025-12-05T19:05:24.669" v="486" actId="2696"/>
        <pc:sldMkLst>
          <pc:docMk/>
          <pc:sldMk cId="2969431875" sldId="447"/>
        </pc:sldMkLst>
      </pc:sldChg>
      <pc:sldChg chg="add del">
        <pc:chgData name="Bloesch, Troy" userId="d0937869-bb19-47f1-b7cb-e4344a414307" providerId="ADAL" clId="{0B9E4739-E43A-4485-B480-0870AB84DD6D}" dt="2025-12-05T21:19:10.224" v="5607" actId="47"/>
        <pc:sldMkLst>
          <pc:docMk/>
          <pc:sldMk cId="3218543507" sldId="447"/>
        </pc:sldMkLst>
      </pc:sldChg>
      <pc:sldChg chg="del">
        <pc:chgData name="Bloesch, Troy" userId="d0937869-bb19-47f1-b7cb-e4344a414307" providerId="ADAL" clId="{0B9E4739-E43A-4485-B480-0870AB84DD6D}" dt="2025-12-05T21:19:06.257" v="5601" actId="47"/>
        <pc:sldMkLst>
          <pc:docMk/>
          <pc:sldMk cId="1675089711" sldId="464"/>
        </pc:sldMkLst>
      </pc:sldChg>
      <pc:sldChg chg="addSp delSp modSp add mod">
        <pc:chgData name="Bloesch, Troy" userId="d0937869-bb19-47f1-b7cb-e4344a414307" providerId="ADAL" clId="{0B9E4739-E43A-4485-B480-0870AB84DD6D}" dt="2025-12-05T19:39:51.626" v="1438" actId="313"/>
        <pc:sldMkLst>
          <pc:docMk/>
          <pc:sldMk cId="1330990130" sldId="6454"/>
        </pc:sldMkLst>
        <pc:spChg chg="mod">
          <ac:chgData name="Bloesch, Troy" userId="d0937869-bb19-47f1-b7cb-e4344a414307" providerId="ADAL" clId="{0B9E4739-E43A-4485-B480-0870AB84DD6D}" dt="2025-12-05T19:39:31.269" v="1413" actId="20577"/>
          <ac:spMkLst>
            <pc:docMk/>
            <pc:sldMk cId="1330990130" sldId="6454"/>
            <ac:spMk id="2" creationId="{79323024-CF2A-C69A-808B-4BA6710B84F7}"/>
          </ac:spMkLst>
        </pc:spChg>
        <pc:spChg chg="mod">
          <ac:chgData name="Bloesch, Troy" userId="d0937869-bb19-47f1-b7cb-e4344a414307" providerId="ADAL" clId="{0B9E4739-E43A-4485-B480-0870AB84DD6D}" dt="2025-12-05T19:39:25.775" v="1403" actId="1076"/>
          <ac:spMkLst>
            <pc:docMk/>
            <pc:sldMk cId="1330990130" sldId="6454"/>
            <ac:spMk id="3" creationId="{4730B951-42E5-0E9B-C8D4-1B8BC2D64F9F}"/>
          </ac:spMkLst>
        </pc:spChg>
        <pc:spChg chg="mod">
          <ac:chgData name="Bloesch, Troy" userId="d0937869-bb19-47f1-b7cb-e4344a414307" providerId="ADAL" clId="{0B9E4739-E43A-4485-B480-0870AB84DD6D}" dt="2025-12-05T19:39:20.656" v="1367" actId="948"/>
          <ac:spMkLst>
            <pc:docMk/>
            <pc:sldMk cId="1330990130" sldId="6454"/>
            <ac:spMk id="4" creationId="{5E123FEB-F547-BCF8-124B-DD2E13B2EA59}"/>
          </ac:spMkLst>
        </pc:spChg>
        <pc:spChg chg="mod">
          <ac:chgData name="Bloesch, Troy" userId="d0937869-bb19-47f1-b7cb-e4344a414307" providerId="ADAL" clId="{0B9E4739-E43A-4485-B480-0870AB84DD6D}" dt="2025-12-05T19:39:51.626" v="1438" actId="313"/>
          <ac:spMkLst>
            <pc:docMk/>
            <pc:sldMk cId="1330990130" sldId="6454"/>
            <ac:spMk id="5" creationId="{803F6D5E-8A23-9E71-1187-1A4DDA8644EB}"/>
          </ac:spMkLst>
        </pc:spChg>
        <pc:spChg chg="add del mod modVis">
          <ac:chgData name="Bloesch, Troy" userId="d0937869-bb19-47f1-b7cb-e4344a414307" providerId="ADAL" clId="{0B9E4739-E43A-4485-B480-0870AB84DD6D}" dt="2025-12-05T19:39:15.078" v="1365"/>
          <ac:spMkLst>
            <pc:docMk/>
            <pc:sldMk cId="1330990130" sldId="6454"/>
            <ac:spMk id="6" creationId="{7CA9DA78-C5B9-3C08-32A3-B8B1255A5181}"/>
          </ac:spMkLst>
        </pc:spChg>
        <pc:spChg chg="add del mod modVis">
          <ac:chgData name="Bloesch, Troy" userId="d0937869-bb19-47f1-b7cb-e4344a414307" providerId="ADAL" clId="{0B9E4739-E43A-4485-B480-0870AB84DD6D}" dt="2025-12-05T19:39:20.692" v="1388"/>
          <ac:spMkLst>
            <pc:docMk/>
            <pc:sldMk cId="1330990130" sldId="6454"/>
            <ac:spMk id="8" creationId="{334FC873-9FF1-B650-906F-0DD6CE8CD512}"/>
          </ac:spMkLst>
        </pc:spChg>
        <pc:spChg chg="mod">
          <ac:chgData name="Bloesch, Troy" userId="d0937869-bb19-47f1-b7cb-e4344a414307" providerId="ADAL" clId="{0B9E4739-E43A-4485-B480-0870AB84DD6D}" dt="2025-12-05T19:39:25.775" v="1403" actId="1076"/>
          <ac:spMkLst>
            <pc:docMk/>
            <pc:sldMk cId="1330990130" sldId="6454"/>
            <ac:spMk id="105" creationId="{5B82D226-79E9-0448-0C98-8562AB07A561}"/>
          </ac:spMkLst>
        </pc:spChg>
        <pc:graphicFrameChg chg="add mod ord modVis">
          <ac:chgData name="Bloesch, Troy" userId="d0937869-bb19-47f1-b7cb-e4344a414307" providerId="ADAL" clId="{0B9E4739-E43A-4485-B480-0870AB84DD6D}" dt="2025-12-05T19:39:15.078" v="1365"/>
          <ac:graphicFrameMkLst>
            <pc:docMk/>
            <pc:sldMk cId="1330990130" sldId="6454"/>
            <ac:graphicFrameMk id="7" creationId="{F1FEC74B-AA4B-A520-96B2-FC6B07A3CBBD}"/>
          </ac:graphicFrameMkLst>
        </pc:graphicFrameChg>
        <pc:graphicFrameChg chg="add mod ord modVis">
          <ac:chgData name="Bloesch, Troy" userId="d0937869-bb19-47f1-b7cb-e4344a414307" providerId="ADAL" clId="{0B9E4739-E43A-4485-B480-0870AB84DD6D}" dt="2025-12-05T19:39:20.752" v="1402"/>
          <ac:graphicFrameMkLst>
            <pc:docMk/>
            <pc:sldMk cId="1330990130" sldId="6454"/>
            <ac:graphicFrameMk id="9" creationId="{A9F93F6A-B480-DBCD-DEDF-C74182F2610C}"/>
          </ac:graphicFrameMkLst>
        </pc:graphicFrameChg>
      </pc:sldChg>
      <pc:sldChg chg="add del">
        <pc:chgData name="Bloesch, Troy" userId="d0937869-bb19-47f1-b7cb-e4344a414307" providerId="ADAL" clId="{0B9E4739-E43A-4485-B480-0870AB84DD6D}" dt="2025-12-05T19:20:30.901" v="874" actId="47"/>
        <pc:sldMkLst>
          <pc:docMk/>
          <pc:sldMk cId="767253387" sldId="2147472603"/>
        </pc:sldMkLst>
      </pc:sldChg>
      <pc:sldChg chg="del">
        <pc:chgData name="Bloesch, Troy" userId="d0937869-bb19-47f1-b7cb-e4344a414307" providerId="ADAL" clId="{0B9E4739-E43A-4485-B480-0870AB84DD6D}" dt="2025-12-05T19:05:24.669" v="486" actId="2696"/>
        <pc:sldMkLst>
          <pc:docMk/>
          <pc:sldMk cId="1521285150" sldId="2147472603"/>
        </pc:sldMkLst>
      </pc:sldChg>
      <pc:sldChg chg="addSp delSp modSp add del mod ord">
        <pc:chgData name="Bloesch, Troy" userId="d0937869-bb19-47f1-b7cb-e4344a414307" providerId="ADAL" clId="{0B9E4739-E43A-4485-B480-0870AB84DD6D}" dt="2025-12-05T19:22:46.766" v="981" actId="47"/>
        <pc:sldMkLst>
          <pc:docMk/>
          <pc:sldMk cId="2458115930" sldId="2147481074"/>
        </pc:sldMkLst>
        <pc:spChg chg="mod">
          <ac:chgData name="Bloesch, Troy" userId="d0937869-bb19-47f1-b7cb-e4344a414307" providerId="ADAL" clId="{0B9E4739-E43A-4485-B480-0870AB84DD6D}" dt="2025-12-05T18:47:08.626" v="262" actId="20577"/>
          <ac:spMkLst>
            <pc:docMk/>
            <pc:sldMk cId="2458115930" sldId="2147481074"/>
            <ac:spMk id="2" creationId="{F9A18687-0674-9B04-476D-958847A2B742}"/>
          </ac:spMkLst>
        </pc:spChg>
        <pc:spChg chg="mod">
          <ac:chgData name="Bloesch, Troy" userId="d0937869-bb19-47f1-b7cb-e4344a414307" providerId="ADAL" clId="{0B9E4739-E43A-4485-B480-0870AB84DD6D}" dt="2025-12-05T18:47:11.541" v="265" actId="20577"/>
          <ac:spMkLst>
            <pc:docMk/>
            <pc:sldMk cId="2458115930" sldId="2147481074"/>
            <ac:spMk id="3" creationId="{BBDDE13C-7F60-8D8D-F1D5-7167A9386EB4}"/>
          </ac:spMkLst>
        </pc:spChg>
        <pc:spChg chg="mod">
          <ac:chgData name="Bloesch, Troy" userId="d0937869-bb19-47f1-b7cb-e4344a414307" providerId="ADAL" clId="{0B9E4739-E43A-4485-B480-0870AB84DD6D}" dt="2025-12-05T18:47:21.592" v="280" actId="20577"/>
          <ac:spMkLst>
            <pc:docMk/>
            <pc:sldMk cId="2458115930" sldId="2147481074"/>
            <ac:spMk id="4" creationId="{A76D5B4F-8D80-7FF7-EA9A-DA8D5E7A825D}"/>
          </ac:spMkLst>
        </pc:spChg>
        <pc:spChg chg="mod">
          <ac:chgData name="Bloesch, Troy" userId="d0937869-bb19-47f1-b7cb-e4344a414307" providerId="ADAL" clId="{0B9E4739-E43A-4485-B480-0870AB84DD6D}" dt="2025-12-05T18:47:32.295" v="339" actId="948"/>
          <ac:spMkLst>
            <pc:docMk/>
            <pc:sldMk cId="2458115930" sldId="2147481074"/>
            <ac:spMk id="5" creationId="{FE93B65F-FF48-A977-3E75-466B9EF6D5CB}"/>
          </ac:spMkLst>
        </pc:spChg>
        <pc:spChg chg="add del mod modVis">
          <ac:chgData name="Bloesch, Troy" userId="d0937869-bb19-47f1-b7cb-e4344a414307" providerId="ADAL" clId="{0B9E4739-E43A-4485-B480-0870AB84DD6D}" dt="2025-12-05T18:47:28.603" v="306"/>
          <ac:spMkLst>
            <pc:docMk/>
            <pc:sldMk cId="2458115930" sldId="2147481074"/>
            <ac:spMk id="6" creationId="{44533A91-243E-6127-92E8-9B0726BE3CB7}"/>
          </ac:spMkLst>
        </pc:spChg>
        <pc:spChg chg="mod">
          <ac:chgData name="Bloesch, Troy" userId="d0937869-bb19-47f1-b7cb-e4344a414307" providerId="ADAL" clId="{0B9E4739-E43A-4485-B480-0870AB84DD6D}" dt="2025-12-05T18:47:02.103" v="253" actId="20577"/>
          <ac:spMkLst>
            <pc:docMk/>
            <pc:sldMk cId="2458115930" sldId="2147481074"/>
            <ac:spMk id="7" creationId="{5C0C020E-79AF-F44E-9F5B-D9A6C9C29398}"/>
          </ac:spMkLst>
        </pc:spChg>
        <pc:spChg chg="mod">
          <ac:chgData name="Bloesch, Troy" userId="d0937869-bb19-47f1-b7cb-e4344a414307" providerId="ADAL" clId="{0B9E4739-E43A-4485-B480-0870AB84DD6D}" dt="2025-12-05T19:22:04.900" v="971" actId="1076"/>
          <ac:spMkLst>
            <pc:docMk/>
            <pc:sldMk cId="2458115930" sldId="2147481074"/>
            <ac:spMk id="9" creationId="{CB71C640-4B0B-FD52-302D-543874800962}"/>
          </ac:spMkLst>
        </pc:spChg>
        <pc:spChg chg="mod">
          <ac:chgData name="Bloesch, Troy" userId="d0937869-bb19-47f1-b7cb-e4344a414307" providerId="ADAL" clId="{0B9E4739-E43A-4485-B480-0870AB84DD6D}" dt="2025-12-05T19:22:04.900" v="971" actId="1076"/>
          <ac:spMkLst>
            <pc:docMk/>
            <pc:sldMk cId="2458115930" sldId="2147481074"/>
            <ac:spMk id="11" creationId="{E1E1A8A1-9406-F58E-1040-526A128E898E}"/>
          </ac:spMkLst>
        </pc:spChg>
        <pc:spChg chg="mod">
          <ac:chgData name="Bloesch, Troy" userId="d0937869-bb19-47f1-b7cb-e4344a414307" providerId="ADAL" clId="{0B9E4739-E43A-4485-B480-0870AB84DD6D}" dt="2025-12-05T19:22:04.900" v="971" actId="1076"/>
          <ac:spMkLst>
            <pc:docMk/>
            <pc:sldMk cId="2458115930" sldId="2147481074"/>
            <ac:spMk id="13" creationId="{D796DBCD-EF81-AE1E-ABB1-E0ED0A91A26F}"/>
          </ac:spMkLst>
        </pc:spChg>
        <pc:spChg chg="add del mod modVis">
          <ac:chgData name="Bloesch, Troy" userId="d0937869-bb19-47f1-b7cb-e4344a414307" providerId="ADAL" clId="{0B9E4739-E43A-4485-B480-0870AB84DD6D}" dt="2025-12-05T18:47:32.362" v="360"/>
          <ac:spMkLst>
            <pc:docMk/>
            <pc:sldMk cId="2458115930" sldId="2147481074"/>
            <ac:spMk id="16" creationId="{BCD7335D-38FA-4953-46C6-E81687F5B7B4}"/>
          </ac:spMkLst>
        </pc:spChg>
        <pc:spChg chg="mod">
          <ac:chgData name="Bloesch, Troy" userId="d0937869-bb19-47f1-b7cb-e4344a414307" providerId="ADAL" clId="{0B9E4739-E43A-4485-B480-0870AB84DD6D}" dt="2025-12-05T19:22:04.900" v="971" actId="1076"/>
          <ac:spMkLst>
            <pc:docMk/>
            <pc:sldMk cId="2458115930" sldId="2147481074"/>
            <ac:spMk id="17" creationId="{DBAE3521-4C71-3F42-C96D-B7B7D3101A13}"/>
          </ac:spMkLst>
        </pc:spChg>
        <pc:spChg chg="mod">
          <ac:chgData name="Bloesch, Troy" userId="d0937869-bb19-47f1-b7cb-e4344a414307" providerId="ADAL" clId="{0B9E4739-E43A-4485-B480-0870AB84DD6D}" dt="2025-12-05T19:22:04.900" v="971" actId="1076"/>
          <ac:spMkLst>
            <pc:docMk/>
            <pc:sldMk cId="2458115930" sldId="2147481074"/>
            <ac:spMk id="18" creationId="{7777E913-56F2-29E0-FBE4-4C7E4DD989ED}"/>
          </ac:spMkLst>
        </pc:spChg>
        <pc:spChg chg="mod">
          <ac:chgData name="Bloesch, Troy" userId="d0937869-bb19-47f1-b7cb-e4344a414307" providerId="ADAL" clId="{0B9E4739-E43A-4485-B480-0870AB84DD6D}" dt="2025-12-05T19:22:04.900" v="971" actId="1076"/>
          <ac:spMkLst>
            <pc:docMk/>
            <pc:sldMk cId="2458115930" sldId="2147481074"/>
            <ac:spMk id="23" creationId="{B9C0B0B8-1B62-3DDC-6234-15E8CF96BCD5}"/>
          </ac:spMkLst>
        </pc:spChg>
        <pc:spChg chg="mod">
          <ac:chgData name="Bloesch, Troy" userId="d0937869-bb19-47f1-b7cb-e4344a414307" providerId="ADAL" clId="{0B9E4739-E43A-4485-B480-0870AB84DD6D}" dt="2025-12-05T19:22:04.900" v="971" actId="1076"/>
          <ac:spMkLst>
            <pc:docMk/>
            <pc:sldMk cId="2458115930" sldId="2147481074"/>
            <ac:spMk id="25" creationId="{5571C286-F56E-14E4-683B-D0AC330AA120}"/>
          </ac:spMkLst>
        </pc:spChg>
        <pc:spChg chg="mod">
          <ac:chgData name="Bloesch, Troy" userId="d0937869-bb19-47f1-b7cb-e4344a414307" providerId="ADAL" clId="{0B9E4739-E43A-4485-B480-0870AB84DD6D}" dt="2025-12-05T19:22:04.900" v="971" actId="1076"/>
          <ac:spMkLst>
            <pc:docMk/>
            <pc:sldMk cId="2458115930" sldId="2147481074"/>
            <ac:spMk id="26" creationId="{04EDE249-5C82-8E87-B1EE-35F12B3005DA}"/>
          </ac:spMkLst>
        </pc:spChg>
        <pc:spChg chg="mod">
          <ac:chgData name="Bloesch, Troy" userId="d0937869-bb19-47f1-b7cb-e4344a414307" providerId="ADAL" clId="{0B9E4739-E43A-4485-B480-0870AB84DD6D}" dt="2025-12-05T18:47:03.882" v="256" actId="20577"/>
          <ac:spMkLst>
            <pc:docMk/>
            <pc:sldMk cId="2458115930" sldId="2147481074"/>
            <ac:spMk id="45" creationId="{F78835D8-B264-41CA-DB38-4F9CF4A08328}"/>
          </ac:spMkLst>
        </pc:spChg>
        <pc:spChg chg="mod">
          <ac:chgData name="Bloesch, Troy" userId="d0937869-bb19-47f1-b7cb-e4344a414307" providerId="ADAL" clId="{0B9E4739-E43A-4485-B480-0870AB84DD6D}" dt="2025-12-05T19:21:39.709" v="935" actId="20577"/>
          <ac:spMkLst>
            <pc:docMk/>
            <pc:sldMk cId="2458115930" sldId="2147481074"/>
            <ac:spMk id="70" creationId="{05E649B3-F2CC-1E75-3A53-017DE62940A5}"/>
          </ac:spMkLst>
        </pc:spChg>
        <pc:spChg chg="mod">
          <ac:chgData name="Bloesch, Troy" userId="d0937869-bb19-47f1-b7cb-e4344a414307" providerId="ADAL" clId="{0B9E4739-E43A-4485-B480-0870AB84DD6D}" dt="2025-12-05T18:47:13.373" v="268" actId="20577"/>
          <ac:spMkLst>
            <pc:docMk/>
            <pc:sldMk cId="2458115930" sldId="2147481074"/>
            <ac:spMk id="116" creationId="{3FB75309-F1BB-102A-2AB0-D162653D0D4A}"/>
          </ac:spMkLst>
        </pc:spChg>
        <pc:spChg chg="mod">
          <ac:chgData name="Bloesch, Troy" userId="d0937869-bb19-47f1-b7cb-e4344a414307" providerId="ADAL" clId="{0B9E4739-E43A-4485-B480-0870AB84DD6D}" dt="2025-12-05T18:47:17.807" v="274" actId="20577"/>
          <ac:spMkLst>
            <pc:docMk/>
            <pc:sldMk cId="2458115930" sldId="2147481074"/>
            <ac:spMk id="117" creationId="{FD28516B-9BCF-83C5-250D-0F16DC07F43C}"/>
          </ac:spMkLst>
        </pc:spChg>
        <pc:spChg chg="mod">
          <ac:chgData name="Bloesch, Troy" userId="d0937869-bb19-47f1-b7cb-e4344a414307" providerId="ADAL" clId="{0B9E4739-E43A-4485-B480-0870AB84DD6D}" dt="2025-12-05T18:47:19.779" v="277" actId="20577"/>
          <ac:spMkLst>
            <pc:docMk/>
            <pc:sldMk cId="2458115930" sldId="2147481074"/>
            <ac:spMk id="137" creationId="{4023DD12-F8FB-EDAD-0968-AB43D5D35F47}"/>
          </ac:spMkLst>
        </pc:spChg>
        <pc:spChg chg="mod">
          <ac:chgData name="Bloesch, Troy" userId="d0937869-bb19-47f1-b7cb-e4344a414307" providerId="ADAL" clId="{0B9E4739-E43A-4485-B480-0870AB84DD6D}" dt="2025-12-05T18:47:05.350" v="259" actId="20577"/>
          <ac:spMkLst>
            <pc:docMk/>
            <pc:sldMk cId="2458115930" sldId="2147481074"/>
            <ac:spMk id="172" creationId="{01C0B5B2-F6BF-174C-7F92-F277B634B560}"/>
          </ac:spMkLst>
        </pc:spChg>
        <pc:spChg chg="mod">
          <ac:chgData name="Bloesch, Troy" userId="d0937869-bb19-47f1-b7cb-e4344a414307" providerId="ADAL" clId="{0B9E4739-E43A-4485-B480-0870AB84DD6D}" dt="2025-12-05T19:21:45.667" v="956" actId="20577"/>
          <ac:spMkLst>
            <pc:docMk/>
            <pc:sldMk cId="2458115930" sldId="2147481074"/>
            <ac:spMk id="288" creationId="{17BC0D60-CB5F-D139-0720-F786AD843129}"/>
          </ac:spMkLst>
        </pc:spChg>
        <pc:spChg chg="mod">
          <ac:chgData name="Bloesch, Troy" userId="d0937869-bb19-47f1-b7cb-e4344a414307" providerId="ADAL" clId="{0B9E4739-E43A-4485-B480-0870AB84DD6D}" dt="2025-12-05T19:21:50.412" v="969" actId="20577"/>
          <ac:spMkLst>
            <pc:docMk/>
            <pc:sldMk cId="2458115930" sldId="2147481074"/>
            <ac:spMk id="354" creationId="{021CE5CF-FF8D-6022-77E5-47880267DC86}"/>
          </ac:spMkLst>
        </pc:spChg>
        <pc:grpChg chg="mod">
          <ac:chgData name="Bloesch, Troy" userId="d0937869-bb19-47f1-b7cb-e4344a414307" providerId="ADAL" clId="{0B9E4739-E43A-4485-B480-0870AB84DD6D}" dt="2025-12-05T19:22:04.900" v="971" actId="1076"/>
          <ac:grpSpMkLst>
            <pc:docMk/>
            <pc:sldMk cId="2458115930" sldId="2147481074"/>
            <ac:grpSpMk id="8" creationId="{41E1CE16-13CE-2310-C0FA-79FFCE0C3345}"/>
          </ac:grpSpMkLst>
        </pc:grpChg>
        <pc:graphicFrameChg chg="add mod ord modVis">
          <ac:chgData name="Bloesch, Troy" userId="d0937869-bb19-47f1-b7cb-e4344a414307" providerId="ADAL" clId="{0B9E4739-E43A-4485-B480-0870AB84DD6D}" dt="2025-12-05T18:47:32.365" v="362"/>
          <ac:graphicFrameMkLst>
            <pc:docMk/>
            <pc:sldMk cId="2458115930" sldId="2147481074"/>
            <ac:graphicFrameMk id="15" creationId="{8F933568-AC26-0523-354A-79C0C3230A42}"/>
          </ac:graphicFrameMkLst>
        </pc:graphicFrameChg>
        <pc:picChg chg="del mod">
          <ac:chgData name="Bloesch, Troy" userId="d0937869-bb19-47f1-b7cb-e4344a414307" providerId="ADAL" clId="{0B9E4739-E43A-4485-B480-0870AB84DD6D}" dt="2025-12-05T18:46:52.452" v="242" actId="478"/>
          <ac:picMkLst>
            <pc:docMk/>
            <pc:sldMk cId="2458115930" sldId="2147481074"/>
            <ac:picMk id="10" creationId="{6260AB0A-D361-BA2C-778B-CA417D8D0D86}"/>
          </ac:picMkLst>
        </pc:picChg>
        <pc:picChg chg="del">
          <ac:chgData name="Bloesch, Troy" userId="d0937869-bb19-47f1-b7cb-e4344a414307" providerId="ADAL" clId="{0B9E4739-E43A-4485-B480-0870AB84DD6D}" dt="2025-12-05T18:46:53.337" v="243" actId="478"/>
          <ac:picMkLst>
            <pc:docMk/>
            <pc:sldMk cId="2458115930" sldId="2147481074"/>
            <ac:picMk id="12" creationId="{E4CD6A5D-9FCD-F6C6-D818-A404D82F1C5E}"/>
          </ac:picMkLst>
        </pc:picChg>
        <pc:picChg chg="del">
          <ac:chgData name="Bloesch, Troy" userId="d0937869-bb19-47f1-b7cb-e4344a414307" providerId="ADAL" clId="{0B9E4739-E43A-4485-B480-0870AB84DD6D}" dt="2025-12-05T18:46:54.221" v="244" actId="478"/>
          <ac:picMkLst>
            <pc:docMk/>
            <pc:sldMk cId="2458115930" sldId="2147481074"/>
            <ac:picMk id="14" creationId="{BAE25446-4230-04BC-3E50-E17EECD4F66E}"/>
          </ac:picMkLst>
        </pc:picChg>
      </pc:sldChg>
      <pc:sldChg chg="addSp delSp modSp add mod modClrScheme chgLayout modNotesTx">
        <pc:chgData name="Bloesch, Troy" userId="d0937869-bb19-47f1-b7cb-e4344a414307" providerId="ADAL" clId="{0B9E4739-E43A-4485-B480-0870AB84DD6D}" dt="2025-12-05T23:16:49.045" v="6595" actId="20577"/>
        <pc:sldMkLst>
          <pc:docMk/>
          <pc:sldMk cId="3694193398" sldId="2147481126"/>
        </pc:sldMkLst>
        <pc:spChg chg="mod ord">
          <ac:chgData name="Bloesch, Troy" userId="d0937869-bb19-47f1-b7cb-e4344a414307" providerId="ADAL" clId="{0B9E4739-E43A-4485-B480-0870AB84DD6D}" dt="2025-12-05T21:26:15.570" v="5798" actId="948"/>
          <ac:spMkLst>
            <pc:docMk/>
            <pc:sldMk cId="3694193398" sldId="2147481126"/>
            <ac:spMk id="2" creationId="{CDE5D6CB-34B2-46EE-0E4C-BD2DB30EFC2D}"/>
          </ac:spMkLst>
        </pc:spChg>
        <pc:spChg chg="add mod">
          <ac:chgData name="Bloesch, Troy" userId="d0937869-bb19-47f1-b7cb-e4344a414307" providerId="ADAL" clId="{0B9E4739-E43A-4485-B480-0870AB84DD6D}" dt="2025-12-05T21:27:26.163" v="5839" actId="1076"/>
          <ac:spMkLst>
            <pc:docMk/>
            <pc:sldMk cId="3694193398" sldId="2147481126"/>
            <ac:spMk id="3" creationId="{DD73A8FA-A9D7-6618-A07F-8329F43DE69B}"/>
          </ac:spMkLst>
        </pc:spChg>
        <pc:spChg chg="add mod">
          <ac:chgData name="Bloesch, Troy" userId="d0937869-bb19-47f1-b7cb-e4344a414307" providerId="ADAL" clId="{0B9E4739-E43A-4485-B480-0870AB84DD6D}" dt="2025-12-05T19:09:47.454" v="534" actId="571"/>
          <ac:spMkLst>
            <pc:docMk/>
            <pc:sldMk cId="3694193398" sldId="2147481126"/>
            <ac:spMk id="17" creationId="{C0C6F09F-625D-1D25-AB33-927A3DAD6F51}"/>
          </ac:spMkLst>
        </pc:spChg>
        <pc:spChg chg="add mod">
          <ac:chgData name="Bloesch, Troy" userId="d0937869-bb19-47f1-b7cb-e4344a414307" providerId="ADAL" clId="{0B9E4739-E43A-4485-B480-0870AB84DD6D}" dt="2025-12-05T21:27:14.998" v="5837" actId="1076"/>
          <ac:spMkLst>
            <pc:docMk/>
            <pc:sldMk cId="3694193398" sldId="2147481126"/>
            <ac:spMk id="20" creationId="{8EF1537F-6446-9C4D-EBA3-8A582D7CA8F2}"/>
          </ac:spMkLst>
        </pc:spChg>
        <pc:spChg chg="add mod">
          <ac:chgData name="Bloesch, Troy" userId="d0937869-bb19-47f1-b7cb-e4344a414307" providerId="ADAL" clId="{0B9E4739-E43A-4485-B480-0870AB84DD6D}" dt="2025-12-05T21:27:14.998" v="5837" actId="1076"/>
          <ac:spMkLst>
            <pc:docMk/>
            <pc:sldMk cId="3694193398" sldId="2147481126"/>
            <ac:spMk id="21" creationId="{67E1D76A-738E-1AFD-3A4D-60C2EB28105E}"/>
          </ac:spMkLst>
        </pc:spChg>
        <pc:spChg chg="add mod">
          <ac:chgData name="Bloesch, Troy" userId="d0937869-bb19-47f1-b7cb-e4344a414307" providerId="ADAL" clId="{0B9E4739-E43A-4485-B480-0870AB84DD6D}" dt="2025-12-05T21:27:14.998" v="5837" actId="1076"/>
          <ac:spMkLst>
            <pc:docMk/>
            <pc:sldMk cId="3694193398" sldId="2147481126"/>
            <ac:spMk id="22" creationId="{831502AD-3248-8837-34B5-C76F866C9100}"/>
          </ac:spMkLst>
        </pc:spChg>
        <pc:spChg chg="add mod">
          <ac:chgData name="Bloesch, Troy" userId="d0937869-bb19-47f1-b7cb-e4344a414307" providerId="ADAL" clId="{0B9E4739-E43A-4485-B480-0870AB84DD6D}" dt="2025-12-05T21:27:14.998" v="5837" actId="1076"/>
          <ac:spMkLst>
            <pc:docMk/>
            <pc:sldMk cId="3694193398" sldId="2147481126"/>
            <ac:spMk id="23" creationId="{22BAEC82-91A9-A350-0D4C-32C706956AFD}"/>
          </ac:spMkLst>
        </pc:spChg>
        <pc:spChg chg="mod">
          <ac:chgData name="Bloesch, Troy" userId="d0937869-bb19-47f1-b7cb-e4344a414307" providerId="ADAL" clId="{0B9E4739-E43A-4485-B480-0870AB84DD6D}" dt="2025-12-05T20:34:26.971" v="4642" actId="20577"/>
          <ac:spMkLst>
            <pc:docMk/>
            <pc:sldMk cId="3694193398" sldId="2147481126"/>
            <ac:spMk id="25" creationId="{A74FA6C2-CC84-5947-049C-AB410422CC1B}"/>
          </ac:spMkLst>
        </pc:spChg>
        <pc:spChg chg="mod">
          <ac:chgData name="Bloesch, Troy" userId="d0937869-bb19-47f1-b7cb-e4344a414307" providerId="ADAL" clId="{0B9E4739-E43A-4485-B480-0870AB84DD6D}" dt="2025-12-05T20:34:17.033" v="4625"/>
          <ac:spMkLst>
            <pc:docMk/>
            <pc:sldMk cId="3694193398" sldId="2147481126"/>
            <ac:spMk id="27" creationId="{9850D6EC-0381-6E53-0365-9850EF24778F}"/>
          </ac:spMkLst>
        </pc:spChg>
        <pc:spChg chg="add del mod ord">
          <ac:chgData name="Bloesch, Troy" userId="d0937869-bb19-47f1-b7cb-e4344a414307" providerId="ADAL" clId="{0B9E4739-E43A-4485-B480-0870AB84DD6D}" dt="2025-12-05T21:26:19.186" v="5834" actId="478"/>
          <ac:spMkLst>
            <pc:docMk/>
            <pc:sldMk cId="3694193398" sldId="2147481126"/>
            <ac:spMk id="29" creationId="{4BC990DB-B3FB-350B-DA8B-2D0E69E264A3}"/>
          </ac:spMkLst>
        </pc:spChg>
        <pc:spChg chg="add del mod modVis">
          <ac:chgData name="Bloesch, Troy" userId="d0937869-bb19-47f1-b7cb-e4344a414307" providerId="ADAL" clId="{0B9E4739-E43A-4485-B480-0870AB84DD6D}" dt="2025-12-05T21:26:15.612" v="5819"/>
          <ac:spMkLst>
            <pc:docMk/>
            <pc:sldMk cId="3694193398" sldId="2147481126"/>
            <ac:spMk id="30" creationId="{EBF1AA81-E8B9-6A08-CEE9-99EB1660E575}"/>
          </ac:spMkLst>
        </pc:spChg>
        <pc:spChg chg="mod">
          <ac:chgData name="Bloesch, Troy" userId="d0937869-bb19-47f1-b7cb-e4344a414307" providerId="ADAL" clId="{0B9E4739-E43A-4485-B480-0870AB84DD6D}" dt="2025-12-05T18:42:02.513" v="10" actId="20577"/>
          <ac:spMkLst>
            <pc:docMk/>
            <pc:sldMk cId="3694193398" sldId="2147481126"/>
            <ac:spMk id="71" creationId="{877E73EF-74F3-E489-9F1E-D8285ED3E794}"/>
          </ac:spMkLst>
        </pc:spChg>
        <pc:spChg chg="mod">
          <ac:chgData name="Bloesch, Troy" userId="d0937869-bb19-47f1-b7cb-e4344a414307" providerId="ADAL" clId="{0B9E4739-E43A-4485-B480-0870AB84DD6D}" dt="2025-12-05T19:09:44.431" v="532" actId="165"/>
          <ac:spMkLst>
            <pc:docMk/>
            <pc:sldMk cId="3694193398" sldId="2147481126"/>
            <ac:spMk id="73" creationId="{B6A250F0-98B3-FB5B-355F-4330A31840E5}"/>
          </ac:spMkLst>
        </pc:spChg>
        <pc:spChg chg="del">
          <ac:chgData name="Bloesch, Troy" userId="d0937869-bb19-47f1-b7cb-e4344a414307" providerId="ADAL" clId="{0B9E4739-E43A-4485-B480-0870AB84DD6D}" dt="2025-12-05T18:43:45.351" v="124" actId="478"/>
          <ac:spMkLst>
            <pc:docMk/>
            <pc:sldMk cId="3694193398" sldId="2147481126"/>
            <ac:spMk id="75" creationId="{09A3FE54-1EC9-81CC-A2CF-A69AC711CDA8}"/>
          </ac:spMkLst>
        </pc:spChg>
        <pc:spChg chg="mod">
          <ac:chgData name="Bloesch, Troy" userId="d0937869-bb19-47f1-b7cb-e4344a414307" providerId="ADAL" clId="{0B9E4739-E43A-4485-B480-0870AB84DD6D}" dt="2025-12-05T19:37:56.170" v="1296" actId="207"/>
          <ac:spMkLst>
            <pc:docMk/>
            <pc:sldMk cId="3694193398" sldId="2147481126"/>
            <ac:spMk id="76" creationId="{4977A3B3-1C56-E196-3DC4-28BDB7D9ECDB}"/>
          </ac:spMkLst>
        </pc:spChg>
        <pc:spChg chg="mod">
          <ac:chgData name="Bloesch, Troy" userId="d0937869-bb19-47f1-b7cb-e4344a414307" providerId="ADAL" clId="{0B9E4739-E43A-4485-B480-0870AB84DD6D}" dt="2025-12-05T19:38:09.030" v="1297" actId="165"/>
          <ac:spMkLst>
            <pc:docMk/>
            <pc:sldMk cId="3694193398" sldId="2147481126"/>
            <ac:spMk id="77" creationId="{D4A4FF9B-BA6A-BE1F-876D-872ABDF00C6F}"/>
          </ac:spMkLst>
        </pc:spChg>
        <pc:spChg chg="mod">
          <ac:chgData name="Bloesch, Troy" userId="d0937869-bb19-47f1-b7cb-e4344a414307" providerId="ADAL" clId="{0B9E4739-E43A-4485-B480-0870AB84DD6D}" dt="2025-12-05T19:38:09.030" v="1297" actId="165"/>
          <ac:spMkLst>
            <pc:docMk/>
            <pc:sldMk cId="3694193398" sldId="2147481126"/>
            <ac:spMk id="78" creationId="{606B7405-EECF-26F4-5CC2-90400579C677}"/>
          </ac:spMkLst>
        </pc:spChg>
        <pc:spChg chg="del mod">
          <ac:chgData name="Bloesch, Troy" userId="d0937869-bb19-47f1-b7cb-e4344a414307" providerId="ADAL" clId="{0B9E4739-E43A-4485-B480-0870AB84DD6D}" dt="2025-12-05T19:09:28.750" v="524" actId="478"/>
          <ac:spMkLst>
            <pc:docMk/>
            <pc:sldMk cId="3694193398" sldId="2147481126"/>
            <ac:spMk id="83" creationId="{1ED018EC-7466-179E-5605-A4C76107891C}"/>
          </ac:spMkLst>
        </pc:spChg>
        <pc:spChg chg="del mod">
          <ac:chgData name="Bloesch, Troy" userId="d0937869-bb19-47f1-b7cb-e4344a414307" providerId="ADAL" clId="{0B9E4739-E43A-4485-B480-0870AB84DD6D}" dt="2025-12-05T19:09:30.232" v="525" actId="478"/>
          <ac:spMkLst>
            <pc:docMk/>
            <pc:sldMk cId="3694193398" sldId="2147481126"/>
            <ac:spMk id="85" creationId="{ADED15A8-D9D0-F188-6FEB-C90B82090871}"/>
          </ac:spMkLst>
        </pc:spChg>
        <pc:spChg chg="del">
          <ac:chgData name="Bloesch, Troy" userId="d0937869-bb19-47f1-b7cb-e4344a414307" providerId="ADAL" clId="{0B9E4739-E43A-4485-B480-0870AB84DD6D}" dt="2025-12-05T19:09:37.001" v="530" actId="478"/>
          <ac:spMkLst>
            <pc:docMk/>
            <pc:sldMk cId="3694193398" sldId="2147481126"/>
            <ac:spMk id="88" creationId="{7DE57302-211B-3214-FC0C-5CA5FD4193CC}"/>
          </ac:spMkLst>
        </pc:spChg>
        <pc:spChg chg="del">
          <ac:chgData name="Bloesch, Troy" userId="d0937869-bb19-47f1-b7cb-e4344a414307" providerId="ADAL" clId="{0B9E4739-E43A-4485-B480-0870AB84DD6D}" dt="2025-12-05T19:09:39.135" v="531" actId="478"/>
          <ac:spMkLst>
            <pc:docMk/>
            <pc:sldMk cId="3694193398" sldId="2147481126"/>
            <ac:spMk id="89" creationId="{49C69953-7C44-D703-D642-3EFCC7C62A0A}"/>
          </ac:spMkLst>
        </pc:spChg>
        <pc:spChg chg="del">
          <ac:chgData name="Bloesch, Troy" userId="d0937869-bb19-47f1-b7cb-e4344a414307" providerId="ADAL" clId="{0B9E4739-E43A-4485-B480-0870AB84DD6D}" dt="2025-12-05T19:09:35.569" v="529" actId="478"/>
          <ac:spMkLst>
            <pc:docMk/>
            <pc:sldMk cId="3694193398" sldId="2147481126"/>
            <ac:spMk id="90" creationId="{9F9314E8-B87E-C4A2-3BEB-29A544E0AD75}"/>
          </ac:spMkLst>
        </pc:spChg>
        <pc:spChg chg="del">
          <ac:chgData name="Bloesch, Troy" userId="d0937869-bb19-47f1-b7cb-e4344a414307" providerId="ADAL" clId="{0B9E4739-E43A-4485-B480-0870AB84DD6D}" dt="2025-12-05T19:09:33.695" v="528" actId="478"/>
          <ac:spMkLst>
            <pc:docMk/>
            <pc:sldMk cId="3694193398" sldId="2147481126"/>
            <ac:spMk id="91" creationId="{63E508B8-BA9A-A920-9CA7-130F4BDF40BA}"/>
          </ac:spMkLst>
        </pc:spChg>
        <pc:spChg chg="mod">
          <ac:chgData name="Bloesch, Troy" userId="d0937869-bb19-47f1-b7cb-e4344a414307" providerId="ADAL" clId="{0B9E4739-E43A-4485-B480-0870AB84DD6D}" dt="2025-12-05T18:42:10.250" v="26" actId="20577"/>
          <ac:spMkLst>
            <pc:docMk/>
            <pc:sldMk cId="3694193398" sldId="2147481126"/>
            <ac:spMk id="95" creationId="{10BF0BF3-49B5-6437-AADC-753F5E67D063}"/>
          </ac:spMkLst>
        </pc:spChg>
        <pc:spChg chg="mod">
          <ac:chgData name="Bloesch, Troy" userId="d0937869-bb19-47f1-b7cb-e4344a414307" providerId="ADAL" clId="{0B9E4739-E43A-4485-B480-0870AB84DD6D}" dt="2025-12-05T19:09:44.431" v="532" actId="165"/>
          <ac:spMkLst>
            <pc:docMk/>
            <pc:sldMk cId="3694193398" sldId="2147481126"/>
            <ac:spMk id="97" creationId="{4CDC2ADD-3650-FCD7-B008-0F0E38252DEF}"/>
          </ac:spMkLst>
        </pc:spChg>
        <pc:spChg chg="mod">
          <ac:chgData name="Bloesch, Troy" userId="d0937869-bb19-47f1-b7cb-e4344a414307" providerId="ADAL" clId="{0B9E4739-E43A-4485-B480-0870AB84DD6D}" dt="2025-12-05T19:38:20.351" v="1299" actId="207"/>
          <ac:spMkLst>
            <pc:docMk/>
            <pc:sldMk cId="3694193398" sldId="2147481126"/>
            <ac:spMk id="100" creationId="{B869D3A9-2728-F5BB-FF43-B055CBB3E63B}"/>
          </ac:spMkLst>
        </pc:spChg>
        <pc:spChg chg="mod">
          <ac:chgData name="Bloesch, Troy" userId="d0937869-bb19-47f1-b7cb-e4344a414307" providerId="ADAL" clId="{0B9E4739-E43A-4485-B480-0870AB84DD6D}" dt="2025-12-05T19:38:09.030" v="1297" actId="165"/>
          <ac:spMkLst>
            <pc:docMk/>
            <pc:sldMk cId="3694193398" sldId="2147481126"/>
            <ac:spMk id="101" creationId="{C283F441-054F-7306-41F1-91821C9D7B14}"/>
          </ac:spMkLst>
        </pc:spChg>
        <pc:spChg chg="mod">
          <ac:chgData name="Bloesch, Troy" userId="d0937869-bb19-47f1-b7cb-e4344a414307" providerId="ADAL" clId="{0B9E4739-E43A-4485-B480-0870AB84DD6D}" dt="2025-12-05T19:09:44.431" v="532" actId="165"/>
          <ac:spMkLst>
            <pc:docMk/>
            <pc:sldMk cId="3694193398" sldId="2147481126"/>
            <ac:spMk id="103" creationId="{0B181776-8A61-3EFC-5A85-B420B8022EB5}"/>
          </ac:spMkLst>
        </pc:spChg>
        <pc:spChg chg="mod">
          <ac:chgData name="Bloesch, Troy" userId="d0937869-bb19-47f1-b7cb-e4344a414307" providerId="ADAL" clId="{0B9E4739-E43A-4485-B480-0870AB84DD6D}" dt="2025-12-05T19:09:44.431" v="532" actId="165"/>
          <ac:spMkLst>
            <pc:docMk/>
            <pc:sldMk cId="3694193398" sldId="2147481126"/>
            <ac:spMk id="107" creationId="{B92EEDBE-1DF0-D706-BF41-9BCBC1C7D4B2}"/>
          </ac:spMkLst>
        </pc:spChg>
        <pc:spChg chg="mod">
          <ac:chgData name="Bloesch, Troy" userId="d0937869-bb19-47f1-b7cb-e4344a414307" providerId="ADAL" clId="{0B9E4739-E43A-4485-B480-0870AB84DD6D}" dt="2025-12-05T19:09:44.431" v="532" actId="165"/>
          <ac:spMkLst>
            <pc:docMk/>
            <pc:sldMk cId="3694193398" sldId="2147481126"/>
            <ac:spMk id="109" creationId="{773D1B9D-8EEE-EE3F-94A0-FB932E767632}"/>
          </ac:spMkLst>
        </pc:spChg>
        <pc:spChg chg="del">
          <ac:chgData name="Bloesch, Troy" userId="d0937869-bb19-47f1-b7cb-e4344a414307" providerId="ADAL" clId="{0B9E4739-E43A-4485-B480-0870AB84DD6D}" dt="2025-12-05T18:43:42.372" v="123" actId="478"/>
          <ac:spMkLst>
            <pc:docMk/>
            <pc:sldMk cId="3694193398" sldId="2147481126"/>
            <ac:spMk id="111" creationId="{D05DF0F7-24D1-E190-57CB-8FE6FF5B89F3}"/>
          </ac:spMkLst>
        </pc:spChg>
        <pc:spChg chg="mod">
          <ac:chgData name="Bloesch, Troy" userId="d0937869-bb19-47f1-b7cb-e4344a414307" providerId="ADAL" clId="{0B9E4739-E43A-4485-B480-0870AB84DD6D}" dt="2025-12-05T19:38:23.244" v="1300" actId="207"/>
          <ac:spMkLst>
            <pc:docMk/>
            <pc:sldMk cId="3694193398" sldId="2147481126"/>
            <ac:spMk id="112" creationId="{A8B01AED-F0F9-BF6F-AED4-C300EEC3912C}"/>
          </ac:spMkLst>
        </pc:spChg>
        <pc:spChg chg="mod">
          <ac:chgData name="Bloesch, Troy" userId="d0937869-bb19-47f1-b7cb-e4344a414307" providerId="ADAL" clId="{0B9E4739-E43A-4485-B480-0870AB84DD6D}" dt="2025-12-05T19:09:44.431" v="532" actId="165"/>
          <ac:spMkLst>
            <pc:docMk/>
            <pc:sldMk cId="3694193398" sldId="2147481126"/>
            <ac:spMk id="114" creationId="{7F02BE71-0541-4297-0476-7032730F68ED}"/>
          </ac:spMkLst>
        </pc:spChg>
        <pc:spChg chg="mod">
          <ac:chgData name="Bloesch, Troy" userId="d0937869-bb19-47f1-b7cb-e4344a414307" providerId="ADAL" clId="{0B9E4739-E43A-4485-B480-0870AB84DD6D}" dt="2025-12-05T21:08:36.835" v="4986" actId="20577"/>
          <ac:spMkLst>
            <pc:docMk/>
            <pc:sldMk cId="3694193398" sldId="2147481126"/>
            <ac:spMk id="125" creationId="{3C1A3171-7F27-41E0-12E8-D25CEC2A368B}"/>
          </ac:spMkLst>
        </pc:spChg>
        <pc:spChg chg="mod">
          <ac:chgData name="Bloesch, Troy" userId="d0937869-bb19-47f1-b7cb-e4344a414307" providerId="ADAL" clId="{0B9E4739-E43A-4485-B480-0870AB84DD6D}" dt="2025-12-05T18:44:28.726" v="230" actId="20577"/>
          <ac:spMkLst>
            <pc:docMk/>
            <pc:sldMk cId="3694193398" sldId="2147481126"/>
            <ac:spMk id="127" creationId="{0156C473-2729-7E75-ED5B-B8E222B4ABB0}"/>
          </ac:spMkLst>
        </pc:spChg>
        <pc:spChg chg="del">
          <ac:chgData name="Bloesch, Troy" userId="d0937869-bb19-47f1-b7cb-e4344a414307" providerId="ADAL" clId="{0B9E4739-E43A-4485-B480-0870AB84DD6D}" dt="2025-12-05T18:43:31.623" v="120" actId="478"/>
          <ac:spMkLst>
            <pc:docMk/>
            <pc:sldMk cId="3694193398" sldId="2147481126"/>
            <ac:spMk id="129" creationId="{FD894A01-DE0B-F5F5-9882-A56CD369EB3A}"/>
          </ac:spMkLst>
        </pc:spChg>
        <pc:spChg chg="mod topLvl">
          <ac:chgData name="Bloesch, Troy" userId="d0937869-bb19-47f1-b7cb-e4344a414307" providerId="ADAL" clId="{0B9E4739-E43A-4485-B480-0870AB84DD6D}" dt="2025-12-05T21:27:26.163" v="5839" actId="1076"/>
          <ac:spMkLst>
            <pc:docMk/>
            <pc:sldMk cId="3694193398" sldId="2147481126"/>
            <ac:spMk id="130" creationId="{73854BEF-3535-4F63-34CC-94F766B232D3}"/>
          </ac:spMkLst>
        </pc:spChg>
        <pc:spChg chg="mod">
          <ac:chgData name="Bloesch, Troy" userId="d0937869-bb19-47f1-b7cb-e4344a414307" providerId="ADAL" clId="{0B9E4739-E43A-4485-B480-0870AB84DD6D}" dt="2025-12-05T21:27:26.163" v="5839" actId="1076"/>
          <ac:spMkLst>
            <pc:docMk/>
            <pc:sldMk cId="3694193398" sldId="2147481126"/>
            <ac:spMk id="131" creationId="{7E3D2978-541D-A908-5E31-9E409CB2D331}"/>
          </ac:spMkLst>
        </pc:spChg>
        <pc:spChg chg="mod topLvl">
          <ac:chgData name="Bloesch, Troy" userId="d0937869-bb19-47f1-b7cb-e4344a414307" providerId="ADAL" clId="{0B9E4739-E43A-4485-B480-0870AB84DD6D}" dt="2025-12-05T21:27:26.163" v="5839" actId="1076"/>
          <ac:spMkLst>
            <pc:docMk/>
            <pc:sldMk cId="3694193398" sldId="2147481126"/>
            <ac:spMk id="132" creationId="{4E3874D1-8F56-1021-A426-392E7DE64C7B}"/>
          </ac:spMkLst>
        </pc:spChg>
        <pc:spChg chg="mod topLvl">
          <ac:chgData name="Bloesch, Troy" userId="d0937869-bb19-47f1-b7cb-e4344a414307" providerId="ADAL" clId="{0B9E4739-E43A-4485-B480-0870AB84DD6D}" dt="2025-12-05T21:27:26.163" v="5839" actId="1076"/>
          <ac:spMkLst>
            <pc:docMk/>
            <pc:sldMk cId="3694193398" sldId="2147481126"/>
            <ac:spMk id="133" creationId="{43856C68-60E7-31A0-0D4D-C52F77FFDF0D}"/>
          </ac:spMkLst>
        </pc:spChg>
        <pc:spChg chg="mod">
          <ac:chgData name="Bloesch, Troy" userId="d0937869-bb19-47f1-b7cb-e4344a414307" providerId="ADAL" clId="{0B9E4739-E43A-4485-B480-0870AB84DD6D}" dt="2025-12-05T19:38:35.013" v="1301" actId="165"/>
          <ac:spMkLst>
            <pc:docMk/>
            <pc:sldMk cId="3694193398" sldId="2147481126"/>
            <ac:spMk id="136" creationId="{FDEE454D-E8D1-5957-9863-39A0726B37AF}"/>
          </ac:spMkLst>
        </pc:spChg>
        <pc:spChg chg="mod">
          <ac:chgData name="Bloesch, Troy" userId="d0937869-bb19-47f1-b7cb-e4344a414307" providerId="ADAL" clId="{0B9E4739-E43A-4485-B480-0870AB84DD6D}" dt="2025-12-05T18:44:24.496" v="219" actId="20577"/>
          <ac:spMkLst>
            <pc:docMk/>
            <pc:sldMk cId="3694193398" sldId="2147481126"/>
            <ac:spMk id="138" creationId="{986A5ABD-E504-14DE-779E-A29FAD9B3865}"/>
          </ac:spMkLst>
        </pc:spChg>
        <pc:spChg chg="del">
          <ac:chgData name="Bloesch, Troy" userId="d0937869-bb19-47f1-b7cb-e4344a414307" providerId="ADAL" clId="{0B9E4739-E43A-4485-B480-0870AB84DD6D}" dt="2025-12-05T18:44:33.789" v="234" actId="478"/>
          <ac:spMkLst>
            <pc:docMk/>
            <pc:sldMk cId="3694193398" sldId="2147481126"/>
            <ac:spMk id="140" creationId="{69098D7B-CFD9-9133-D3B6-19E983C008B5}"/>
          </ac:spMkLst>
        </pc:spChg>
        <pc:spChg chg="mod">
          <ac:chgData name="Bloesch, Troy" userId="d0937869-bb19-47f1-b7cb-e4344a414307" providerId="ADAL" clId="{0B9E4739-E43A-4485-B480-0870AB84DD6D}" dt="2025-12-05T21:27:22.415" v="5838" actId="1076"/>
          <ac:spMkLst>
            <pc:docMk/>
            <pc:sldMk cId="3694193398" sldId="2147481126"/>
            <ac:spMk id="141" creationId="{33381A4D-C7AA-F9BA-7635-D5FB2F2886BB}"/>
          </ac:spMkLst>
        </pc:spChg>
        <pc:spChg chg="mod">
          <ac:chgData name="Bloesch, Troy" userId="d0937869-bb19-47f1-b7cb-e4344a414307" providerId="ADAL" clId="{0B9E4739-E43A-4485-B480-0870AB84DD6D}" dt="2025-12-05T21:27:22.415" v="5838" actId="1076"/>
          <ac:spMkLst>
            <pc:docMk/>
            <pc:sldMk cId="3694193398" sldId="2147481126"/>
            <ac:spMk id="142" creationId="{1B48D5EA-22AE-D12D-D6A8-6629DD5554D9}"/>
          </ac:spMkLst>
        </pc:spChg>
        <pc:spChg chg="mod topLvl">
          <ac:chgData name="Bloesch, Troy" userId="d0937869-bb19-47f1-b7cb-e4344a414307" providerId="ADAL" clId="{0B9E4739-E43A-4485-B480-0870AB84DD6D}" dt="2025-12-05T21:27:22.415" v="5838" actId="1076"/>
          <ac:spMkLst>
            <pc:docMk/>
            <pc:sldMk cId="3694193398" sldId="2147481126"/>
            <ac:spMk id="143" creationId="{65BCEABE-42BA-1EF5-D3C2-99E9E2492049}"/>
          </ac:spMkLst>
        </pc:spChg>
        <pc:spChg chg="mod topLvl">
          <ac:chgData name="Bloesch, Troy" userId="d0937869-bb19-47f1-b7cb-e4344a414307" providerId="ADAL" clId="{0B9E4739-E43A-4485-B480-0870AB84DD6D}" dt="2025-12-05T21:27:22.415" v="5838" actId="1076"/>
          <ac:spMkLst>
            <pc:docMk/>
            <pc:sldMk cId="3694193398" sldId="2147481126"/>
            <ac:spMk id="144" creationId="{64E3AD8B-C363-2C74-48AB-461514288E6B}"/>
          </ac:spMkLst>
        </pc:spChg>
        <pc:spChg chg="mod">
          <ac:chgData name="Bloesch, Troy" userId="d0937869-bb19-47f1-b7cb-e4344a414307" providerId="ADAL" clId="{0B9E4739-E43A-4485-B480-0870AB84DD6D}" dt="2025-12-05T21:01:45.973" v="4974" actId="14100"/>
          <ac:spMkLst>
            <pc:docMk/>
            <pc:sldMk cId="3694193398" sldId="2147481126"/>
            <ac:spMk id="147" creationId="{A866B558-EB8D-3CDA-C324-445E4811ABFD}"/>
          </ac:spMkLst>
        </pc:spChg>
        <pc:spChg chg="mod">
          <ac:chgData name="Bloesch, Troy" userId="d0937869-bb19-47f1-b7cb-e4344a414307" providerId="ADAL" clId="{0B9E4739-E43A-4485-B480-0870AB84DD6D}" dt="2025-12-05T21:01:26.067" v="4911" actId="1076"/>
          <ac:spMkLst>
            <pc:docMk/>
            <pc:sldMk cId="3694193398" sldId="2147481126"/>
            <ac:spMk id="149" creationId="{C1310A95-CA86-7BA2-5827-3C7D516130A7}"/>
          </ac:spMkLst>
        </pc:spChg>
        <pc:spChg chg="del">
          <ac:chgData name="Bloesch, Troy" userId="d0937869-bb19-47f1-b7cb-e4344a414307" providerId="ADAL" clId="{0B9E4739-E43A-4485-B480-0870AB84DD6D}" dt="2025-12-05T18:44:30.563" v="231" actId="478"/>
          <ac:spMkLst>
            <pc:docMk/>
            <pc:sldMk cId="3694193398" sldId="2147481126"/>
            <ac:spMk id="151" creationId="{44F201B0-E187-310B-C26B-FBD12C0F4FCD}"/>
          </ac:spMkLst>
        </pc:spChg>
        <pc:spChg chg="mod">
          <ac:chgData name="Bloesch, Troy" userId="d0937869-bb19-47f1-b7cb-e4344a414307" providerId="ADAL" clId="{0B9E4739-E43A-4485-B480-0870AB84DD6D}" dt="2025-12-05T21:27:33.870" v="5840" actId="1076"/>
          <ac:spMkLst>
            <pc:docMk/>
            <pc:sldMk cId="3694193398" sldId="2147481126"/>
            <ac:spMk id="152" creationId="{9F3D506F-E879-2638-9DF3-63ED726F7063}"/>
          </ac:spMkLst>
        </pc:spChg>
        <pc:spChg chg="mod topLvl">
          <ac:chgData name="Bloesch, Troy" userId="d0937869-bb19-47f1-b7cb-e4344a414307" providerId="ADAL" clId="{0B9E4739-E43A-4485-B480-0870AB84DD6D}" dt="2025-12-05T21:27:33.870" v="5840" actId="1076"/>
          <ac:spMkLst>
            <pc:docMk/>
            <pc:sldMk cId="3694193398" sldId="2147481126"/>
            <ac:spMk id="153" creationId="{2729EAE6-9E99-AAB0-F2C6-3DEBE0C50CF7}"/>
          </ac:spMkLst>
        </pc:spChg>
        <pc:spChg chg="mod">
          <ac:chgData name="Bloesch, Troy" userId="d0937869-bb19-47f1-b7cb-e4344a414307" providerId="ADAL" clId="{0B9E4739-E43A-4485-B480-0870AB84DD6D}" dt="2025-12-05T21:27:33.870" v="5840" actId="1076"/>
          <ac:spMkLst>
            <pc:docMk/>
            <pc:sldMk cId="3694193398" sldId="2147481126"/>
            <ac:spMk id="154" creationId="{C5ED4770-7768-D275-96F3-D7D0EA29BF57}"/>
          </ac:spMkLst>
        </pc:spChg>
        <pc:spChg chg="mod topLvl">
          <ac:chgData name="Bloesch, Troy" userId="d0937869-bb19-47f1-b7cb-e4344a414307" providerId="ADAL" clId="{0B9E4739-E43A-4485-B480-0870AB84DD6D}" dt="2025-12-05T21:27:33.870" v="5840" actId="1076"/>
          <ac:spMkLst>
            <pc:docMk/>
            <pc:sldMk cId="3694193398" sldId="2147481126"/>
            <ac:spMk id="155" creationId="{FF011956-8CC4-1571-E443-2B1375CEE451}"/>
          </ac:spMkLst>
        </pc:spChg>
        <pc:spChg chg="mod">
          <ac:chgData name="Bloesch, Troy" userId="d0937869-bb19-47f1-b7cb-e4344a414307" providerId="ADAL" clId="{0B9E4739-E43A-4485-B480-0870AB84DD6D}" dt="2025-12-05T18:42:31.428" v="54" actId="20577"/>
          <ac:spMkLst>
            <pc:docMk/>
            <pc:sldMk cId="3694193398" sldId="2147481126"/>
            <ac:spMk id="158" creationId="{B5405B8C-DC1D-9560-485D-4FE047FFCC42}"/>
          </ac:spMkLst>
        </pc:spChg>
        <pc:spChg chg="mod">
          <ac:chgData name="Bloesch, Troy" userId="d0937869-bb19-47f1-b7cb-e4344a414307" providerId="ADAL" clId="{0B9E4739-E43A-4485-B480-0870AB84DD6D}" dt="2025-12-05T19:38:35.013" v="1301" actId="165"/>
          <ac:spMkLst>
            <pc:docMk/>
            <pc:sldMk cId="3694193398" sldId="2147481126"/>
            <ac:spMk id="160" creationId="{963DF899-9ECF-411A-C9E8-60916108722A}"/>
          </ac:spMkLst>
        </pc:spChg>
        <pc:spChg chg="del">
          <ac:chgData name="Bloesch, Troy" userId="d0937869-bb19-47f1-b7cb-e4344a414307" providerId="ADAL" clId="{0B9E4739-E43A-4485-B480-0870AB84DD6D}" dt="2025-12-05T18:43:24.689" v="119" actId="21"/>
          <ac:spMkLst>
            <pc:docMk/>
            <pc:sldMk cId="3694193398" sldId="2147481126"/>
            <ac:spMk id="162" creationId="{DD73A8FA-A9D7-6618-A07F-8329F43DE69B}"/>
          </ac:spMkLst>
        </pc:spChg>
        <pc:spChg chg="mod topLvl">
          <ac:chgData name="Bloesch, Troy" userId="d0937869-bb19-47f1-b7cb-e4344a414307" providerId="ADAL" clId="{0B9E4739-E43A-4485-B480-0870AB84DD6D}" dt="2025-12-05T21:10:02.123" v="4994" actId="1076"/>
          <ac:spMkLst>
            <pc:docMk/>
            <pc:sldMk cId="3694193398" sldId="2147481126"/>
            <ac:spMk id="163" creationId="{5699757D-7427-9420-5DE0-690B8B6E179B}"/>
          </ac:spMkLst>
        </pc:spChg>
        <pc:spChg chg="mod topLvl">
          <ac:chgData name="Bloesch, Troy" userId="d0937869-bb19-47f1-b7cb-e4344a414307" providerId="ADAL" clId="{0B9E4739-E43A-4485-B480-0870AB84DD6D}" dt="2025-12-05T21:10:02.123" v="4994" actId="1076"/>
          <ac:spMkLst>
            <pc:docMk/>
            <pc:sldMk cId="3694193398" sldId="2147481126"/>
            <ac:spMk id="164" creationId="{5D0FBAC9-8EB5-E023-8FF0-550628C0980F}"/>
          </ac:spMkLst>
        </pc:spChg>
        <pc:spChg chg="mod topLvl">
          <ac:chgData name="Bloesch, Troy" userId="d0937869-bb19-47f1-b7cb-e4344a414307" providerId="ADAL" clId="{0B9E4739-E43A-4485-B480-0870AB84DD6D}" dt="2025-12-05T21:10:02.123" v="4994" actId="1076"/>
          <ac:spMkLst>
            <pc:docMk/>
            <pc:sldMk cId="3694193398" sldId="2147481126"/>
            <ac:spMk id="165" creationId="{EAEAC39E-DD24-210D-86ED-E9A2099BDEB7}"/>
          </ac:spMkLst>
        </pc:spChg>
        <pc:spChg chg="mod">
          <ac:chgData name="Bloesch, Troy" userId="d0937869-bb19-47f1-b7cb-e4344a414307" providerId="ADAL" clId="{0B9E4739-E43A-4485-B480-0870AB84DD6D}" dt="2025-12-05T21:10:02.123" v="4994" actId="1076"/>
          <ac:spMkLst>
            <pc:docMk/>
            <pc:sldMk cId="3694193398" sldId="2147481126"/>
            <ac:spMk id="166" creationId="{EC593DAA-798F-BBD2-1587-F4935D03BF4D}"/>
          </ac:spMkLst>
        </pc:spChg>
        <pc:grpChg chg="add mod">
          <ac:chgData name="Bloesch, Troy" userId="d0937869-bb19-47f1-b7cb-e4344a414307" providerId="ADAL" clId="{0B9E4739-E43A-4485-B480-0870AB84DD6D}" dt="2025-12-05T21:27:14.998" v="5837" actId="1076"/>
          <ac:grpSpMkLst>
            <pc:docMk/>
            <pc:sldMk cId="3694193398" sldId="2147481126"/>
            <ac:grpSpMk id="24" creationId="{547FDD2A-6DA3-8972-FD14-EEA0EC44CD23}"/>
          </ac:grpSpMkLst>
        </pc:grpChg>
        <pc:grpChg chg="mod">
          <ac:chgData name="Bloesch, Troy" userId="d0937869-bb19-47f1-b7cb-e4344a414307" providerId="ADAL" clId="{0B9E4739-E43A-4485-B480-0870AB84DD6D}" dt="2025-12-05T19:10:00.023" v="536" actId="1076"/>
          <ac:grpSpMkLst>
            <pc:docMk/>
            <pc:sldMk cId="3694193398" sldId="2147481126"/>
            <ac:grpSpMk id="68" creationId="{7CD2ABD4-7E9E-C751-6B41-21C892C9A01E}"/>
          </ac:grpSpMkLst>
        </pc:grpChg>
        <pc:grpChg chg="del">
          <ac:chgData name="Bloesch, Troy" userId="d0937869-bb19-47f1-b7cb-e4344a414307" providerId="ADAL" clId="{0B9E4739-E43A-4485-B480-0870AB84DD6D}" dt="2025-12-05T18:43:45.351" v="124" actId="478"/>
          <ac:grpSpMkLst>
            <pc:docMk/>
            <pc:sldMk cId="3694193398" sldId="2147481126"/>
            <ac:grpSpMk id="69" creationId="{9E31236F-5BEB-12DE-31EB-266E868DB720}"/>
          </ac:grpSpMkLst>
        </pc:grpChg>
        <pc:grpChg chg="mod">
          <ac:chgData name="Bloesch, Troy" userId="d0937869-bb19-47f1-b7cb-e4344a414307" providerId="ADAL" clId="{0B9E4739-E43A-4485-B480-0870AB84DD6D}" dt="2025-12-05T21:26:27.435" v="5835" actId="1076"/>
          <ac:grpSpMkLst>
            <pc:docMk/>
            <pc:sldMk cId="3694193398" sldId="2147481126"/>
            <ac:grpSpMk id="70" creationId="{9675C6FE-014F-D947-49CF-ED3F990D4369}"/>
          </ac:grpSpMkLst>
        </pc:grpChg>
        <pc:grpChg chg="mod">
          <ac:chgData name="Bloesch, Troy" userId="d0937869-bb19-47f1-b7cb-e4344a414307" providerId="ADAL" clId="{0B9E4739-E43A-4485-B480-0870AB84DD6D}" dt="2025-12-05T21:26:27.435" v="5835" actId="1076"/>
          <ac:grpSpMkLst>
            <pc:docMk/>
            <pc:sldMk cId="3694193398" sldId="2147481126"/>
            <ac:grpSpMk id="74" creationId="{D59C7033-265E-D2E3-7DAA-C92F98D9DD4D}"/>
          </ac:grpSpMkLst>
        </pc:grpChg>
        <pc:grpChg chg="del">
          <ac:chgData name="Bloesch, Troy" userId="d0937869-bb19-47f1-b7cb-e4344a414307" providerId="ADAL" clId="{0B9E4739-E43A-4485-B480-0870AB84DD6D}" dt="2025-12-05T19:09:30.232" v="525" actId="478"/>
          <ac:grpSpMkLst>
            <pc:docMk/>
            <pc:sldMk cId="3694193398" sldId="2147481126"/>
            <ac:grpSpMk id="80" creationId="{3AB9AD72-C5B0-CCAB-DB7B-426015DCD5FF}"/>
          </ac:grpSpMkLst>
        </pc:grpChg>
        <pc:grpChg chg="del">
          <ac:chgData name="Bloesch, Troy" userId="d0937869-bb19-47f1-b7cb-e4344a414307" providerId="ADAL" clId="{0B9E4739-E43A-4485-B480-0870AB84DD6D}" dt="2025-12-05T19:09:28.750" v="524" actId="478"/>
          <ac:grpSpMkLst>
            <pc:docMk/>
            <pc:sldMk cId="3694193398" sldId="2147481126"/>
            <ac:grpSpMk id="82" creationId="{1338B7BF-5570-DD9A-8BB0-3E517447D0CF}"/>
          </ac:grpSpMkLst>
        </pc:grpChg>
        <pc:grpChg chg="del">
          <ac:chgData name="Bloesch, Troy" userId="d0937869-bb19-47f1-b7cb-e4344a414307" providerId="ADAL" clId="{0B9E4739-E43A-4485-B480-0870AB84DD6D}" dt="2025-12-05T19:09:37.001" v="530" actId="478"/>
          <ac:grpSpMkLst>
            <pc:docMk/>
            <pc:sldMk cId="3694193398" sldId="2147481126"/>
            <ac:grpSpMk id="86" creationId="{C8BCDE2C-EF09-BF57-8602-B11F39208BF2}"/>
          </ac:grpSpMkLst>
        </pc:grpChg>
        <pc:grpChg chg="mod">
          <ac:chgData name="Bloesch, Troy" userId="d0937869-bb19-47f1-b7cb-e4344a414307" providerId="ADAL" clId="{0B9E4739-E43A-4485-B480-0870AB84DD6D}" dt="2025-12-05T19:09:53.423" v="535" actId="1076"/>
          <ac:grpSpMkLst>
            <pc:docMk/>
            <pc:sldMk cId="3694193398" sldId="2147481126"/>
            <ac:grpSpMk id="92" creationId="{60F4769F-3436-982A-A2DD-F3EF353D8A52}"/>
          </ac:grpSpMkLst>
        </pc:grpChg>
        <pc:grpChg chg="mod">
          <ac:chgData name="Bloesch, Troy" userId="d0937869-bb19-47f1-b7cb-e4344a414307" providerId="ADAL" clId="{0B9E4739-E43A-4485-B480-0870AB84DD6D}" dt="2025-12-05T21:26:27.435" v="5835" actId="1076"/>
          <ac:grpSpMkLst>
            <pc:docMk/>
            <pc:sldMk cId="3694193398" sldId="2147481126"/>
            <ac:grpSpMk id="94" creationId="{4E0ABC75-6CDF-F16B-2733-7417758F01FD}"/>
          </ac:grpSpMkLst>
        </pc:grpChg>
        <pc:grpChg chg="mod">
          <ac:chgData name="Bloesch, Troy" userId="d0937869-bb19-47f1-b7cb-e4344a414307" providerId="ADAL" clId="{0B9E4739-E43A-4485-B480-0870AB84DD6D}" dt="2025-12-05T21:26:27.435" v="5835" actId="1076"/>
          <ac:grpSpMkLst>
            <pc:docMk/>
            <pc:sldMk cId="3694193398" sldId="2147481126"/>
            <ac:grpSpMk id="98" creationId="{8A9B61D8-ED22-F922-F2AC-A61A84F7B508}"/>
          </ac:grpSpMkLst>
        </pc:grpChg>
        <pc:grpChg chg="mod">
          <ac:chgData name="Bloesch, Troy" userId="d0937869-bb19-47f1-b7cb-e4344a414307" providerId="ADAL" clId="{0B9E4739-E43A-4485-B480-0870AB84DD6D}" dt="2025-12-05T19:10:09.507" v="537" actId="1076"/>
          <ac:grpSpMkLst>
            <pc:docMk/>
            <pc:sldMk cId="3694193398" sldId="2147481126"/>
            <ac:grpSpMk id="104" creationId="{2975DD06-25A6-EDFD-0795-F93B1AB79CCA}"/>
          </ac:grpSpMkLst>
        </pc:grpChg>
        <pc:grpChg chg="del">
          <ac:chgData name="Bloesch, Troy" userId="d0937869-bb19-47f1-b7cb-e4344a414307" providerId="ADAL" clId="{0B9E4739-E43A-4485-B480-0870AB84DD6D}" dt="2025-12-05T18:43:42.372" v="123" actId="478"/>
          <ac:grpSpMkLst>
            <pc:docMk/>
            <pc:sldMk cId="3694193398" sldId="2147481126"/>
            <ac:grpSpMk id="105" creationId="{9C1E9066-E45D-0840-543B-163988B52CDC}"/>
          </ac:grpSpMkLst>
        </pc:grpChg>
        <pc:grpChg chg="mod">
          <ac:chgData name="Bloesch, Troy" userId="d0937869-bb19-47f1-b7cb-e4344a414307" providerId="ADAL" clId="{0B9E4739-E43A-4485-B480-0870AB84DD6D}" dt="2025-12-05T21:26:27.435" v="5835" actId="1076"/>
          <ac:grpSpMkLst>
            <pc:docMk/>
            <pc:sldMk cId="3694193398" sldId="2147481126"/>
            <ac:grpSpMk id="106" creationId="{4EBEB098-A03F-9963-D59B-47FB2AFB39F6}"/>
          </ac:grpSpMkLst>
        </pc:grpChg>
        <pc:grpChg chg="mod">
          <ac:chgData name="Bloesch, Troy" userId="d0937869-bb19-47f1-b7cb-e4344a414307" providerId="ADAL" clId="{0B9E4739-E43A-4485-B480-0870AB84DD6D}" dt="2025-12-05T21:26:27.435" v="5835" actId="1076"/>
          <ac:grpSpMkLst>
            <pc:docMk/>
            <pc:sldMk cId="3694193398" sldId="2147481126"/>
            <ac:grpSpMk id="110" creationId="{6ACF67C2-04CF-2EA2-1548-D24C69C0956A}"/>
          </ac:grpSpMkLst>
        </pc:grpChg>
        <pc:grpChg chg="add del">
          <ac:chgData name="Bloesch, Troy" userId="d0937869-bb19-47f1-b7cb-e4344a414307" providerId="ADAL" clId="{0B9E4739-E43A-4485-B480-0870AB84DD6D}" dt="2025-12-05T19:09:32.258" v="527" actId="478"/>
          <ac:grpSpMkLst>
            <pc:docMk/>
            <pc:sldMk cId="3694193398" sldId="2147481126"/>
            <ac:grpSpMk id="117" creationId="{2929D675-3B89-1D46-83EB-F2C442028B9C}"/>
          </ac:grpSpMkLst>
        </pc:grpChg>
        <pc:grpChg chg="add del">
          <ac:chgData name="Bloesch, Troy" userId="d0937869-bb19-47f1-b7cb-e4344a414307" providerId="ADAL" clId="{0B9E4739-E43A-4485-B480-0870AB84DD6D}" dt="2025-12-05T18:44:32.661" v="233" actId="478"/>
          <ac:grpSpMkLst>
            <pc:docMk/>
            <pc:sldMk cId="3694193398" sldId="2147481126"/>
            <ac:grpSpMk id="118" creationId="{D5055395-F14E-6CA8-DBEC-20D8F6AA603E}"/>
          </ac:grpSpMkLst>
        </pc:grpChg>
        <pc:grpChg chg="del">
          <ac:chgData name="Bloesch, Troy" userId="d0937869-bb19-47f1-b7cb-e4344a414307" providerId="ADAL" clId="{0B9E4739-E43A-4485-B480-0870AB84DD6D}" dt="2025-12-05T18:43:31.623" v="120" actId="478"/>
          <ac:grpSpMkLst>
            <pc:docMk/>
            <pc:sldMk cId="3694193398" sldId="2147481126"/>
            <ac:grpSpMk id="123" creationId="{0268B3A6-CEC6-8F48-B7C4-3221584C5368}"/>
          </ac:grpSpMkLst>
        </pc:grpChg>
        <pc:grpChg chg="mod">
          <ac:chgData name="Bloesch, Troy" userId="d0937869-bb19-47f1-b7cb-e4344a414307" providerId="ADAL" clId="{0B9E4739-E43A-4485-B480-0870AB84DD6D}" dt="2025-12-05T21:27:26.163" v="5839" actId="1076"/>
          <ac:grpSpMkLst>
            <pc:docMk/>
            <pc:sldMk cId="3694193398" sldId="2147481126"/>
            <ac:grpSpMk id="124" creationId="{DB419D0A-BD65-6802-0A20-A7CD82147217}"/>
          </ac:grpSpMkLst>
        </pc:grpChg>
        <pc:grpChg chg="del">
          <ac:chgData name="Bloesch, Troy" userId="d0937869-bb19-47f1-b7cb-e4344a414307" providerId="ADAL" clId="{0B9E4739-E43A-4485-B480-0870AB84DD6D}" dt="2025-12-05T18:44:33.789" v="234" actId="478"/>
          <ac:grpSpMkLst>
            <pc:docMk/>
            <pc:sldMk cId="3694193398" sldId="2147481126"/>
            <ac:grpSpMk id="134" creationId="{7ECF78C7-6A90-B791-1254-EA01CA8F29D6}"/>
          </ac:grpSpMkLst>
        </pc:grpChg>
        <pc:grpChg chg="mod">
          <ac:chgData name="Bloesch, Troy" userId="d0937869-bb19-47f1-b7cb-e4344a414307" providerId="ADAL" clId="{0B9E4739-E43A-4485-B480-0870AB84DD6D}" dt="2025-12-05T21:27:22.415" v="5838" actId="1076"/>
          <ac:grpSpMkLst>
            <pc:docMk/>
            <pc:sldMk cId="3694193398" sldId="2147481126"/>
            <ac:grpSpMk id="135" creationId="{271EA0A8-8A55-4DE9-1A16-166D8DAA7A0B}"/>
          </ac:grpSpMkLst>
        </pc:grpChg>
        <pc:grpChg chg="del">
          <ac:chgData name="Bloesch, Troy" userId="d0937869-bb19-47f1-b7cb-e4344a414307" providerId="ADAL" clId="{0B9E4739-E43A-4485-B480-0870AB84DD6D}" dt="2025-12-05T18:44:30.563" v="231" actId="478"/>
          <ac:grpSpMkLst>
            <pc:docMk/>
            <pc:sldMk cId="3694193398" sldId="2147481126"/>
            <ac:grpSpMk id="145" creationId="{10D10E39-1114-2B87-D120-C665F9C1B2EE}"/>
          </ac:grpSpMkLst>
        </pc:grpChg>
        <pc:grpChg chg="mod">
          <ac:chgData name="Bloesch, Troy" userId="d0937869-bb19-47f1-b7cb-e4344a414307" providerId="ADAL" clId="{0B9E4739-E43A-4485-B480-0870AB84DD6D}" dt="2025-12-05T21:27:33.870" v="5840" actId="1076"/>
          <ac:grpSpMkLst>
            <pc:docMk/>
            <pc:sldMk cId="3694193398" sldId="2147481126"/>
            <ac:grpSpMk id="146" creationId="{1E4C8C04-A34D-421E-1272-C495D65946ED}"/>
          </ac:grpSpMkLst>
        </pc:grpChg>
        <pc:grpChg chg="del">
          <ac:chgData name="Bloesch, Troy" userId="d0937869-bb19-47f1-b7cb-e4344a414307" providerId="ADAL" clId="{0B9E4739-E43A-4485-B480-0870AB84DD6D}" dt="2025-12-05T18:43:24.689" v="119" actId="21"/>
          <ac:grpSpMkLst>
            <pc:docMk/>
            <pc:sldMk cId="3694193398" sldId="2147481126"/>
            <ac:grpSpMk id="156" creationId="{DC7CD03A-EE1B-0B83-DF06-181900165C1C}"/>
          </ac:grpSpMkLst>
        </pc:grpChg>
        <pc:grpChg chg="mod">
          <ac:chgData name="Bloesch, Troy" userId="d0937869-bb19-47f1-b7cb-e4344a414307" providerId="ADAL" clId="{0B9E4739-E43A-4485-B480-0870AB84DD6D}" dt="2025-12-05T21:10:02.123" v="4994" actId="1076"/>
          <ac:grpSpMkLst>
            <pc:docMk/>
            <pc:sldMk cId="3694193398" sldId="2147481126"/>
            <ac:grpSpMk id="157" creationId="{F702A319-13EE-76DE-1C7C-311B0B037182}"/>
          </ac:grpSpMkLst>
        </pc:grpChg>
        <pc:graphicFrameChg chg="add mod ord modVis">
          <ac:chgData name="Bloesch, Troy" userId="d0937869-bb19-47f1-b7cb-e4344a414307" providerId="ADAL" clId="{0B9E4739-E43A-4485-B480-0870AB84DD6D}" dt="2025-12-05T21:26:15.682" v="5833"/>
          <ac:graphicFrameMkLst>
            <pc:docMk/>
            <pc:sldMk cId="3694193398" sldId="2147481126"/>
            <ac:graphicFrameMk id="31" creationId="{A8A4D38B-A70B-E368-D67D-0B7121FE03C6}"/>
          </ac:graphicFrameMkLst>
        </pc:graphicFrameChg>
        <pc:picChg chg="add del mod">
          <ac:chgData name="Bloesch, Troy" userId="d0937869-bb19-47f1-b7cb-e4344a414307" providerId="ADAL" clId="{0B9E4739-E43A-4485-B480-0870AB84DD6D}" dt="2025-12-05T19:07:14.987" v="494" actId="21"/>
          <ac:picMkLst>
            <pc:docMk/>
            <pc:sldMk cId="3694193398" sldId="2147481126"/>
            <ac:picMk id="4" creationId="{CE4F1089-9F7C-0CA6-532B-3421393F6AB1}"/>
          </ac:picMkLst>
        </pc:picChg>
        <pc:picChg chg="add del mod">
          <ac:chgData name="Bloesch, Troy" userId="d0937869-bb19-47f1-b7cb-e4344a414307" providerId="ADAL" clId="{0B9E4739-E43A-4485-B480-0870AB84DD6D}" dt="2025-12-05T19:08:53.609" v="515" actId="478"/>
          <ac:picMkLst>
            <pc:docMk/>
            <pc:sldMk cId="3694193398" sldId="2147481126"/>
            <ac:picMk id="5" creationId="{538D05EE-513E-EA97-1B92-CA527BF0FD6B}"/>
          </ac:picMkLst>
        </pc:picChg>
        <pc:picChg chg="del">
          <ac:chgData name="Bloesch, Troy" userId="d0937869-bb19-47f1-b7cb-e4344a414307" providerId="ADAL" clId="{0B9E4739-E43A-4485-B480-0870AB84DD6D}" dt="2025-12-05T19:07:28.865" v="497" actId="478"/>
          <ac:picMkLst>
            <pc:docMk/>
            <pc:sldMk cId="3694193398" sldId="2147481126"/>
            <ac:picMk id="6" creationId="{3CB4AD54-3FBC-9F80-8FF8-F47962791BEC}"/>
          </ac:picMkLst>
        </pc:picChg>
        <pc:picChg chg="add del mod">
          <ac:chgData name="Bloesch, Troy" userId="d0937869-bb19-47f1-b7cb-e4344a414307" providerId="ADAL" clId="{0B9E4739-E43A-4485-B480-0870AB84DD6D}" dt="2025-12-05T19:08:22.780" v="507" actId="21"/>
          <ac:picMkLst>
            <pc:docMk/>
            <pc:sldMk cId="3694193398" sldId="2147481126"/>
            <ac:picMk id="7" creationId="{C88D0B3E-01C8-7125-8550-84CD7DC39681}"/>
          </ac:picMkLst>
        </pc:picChg>
        <pc:picChg chg="add del mod">
          <ac:chgData name="Bloesch, Troy" userId="d0937869-bb19-47f1-b7cb-e4344a414307" providerId="ADAL" clId="{0B9E4739-E43A-4485-B480-0870AB84DD6D}" dt="2025-12-05T19:08:17.971" v="505" actId="21"/>
          <ac:picMkLst>
            <pc:docMk/>
            <pc:sldMk cId="3694193398" sldId="2147481126"/>
            <ac:picMk id="8" creationId="{46A27BB7-BD4B-3531-68E5-B7FA54389273}"/>
          </ac:picMkLst>
        </pc:picChg>
        <pc:picChg chg="add del mod">
          <ac:chgData name="Bloesch, Troy" userId="d0937869-bb19-47f1-b7cb-e4344a414307" providerId="ADAL" clId="{0B9E4739-E43A-4485-B480-0870AB84DD6D}" dt="2025-12-05T19:09:07.252" v="520" actId="21"/>
          <ac:picMkLst>
            <pc:docMk/>
            <pc:sldMk cId="3694193398" sldId="2147481126"/>
            <ac:picMk id="9" creationId="{7EBB7F28-EA07-01E9-5BCE-ACF6A041E171}"/>
          </ac:picMkLst>
        </pc:picChg>
        <pc:picChg chg="add mod">
          <ac:chgData name="Bloesch, Troy" userId="d0937869-bb19-47f1-b7cb-e4344a414307" providerId="ADAL" clId="{0B9E4739-E43A-4485-B480-0870AB84DD6D}" dt="2025-12-05T21:26:27.435" v="5835" actId="1076"/>
          <ac:picMkLst>
            <pc:docMk/>
            <pc:sldMk cId="3694193398" sldId="2147481126"/>
            <ac:picMk id="10" creationId="{73BB4ACA-CE51-83DD-60E7-99A97BDCE165}"/>
          </ac:picMkLst>
        </pc:picChg>
        <pc:picChg chg="add mod">
          <ac:chgData name="Bloesch, Troy" userId="d0937869-bb19-47f1-b7cb-e4344a414307" providerId="ADAL" clId="{0B9E4739-E43A-4485-B480-0870AB84DD6D}" dt="2025-12-05T21:26:27.435" v="5835" actId="1076"/>
          <ac:picMkLst>
            <pc:docMk/>
            <pc:sldMk cId="3694193398" sldId="2147481126"/>
            <ac:picMk id="11" creationId="{30A94CE2-C313-37ED-F5C8-0D759DDF77F5}"/>
          </ac:picMkLst>
        </pc:picChg>
        <pc:picChg chg="add mod">
          <ac:chgData name="Bloesch, Troy" userId="d0937869-bb19-47f1-b7cb-e4344a414307" providerId="ADAL" clId="{0B9E4739-E43A-4485-B480-0870AB84DD6D}" dt="2025-12-05T21:26:27.435" v="5835" actId="1076"/>
          <ac:picMkLst>
            <pc:docMk/>
            <pc:sldMk cId="3694193398" sldId="2147481126"/>
            <ac:picMk id="12" creationId="{9027DAF6-05C1-6295-D0F5-9EE7F2432FD1}"/>
          </ac:picMkLst>
        </pc:picChg>
        <pc:picChg chg="add mod">
          <ac:chgData name="Bloesch, Troy" userId="d0937869-bb19-47f1-b7cb-e4344a414307" providerId="ADAL" clId="{0B9E4739-E43A-4485-B480-0870AB84DD6D}" dt="2025-12-05T21:10:02.123" v="4994" actId="1076"/>
          <ac:picMkLst>
            <pc:docMk/>
            <pc:sldMk cId="3694193398" sldId="2147481126"/>
            <ac:picMk id="13" creationId="{B87FD37A-580B-9548-D655-F916DF5547A3}"/>
          </ac:picMkLst>
        </pc:picChg>
        <pc:picChg chg="add mod">
          <ac:chgData name="Bloesch, Troy" userId="d0937869-bb19-47f1-b7cb-e4344a414307" providerId="ADAL" clId="{0B9E4739-E43A-4485-B480-0870AB84DD6D}" dt="2025-12-05T21:27:33.870" v="5840" actId="1076"/>
          <ac:picMkLst>
            <pc:docMk/>
            <pc:sldMk cId="3694193398" sldId="2147481126"/>
            <ac:picMk id="14" creationId="{E57E5637-DFEE-8CEA-9E6D-D8D1ECB90A88}"/>
          </ac:picMkLst>
        </pc:picChg>
        <pc:picChg chg="add mod">
          <ac:chgData name="Bloesch, Troy" userId="d0937869-bb19-47f1-b7cb-e4344a414307" providerId="ADAL" clId="{0B9E4739-E43A-4485-B480-0870AB84DD6D}" dt="2025-12-05T21:27:22.415" v="5838" actId="1076"/>
          <ac:picMkLst>
            <pc:docMk/>
            <pc:sldMk cId="3694193398" sldId="2147481126"/>
            <ac:picMk id="15" creationId="{2182454C-FCEA-7A05-B89B-56B477C4C072}"/>
          </ac:picMkLst>
        </pc:picChg>
        <pc:picChg chg="add del mod">
          <ac:chgData name="Bloesch, Troy" userId="d0937869-bb19-47f1-b7cb-e4344a414307" providerId="ADAL" clId="{0B9E4739-E43A-4485-B480-0870AB84DD6D}" dt="2025-12-05T19:09:25.425" v="522" actId="478"/>
          <ac:picMkLst>
            <pc:docMk/>
            <pc:sldMk cId="3694193398" sldId="2147481126"/>
            <ac:picMk id="16" creationId="{E57250D5-3399-9ECA-8BEA-E2545EF3BFE2}"/>
          </ac:picMkLst>
        </pc:picChg>
        <pc:picChg chg="add del mod">
          <ac:chgData name="Bloesch, Troy" userId="d0937869-bb19-47f1-b7cb-e4344a414307" providerId="ADAL" clId="{0B9E4739-E43A-4485-B480-0870AB84DD6D}" dt="2025-12-05T19:38:52.934" v="1305" actId="478"/>
          <ac:picMkLst>
            <pc:docMk/>
            <pc:sldMk cId="3694193398" sldId="2147481126"/>
            <ac:picMk id="19" creationId="{2D58243E-6882-9795-FFFC-440E027957FB}"/>
          </ac:picMkLst>
        </pc:picChg>
        <pc:picChg chg="add mod modCrop">
          <ac:chgData name="Bloesch, Troy" userId="d0937869-bb19-47f1-b7cb-e4344a414307" providerId="ADAL" clId="{0B9E4739-E43A-4485-B480-0870AB84DD6D}" dt="2025-12-05T21:27:14.998" v="5837" actId="1076"/>
          <ac:picMkLst>
            <pc:docMk/>
            <pc:sldMk cId="3694193398" sldId="2147481126"/>
            <ac:picMk id="28" creationId="{14E2281B-221C-62DB-3125-4D110796DE2E}"/>
          </ac:picMkLst>
        </pc:picChg>
        <pc:picChg chg="add del mod">
          <ac:chgData name="Bloesch, Troy" userId="d0937869-bb19-47f1-b7cb-e4344a414307" providerId="ADAL" clId="{0B9E4739-E43A-4485-B480-0870AB84DD6D}" dt="2025-12-05T20:37:47.472" v="4659" actId="21"/>
          <ac:picMkLst>
            <pc:docMk/>
            <pc:sldMk cId="3694193398" sldId="2147481126"/>
            <ac:picMk id="1026" creationId="{9B3B2E48-13BA-20AF-7BE1-565CEDC8D729}"/>
          </ac:picMkLst>
        </pc:picChg>
        <pc:cxnChg chg="mod">
          <ac:chgData name="Bloesch, Troy" userId="d0937869-bb19-47f1-b7cb-e4344a414307" providerId="ADAL" clId="{0B9E4739-E43A-4485-B480-0870AB84DD6D}" dt="2025-12-05T20:34:17.033" v="4625"/>
          <ac:cxnSpMkLst>
            <pc:docMk/>
            <pc:sldMk cId="3694193398" sldId="2147481126"/>
            <ac:cxnSpMk id="26" creationId="{C6B911DA-09A4-CFE6-DBAF-0A630E10AD28}"/>
          </ac:cxnSpMkLst>
        </pc:cxnChg>
        <pc:cxnChg chg="del">
          <ac:chgData name="Bloesch, Troy" userId="d0937869-bb19-47f1-b7cb-e4344a414307" providerId="ADAL" clId="{0B9E4739-E43A-4485-B480-0870AB84DD6D}" dt="2025-12-05T19:09:27.542" v="523" actId="478"/>
          <ac:cxnSpMkLst>
            <pc:docMk/>
            <pc:sldMk cId="3694193398" sldId="2147481126"/>
            <ac:cxnSpMk id="84" creationId="{E7BB8EB2-EAA6-3E5B-F1A0-F0CA321ED1AC}"/>
          </ac:cxnSpMkLst>
        </pc:cxnChg>
        <pc:cxnChg chg="mod">
          <ac:chgData name="Bloesch, Troy" userId="d0937869-bb19-47f1-b7cb-e4344a414307" providerId="ADAL" clId="{0B9E4739-E43A-4485-B480-0870AB84DD6D}" dt="2025-12-05T21:01:30.128" v="4940" actId="1037"/>
          <ac:cxnSpMkLst>
            <pc:docMk/>
            <pc:sldMk cId="3694193398" sldId="2147481126"/>
            <ac:cxnSpMk id="148" creationId="{BE752C3E-F4D4-796A-EA6F-921564393E4B}"/>
          </ac:cxnSpMkLst>
        </pc:cxnChg>
      </pc:sldChg>
      <pc:sldChg chg="addSp delSp modSp add mod modClrScheme modShow chgLayout modNotesTx">
        <pc:chgData name="Bloesch, Troy" userId="d0937869-bb19-47f1-b7cb-e4344a414307" providerId="ADAL" clId="{0B9E4739-E43A-4485-B480-0870AB84DD6D}" dt="2025-12-05T23:17:26.834" v="6636" actId="20577"/>
        <pc:sldMkLst>
          <pc:docMk/>
          <pc:sldMk cId="3764616034" sldId="2147481130"/>
        </pc:sldMkLst>
        <pc:spChg chg="mod ord">
          <ac:chgData name="Bloesch, Troy" userId="d0937869-bb19-47f1-b7cb-e4344a414307" providerId="ADAL" clId="{0B9E4739-E43A-4485-B480-0870AB84DD6D}" dt="2025-12-05T21:18:21.567" v="5534" actId="948"/>
          <ac:spMkLst>
            <pc:docMk/>
            <pc:sldMk cId="3764616034" sldId="2147481130"/>
            <ac:spMk id="2" creationId="{02ACE126-C538-39CE-A4EA-E705BC721E10}"/>
          </ac:spMkLst>
        </pc:spChg>
        <pc:spChg chg="del">
          <ac:chgData name="Bloesch, Troy" userId="d0937869-bb19-47f1-b7cb-e4344a414307" providerId="ADAL" clId="{0B9E4739-E43A-4485-B480-0870AB84DD6D}" dt="2025-12-05T19:14:12.166" v="708" actId="478"/>
          <ac:spMkLst>
            <pc:docMk/>
            <pc:sldMk cId="3764616034" sldId="2147481130"/>
            <ac:spMk id="3" creationId="{3B2F6389-4E78-F3C5-ECAE-72EA7CB64EAB}"/>
          </ac:spMkLst>
        </pc:spChg>
        <pc:spChg chg="del mod ord">
          <ac:chgData name="Bloesch, Troy" userId="d0937869-bb19-47f1-b7cb-e4344a414307" providerId="ADAL" clId="{0B9E4739-E43A-4485-B480-0870AB84DD6D}" dt="2025-12-05T20:47:44.887" v="4811" actId="478"/>
          <ac:spMkLst>
            <pc:docMk/>
            <pc:sldMk cId="3764616034" sldId="2147481130"/>
            <ac:spMk id="4" creationId="{5A5B2566-56B2-B890-B5F9-57E2E4049347}"/>
          </ac:spMkLst>
        </pc:spChg>
        <pc:spChg chg="mod">
          <ac:chgData name="Bloesch, Troy" userId="d0937869-bb19-47f1-b7cb-e4344a414307" providerId="ADAL" clId="{0B9E4739-E43A-4485-B480-0870AB84DD6D}" dt="2025-12-05T20:18:21.154" v="4526" actId="20577"/>
          <ac:spMkLst>
            <pc:docMk/>
            <pc:sldMk cId="3764616034" sldId="2147481130"/>
            <ac:spMk id="5" creationId="{735B3F88-2FB5-BC68-EFEB-735280A798B0}"/>
          </ac:spMkLst>
        </pc:spChg>
        <pc:spChg chg="mod">
          <ac:chgData name="Bloesch, Troy" userId="d0937869-bb19-47f1-b7cb-e4344a414307" providerId="ADAL" clId="{0B9E4739-E43A-4485-B480-0870AB84DD6D}" dt="2025-12-05T20:18:06.859" v="4518" actId="1076"/>
          <ac:spMkLst>
            <pc:docMk/>
            <pc:sldMk cId="3764616034" sldId="2147481130"/>
            <ac:spMk id="6" creationId="{85EB63FD-D3D4-3A39-084F-2A9220E830E4}"/>
          </ac:spMkLst>
        </pc:spChg>
        <pc:spChg chg="mod ord">
          <ac:chgData name="Bloesch, Troy" userId="d0937869-bb19-47f1-b7cb-e4344a414307" providerId="ADAL" clId="{0B9E4739-E43A-4485-B480-0870AB84DD6D}" dt="2025-12-05T20:17:08.442" v="4507"/>
          <ac:spMkLst>
            <pc:docMk/>
            <pc:sldMk cId="3764616034" sldId="2147481130"/>
            <ac:spMk id="7" creationId="{A39D2994-AEF1-B326-CD92-92CECE3BEDE9}"/>
          </ac:spMkLst>
        </pc:spChg>
        <pc:spChg chg="mod ord">
          <ac:chgData name="Bloesch, Troy" userId="d0937869-bb19-47f1-b7cb-e4344a414307" providerId="ADAL" clId="{0B9E4739-E43A-4485-B480-0870AB84DD6D}" dt="2025-12-05T21:18:58.617" v="5596" actId="1036"/>
          <ac:spMkLst>
            <pc:docMk/>
            <pc:sldMk cId="3764616034" sldId="2147481130"/>
            <ac:spMk id="8" creationId="{8CD7017F-741D-DC23-88D6-DE9CBF06F9CF}"/>
          </ac:spMkLst>
        </pc:spChg>
        <pc:spChg chg="mod ord">
          <ac:chgData name="Bloesch, Troy" userId="d0937869-bb19-47f1-b7cb-e4344a414307" providerId="ADAL" clId="{0B9E4739-E43A-4485-B480-0870AB84DD6D}" dt="2025-12-05T20:44:14.301" v="4721" actId="207"/>
          <ac:spMkLst>
            <pc:docMk/>
            <pc:sldMk cId="3764616034" sldId="2147481130"/>
            <ac:spMk id="10" creationId="{E40C81E9-C5FE-F9D8-2CA7-30AD97429C01}"/>
          </ac:spMkLst>
        </pc:spChg>
        <pc:spChg chg="mod ord">
          <ac:chgData name="Bloesch, Troy" userId="d0937869-bb19-47f1-b7cb-e4344a414307" providerId="ADAL" clId="{0B9E4739-E43A-4485-B480-0870AB84DD6D}" dt="2025-12-05T21:18:58.617" v="5596" actId="1036"/>
          <ac:spMkLst>
            <pc:docMk/>
            <pc:sldMk cId="3764616034" sldId="2147481130"/>
            <ac:spMk id="11" creationId="{CE76EAC5-F9F0-4FDB-4FDF-972A7A3543E4}"/>
          </ac:spMkLst>
        </pc:spChg>
        <pc:spChg chg="mod ord">
          <ac:chgData name="Bloesch, Troy" userId="d0937869-bb19-47f1-b7cb-e4344a414307" providerId="ADAL" clId="{0B9E4739-E43A-4485-B480-0870AB84DD6D}" dt="2025-12-05T20:17:08.440" v="4498"/>
          <ac:spMkLst>
            <pc:docMk/>
            <pc:sldMk cId="3764616034" sldId="2147481130"/>
            <ac:spMk id="12" creationId="{9B2822B7-BF73-9059-5D4B-DE7E2A014A7D}"/>
          </ac:spMkLst>
        </pc:spChg>
        <pc:spChg chg="mod ord">
          <ac:chgData name="Bloesch, Troy" userId="d0937869-bb19-47f1-b7cb-e4344a414307" providerId="ADAL" clId="{0B9E4739-E43A-4485-B480-0870AB84DD6D}" dt="2025-12-05T20:17:08.440" v="4497"/>
          <ac:spMkLst>
            <pc:docMk/>
            <pc:sldMk cId="3764616034" sldId="2147481130"/>
            <ac:spMk id="13" creationId="{F1978976-9A2E-51C5-1889-AE878E48F1D0}"/>
          </ac:spMkLst>
        </pc:spChg>
        <pc:spChg chg="mod ord">
          <ac:chgData name="Bloesch, Troy" userId="d0937869-bb19-47f1-b7cb-e4344a414307" providerId="ADAL" clId="{0B9E4739-E43A-4485-B480-0870AB84DD6D}" dt="2025-12-05T20:17:08.442" v="4507"/>
          <ac:spMkLst>
            <pc:docMk/>
            <pc:sldMk cId="3764616034" sldId="2147481130"/>
            <ac:spMk id="14" creationId="{8BC84F53-DC4D-E06E-C776-37696B9D30A2}"/>
          </ac:spMkLst>
        </pc:spChg>
        <pc:spChg chg="mod ord">
          <ac:chgData name="Bloesch, Troy" userId="d0937869-bb19-47f1-b7cb-e4344a414307" providerId="ADAL" clId="{0B9E4739-E43A-4485-B480-0870AB84DD6D}" dt="2025-12-05T20:17:08.440" v="4495"/>
          <ac:spMkLst>
            <pc:docMk/>
            <pc:sldMk cId="3764616034" sldId="2147481130"/>
            <ac:spMk id="15" creationId="{A96E7F9F-36B6-4200-E067-BD29FACB3738}"/>
          </ac:spMkLst>
        </pc:spChg>
        <pc:spChg chg="mod ord">
          <ac:chgData name="Bloesch, Troy" userId="d0937869-bb19-47f1-b7cb-e4344a414307" providerId="ADAL" clId="{0B9E4739-E43A-4485-B480-0870AB84DD6D}" dt="2025-12-05T20:17:08.440" v="4494"/>
          <ac:spMkLst>
            <pc:docMk/>
            <pc:sldMk cId="3764616034" sldId="2147481130"/>
            <ac:spMk id="16" creationId="{F797A9ED-25FB-1540-A33F-D0640E10CE55}"/>
          </ac:spMkLst>
        </pc:spChg>
        <pc:spChg chg="mod ord">
          <ac:chgData name="Bloesch, Troy" userId="d0937869-bb19-47f1-b7cb-e4344a414307" providerId="ADAL" clId="{0B9E4739-E43A-4485-B480-0870AB84DD6D}" dt="2025-12-05T20:17:08.440" v="4493"/>
          <ac:spMkLst>
            <pc:docMk/>
            <pc:sldMk cId="3764616034" sldId="2147481130"/>
            <ac:spMk id="17" creationId="{7A584987-485F-188C-580C-C62B03B11F0D}"/>
          </ac:spMkLst>
        </pc:spChg>
        <pc:spChg chg="mod ord">
          <ac:chgData name="Bloesch, Troy" userId="d0937869-bb19-47f1-b7cb-e4344a414307" providerId="ADAL" clId="{0B9E4739-E43A-4485-B480-0870AB84DD6D}" dt="2025-12-05T20:17:08.440" v="4492"/>
          <ac:spMkLst>
            <pc:docMk/>
            <pc:sldMk cId="3764616034" sldId="2147481130"/>
            <ac:spMk id="18" creationId="{DB5F5F15-F66E-D504-3315-76C694E118D0}"/>
          </ac:spMkLst>
        </pc:spChg>
        <pc:spChg chg="mod ord">
          <ac:chgData name="Bloesch, Troy" userId="d0937869-bb19-47f1-b7cb-e4344a414307" providerId="ADAL" clId="{0B9E4739-E43A-4485-B480-0870AB84DD6D}" dt="2025-12-05T20:17:08.439" v="4491"/>
          <ac:spMkLst>
            <pc:docMk/>
            <pc:sldMk cId="3764616034" sldId="2147481130"/>
            <ac:spMk id="19" creationId="{3603259A-0F69-4E73-7ABE-D337FA2E9274}"/>
          </ac:spMkLst>
        </pc:spChg>
        <pc:spChg chg="del">
          <ac:chgData name="Bloesch, Troy" userId="d0937869-bb19-47f1-b7cb-e4344a414307" providerId="ADAL" clId="{0B9E4739-E43A-4485-B480-0870AB84DD6D}" dt="2025-12-05T19:17:01.959" v="833" actId="478"/>
          <ac:spMkLst>
            <pc:docMk/>
            <pc:sldMk cId="3764616034" sldId="2147481130"/>
            <ac:spMk id="20" creationId="{941A28B0-F3EC-B459-6C9F-832389107F4F}"/>
          </ac:spMkLst>
        </pc:spChg>
        <pc:spChg chg="mod ord">
          <ac:chgData name="Bloesch, Troy" userId="d0937869-bb19-47f1-b7cb-e4344a414307" providerId="ADAL" clId="{0B9E4739-E43A-4485-B480-0870AB84DD6D}" dt="2025-12-05T20:17:08.439" v="4490"/>
          <ac:spMkLst>
            <pc:docMk/>
            <pc:sldMk cId="3764616034" sldId="2147481130"/>
            <ac:spMk id="21" creationId="{EA792A33-3D36-3E79-F407-401209AF671A}"/>
          </ac:spMkLst>
        </pc:spChg>
        <pc:spChg chg="mod ord">
          <ac:chgData name="Bloesch, Troy" userId="d0937869-bb19-47f1-b7cb-e4344a414307" providerId="ADAL" clId="{0B9E4739-E43A-4485-B480-0870AB84DD6D}" dt="2025-12-05T20:17:08.439" v="4489"/>
          <ac:spMkLst>
            <pc:docMk/>
            <pc:sldMk cId="3764616034" sldId="2147481130"/>
            <ac:spMk id="22" creationId="{0F9EA88B-277C-37A2-AD54-9026551E6206}"/>
          </ac:spMkLst>
        </pc:spChg>
        <pc:spChg chg="del mod ord">
          <ac:chgData name="Bloesch, Troy" userId="d0937869-bb19-47f1-b7cb-e4344a414307" providerId="ADAL" clId="{0B9E4739-E43A-4485-B480-0870AB84DD6D}" dt="2025-12-05T20:47:44.887" v="4811" actId="478"/>
          <ac:spMkLst>
            <pc:docMk/>
            <pc:sldMk cId="3764616034" sldId="2147481130"/>
            <ac:spMk id="26" creationId="{C7CE7F1F-F50C-5368-5DE5-5491ECE8C93F}"/>
          </ac:spMkLst>
        </pc:spChg>
        <pc:spChg chg="del mod ord">
          <ac:chgData name="Bloesch, Troy" userId="d0937869-bb19-47f1-b7cb-e4344a414307" providerId="ADAL" clId="{0B9E4739-E43A-4485-B480-0870AB84DD6D}" dt="2025-12-05T20:47:44.887" v="4811" actId="478"/>
          <ac:spMkLst>
            <pc:docMk/>
            <pc:sldMk cId="3764616034" sldId="2147481130"/>
            <ac:spMk id="27" creationId="{FA56ADFB-FD4B-28D0-EC72-3EB30E9F2CF3}"/>
          </ac:spMkLst>
        </pc:spChg>
        <pc:spChg chg="del mod ord">
          <ac:chgData name="Bloesch, Troy" userId="d0937869-bb19-47f1-b7cb-e4344a414307" providerId="ADAL" clId="{0B9E4739-E43A-4485-B480-0870AB84DD6D}" dt="2025-12-05T20:47:44.887" v="4811" actId="478"/>
          <ac:spMkLst>
            <pc:docMk/>
            <pc:sldMk cId="3764616034" sldId="2147481130"/>
            <ac:spMk id="28" creationId="{531E7FDD-8DD7-559D-C84F-E01DA2ADA51A}"/>
          </ac:spMkLst>
        </pc:spChg>
        <pc:spChg chg="del mod ord">
          <ac:chgData name="Bloesch, Troy" userId="d0937869-bb19-47f1-b7cb-e4344a414307" providerId="ADAL" clId="{0B9E4739-E43A-4485-B480-0870AB84DD6D}" dt="2025-12-05T20:47:44.887" v="4811" actId="478"/>
          <ac:spMkLst>
            <pc:docMk/>
            <pc:sldMk cId="3764616034" sldId="2147481130"/>
            <ac:spMk id="29" creationId="{74440DDC-BCFA-6247-6A98-ECEB8EC43A88}"/>
          </ac:spMkLst>
        </pc:spChg>
        <pc:spChg chg="mod ord">
          <ac:chgData name="Bloesch, Troy" userId="d0937869-bb19-47f1-b7cb-e4344a414307" providerId="ADAL" clId="{0B9E4739-E43A-4485-B480-0870AB84DD6D}" dt="2025-12-05T20:17:08.442" v="4507"/>
          <ac:spMkLst>
            <pc:docMk/>
            <pc:sldMk cId="3764616034" sldId="2147481130"/>
            <ac:spMk id="30" creationId="{9EA48B3C-300D-009D-0D50-0C3B2CF25E2E}"/>
          </ac:spMkLst>
        </pc:spChg>
        <pc:spChg chg="del mod ord">
          <ac:chgData name="Bloesch, Troy" userId="d0937869-bb19-47f1-b7cb-e4344a414307" providerId="ADAL" clId="{0B9E4739-E43A-4485-B480-0870AB84DD6D}" dt="2025-12-05T20:47:44.887" v="4811" actId="478"/>
          <ac:spMkLst>
            <pc:docMk/>
            <pc:sldMk cId="3764616034" sldId="2147481130"/>
            <ac:spMk id="31" creationId="{2FDF1E89-62F1-34C5-01CF-D4D4913D2A01}"/>
          </ac:spMkLst>
        </pc:spChg>
        <pc:spChg chg="del mod ord">
          <ac:chgData name="Bloesch, Troy" userId="d0937869-bb19-47f1-b7cb-e4344a414307" providerId="ADAL" clId="{0B9E4739-E43A-4485-B480-0870AB84DD6D}" dt="2025-12-05T20:47:44.887" v="4811" actId="478"/>
          <ac:spMkLst>
            <pc:docMk/>
            <pc:sldMk cId="3764616034" sldId="2147481130"/>
            <ac:spMk id="32" creationId="{1C0F32D3-72A8-4A93-26FA-C58FA4333766}"/>
          </ac:spMkLst>
        </pc:spChg>
        <pc:spChg chg="del mod ord">
          <ac:chgData name="Bloesch, Troy" userId="d0937869-bb19-47f1-b7cb-e4344a414307" providerId="ADAL" clId="{0B9E4739-E43A-4485-B480-0870AB84DD6D}" dt="2025-12-05T20:47:44.887" v="4811" actId="478"/>
          <ac:spMkLst>
            <pc:docMk/>
            <pc:sldMk cId="3764616034" sldId="2147481130"/>
            <ac:spMk id="33" creationId="{7AD3FF88-63EC-D4E6-AF62-529D80169E31}"/>
          </ac:spMkLst>
        </pc:spChg>
        <pc:spChg chg="add del mod modVis">
          <ac:chgData name="Bloesch, Troy" userId="d0937869-bb19-47f1-b7cb-e4344a414307" providerId="ADAL" clId="{0B9E4739-E43A-4485-B480-0870AB84DD6D}" dt="2025-12-05T19:13:40.417" v="663"/>
          <ac:spMkLst>
            <pc:docMk/>
            <pc:sldMk cId="3764616034" sldId="2147481130"/>
            <ac:spMk id="34" creationId="{EE04A753-2F60-C1D4-B878-E487C9626478}"/>
          </ac:spMkLst>
        </pc:spChg>
        <pc:spChg chg="add del mod modVis">
          <ac:chgData name="Bloesch, Troy" userId="d0937869-bb19-47f1-b7cb-e4344a414307" providerId="ADAL" clId="{0B9E4739-E43A-4485-B480-0870AB84DD6D}" dt="2025-12-05T19:13:41.260" v="703"/>
          <ac:spMkLst>
            <pc:docMk/>
            <pc:sldMk cId="3764616034" sldId="2147481130"/>
            <ac:spMk id="36" creationId="{71CA5A74-D09E-4EF8-C7EC-084E84F838B6}"/>
          </ac:spMkLst>
        </pc:spChg>
        <pc:spChg chg="add del mod">
          <ac:chgData name="Bloesch, Troy" userId="d0937869-bb19-47f1-b7cb-e4344a414307" providerId="ADAL" clId="{0B9E4739-E43A-4485-B480-0870AB84DD6D}" dt="2025-12-05T19:15:20.180" v="769" actId="478"/>
          <ac:spMkLst>
            <pc:docMk/>
            <pc:sldMk cId="3764616034" sldId="2147481130"/>
            <ac:spMk id="37" creationId="{E52A9AC0-03CB-6867-48D7-C57DF9ACD28C}"/>
          </ac:spMkLst>
        </pc:spChg>
        <pc:spChg chg="add mod">
          <ac:chgData name="Bloesch, Troy" userId="d0937869-bb19-47f1-b7cb-e4344a414307" providerId="ADAL" clId="{0B9E4739-E43A-4485-B480-0870AB84DD6D}" dt="2025-12-05T20:18:18.470" v="4523" actId="20577"/>
          <ac:spMkLst>
            <pc:docMk/>
            <pc:sldMk cId="3764616034" sldId="2147481130"/>
            <ac:spMk id="38" creationId="{C82CDCE8-2DAA-D2DD-139B-A6F3C44DFBD7}"/>
          </ac:spMkLst>
        </pc:spChg>
        <pc:spChg chg="del mod ord">
          <ac:chgData name="Bloesch, Troy" userId="d0937869-bb19-47f1-b7cb-e4344a414307" providerId="ADAL" clId="{0B9E4739-E43A-4485-B480-0870AB84DD6D}" dt="2025-12-05T20:47:44.887" v="4811" actId="478"/>
          <ac:spMkLst>
            <pc:docMk/>
            <pc:sldMk cId="3764616034" sldId="2147481130"/>
            <ac:spMk id="39" creationId="{1DCF3F84-65BA-7B1C-FAED-ADE55A3E444D}"/>
          </ac:spMkLst>
        </pc:spChg>
        <pc:spChg chg="del mod ord">
          <ac:chgData name="Bloesch, Troy" userId="d0937869-bb19-47f1-b7cb-e4344a414307" providerId="ADAL" clId="{0B9E4739-E43A-4485-B480-0870AB84DD6D}" dt="2025-12-05T20:47:44.887" v="4811" actId="478"/>
          <ac:spMkLst>
            <pc:docMk/>
            <pc:sldMk cId="3764616034" sldId="2147481130"/>
            <ac:spMk id="40" creationId="{1B2971D7-EF3E-0E71-BA29-DB742BE2777A}"/>
          </ac:spMkLst>
        </pc:spChg>
        <pc:spChg chg="add mod ord">
          <ac:chgData name="Bloesch, Troy" userId="d0937869-bb19-47f1-b7cb-e4344a414307" providerId="ADAL" clId="{0B9E4739-E43A-4485-B480-0870AB84DD6D}" dt="2025-12-05T20:17:08.435" v="4467"/>
          <ac:spMkLst>
            <pc:docMk/>
            <pc:sldMk cId="3764616034" sldId="2147481130"/>
            <ac:spMk id="42" creationId="{E9334C18-DB9F-6A2E-3E46-56D838DCE913}"/>
          </ac:spMkLst>
        </pc:spChg>
        <pc:spChg chg="mod ord">
          <ac:chgData name="Bloesch, Troy" userId="d0937869-bb19-47f1-b7cb-e4344a414307" providerId="ADAL" clId="{0B9E4739-E43A-4485-B480-0870AB84DD6D}" dt="2025-12-05T21:18:58.617" v="5596" actId="1036"/>
          <ac:spMkLst>
            <pc:docMk/>
            <pc:sldMk cId="3764616034" sldId="2147481130"/>
            <ac:spMk id="43" creationId="{30F870BB-297A-CB5E-D6A6-D8BB83B18EB5}"/>
          </ac:spMkLst>
        </pc:spChg>
        <pc:spChg chg="mod ord">
          <ac:chgData name="Bloesch, Troy" userId="d0937869-bb19-47f1-b7cb-e4344a414307" providerId="ADAL" clId="{0B9E4739-E43A-4485-B480-0870AB84DD6D}" dt="2025-12-05T20:17:08.435" v="4466"/>
          <ac:spMkLst>
            <pc:docMk/>
            <pc:sldMk cId="3764616034" sldId="2147481130"/>
            <ac:spMk id="44" creationId="{4EB983F5-1184-D9BB-507E-BAF41350BF55}"/>
          </ac:spMkLst>
        </pc:spChg>
        <pc:spChg chg="add del mod">
          <ac:chgData name="Bloesch, Troy" userId="d0937869-bb19-47f1-b7cb-e4344a414307" providerId="ADAL" clId="{0B9E4739-E43A-4485-B480-0870AB84DD6D}" dt="2025-12-05T19:15:20.180" v="769" actId="478"/>
          <ac:spMkLst>
            <pc:docMk/>
            <pc:sldMk cId="3764616034" sldId="2147481130"/>
            <ac:spMk id="46" creationId="{8FA82D2D-9AB9-5AF4-7799-3C7020A3DAFF}"/>
          </ac:spMkLst>
        </pc:spChg>
        <pc:spChg chg="add del mod">
          <ac:chgData name="Bloesch, Troy" userId="d0937869-bb19-47f1-b7cb-e4344a414307" providerId="ADAL" clId="{0B9E4739-E43A-4485-B480-0870AB84DD6D}" dt="2025-12-05T19:15:20.180" v="769" actId="478"/>
          <ac:spMkLst>
            <pc:docMk/>
            <pc:sldMk cId="3764616034" sldId="2147481130"/>
            <ac:spMk id="47" creationId="{048DF6CD-DE6B-70A6-29B7-666CA3CC4AF0}"/>
          </ac:spMkLst>
        </pc:spChg>
        <pc:spChg chg="add del mod">
          <ac:chgData name="Bloesch, Troy" userId="d0937869-bb19-47f1-b7cb-e4344a414307" providerId="ADAL" clId="{0B9E4739-E43A-4485-B480-0870AB84DD6D}" dt="2025-12-05T19:15:20.180" v="769" actId="478"/>
          <ac:spMkLst>
            <pc:docMk/>
            <pc:sldMk cId="3764616034" sldId="2147481130"/>
            <ac:spMk id="48" creationId="{7F68A28D-B042-3363-0B47-05113318E18E}"/>
          </ac:spMkLst>
        </pc:spChg>
        <pc:spChg chg="mod ord">
          <ac:chgData name="Bloesch, Troy" userId="d0937869-bb19-47f1-b7cb-e4344a414307" providerId="ADAL" clId="{0B9E4739-E43A-4485-B480-0870AB84DD6D}" dt="2025-12-05T20:17:08.436" v="4473"/>
          <ac:spMkLst>
            <pc:docMk/>
            <pc:sldMk cId="3764616034" sldId="2147481130"/>
            <ac:spMk id="49" creationId="{97A01D68-8A9B-D748-DF44-F9EB34EB95C5}"/>
          </ac:spMkLst>
        </pc:spChg>
        <pc:spChg chg="add del mod">
          <ac:chgData name="Bloesch, Troy" userId="d0937869-bb19-47f1-b7cb-e4344a414307" providerId="ADAL" clId="{0B9E4739-E43A-4485-B480-0870AB84DD6D}" dt="2025-12-05T19:15:20.180" v="769" actId="478"/>
          <ac:spMkLst>
            <pc:docMk/>
            <pc:sldMk cId="3764616034" sldId="2147481130"/>
            <ac:spMk id="50" creationId="{21D8CD05-B6F1-C67C-62E2-57DF7E169AD0}"/>
          </ac:spMkLst>
        </pc:spChg>
        <pc:spChg chg="mod ord">
          <ac:chgData name="Bloesch, Troy" userId="d0937869-bb19-47f1-b7cb-e4344a414307" providerId="ADAL" clId="{0B9E4739-E43A-4485-B480-0870AB84DD6D}" dt="2025-12-05T20:45:06.387" v="4798" actId="208"/>
          <ac:spMkLst>
            <pc:docMk/>
            <pc:sldMk cId="3764616034" sldId="2147481130"/>
            <ac:spMk id="51" creationId="{F6E4E05D-902E-24F2-526A-1C73F0E00CE3}"/>
          </ac:spMkLst>
        </pc:spChg>
        <pc:spChg chg="mod ord">
          <ac:chgData name="Bloesch, Troy" userId="d0937869-bb19-47f1-b7cb-e4344a414307" providerId="ADAL" clId="{0B9E4739-E43A-4485-B480-0870AB84DD6D}" dt="2025-12-05T20:17:08.442" v="4507"/>
          <ac:spMkLst>
            <pc:docMk/>
            <pc:sldMk cId="3764616034" sldId="2147481130"/>
            <ac:spMk id="52" creationId="{6D3A7193-92F3-F7F3-1BF9-2D5DF386E30E}"/>
          </ac:spMkLst>
        </pc:spChg>
        <pc:spChg chg="mod">
          <ac:chgData name="Bloesch, Troy" userId="d0937869-bb19-47f1-b7cb-e4344a414307" providerId="ADAL" clId="{0B9E4739-E43A-4485-B480-0870AB84DD6D}" dt="2025-12-05T20:16:09.489" v="4354" actId="207"/>
          <ac:spMkLst>
            <pc:docMk/>
            <pc:sldMk cId="3764616034" sldId="2147481130"/>
            <ac:spMk id="54" creationId="{54E0FF84-A6FA-C8CA-79AE-E8F435F918F2}"/>
          </ac:spMkLst>
        </pc:spChg>
        <pc:spChg chg="mod">
          <ac:chgData name="Bloesch, Troy" userId="d0937869-bb19-47f1-b7cb-e4344a414307" providerId="ADAL" clId="{0B9E4739-E43A-4485-B480-0870AB84DD6D}" dt="2025-12-05T20:16:09.489" v="4354" actId="207"/>
          <ac:spMkLst>
            <pc:docMk/>
            <pc:sldMk cId="3764616034" sldId="2147481130"/>
            <ac:spMk id="55" creationId="{7F73CD2D-8061-8B98-611C-525E783ABBA6}"/>
          </ac:spMkLst>
        </pc:spChg>
        <pc:spChg chg="del topLvl">
          <ac:chgData name="Bloesch, Troy" userId="d0937869-bb19-47f1-b7cb-e4344a414307" providerId="ADAL" clId="{0B9E4739-E43A-4485-B480-0870AB84DD6D}" dt="2025-12-05T19:17:29.642" v="836" actId="478"/>
          <ac:spMkLst>
            <pc:docMk/>
            <pc:sldMk cId="3764616034" sldId="2147481130"/>
            <ac:spMk id="1100" creationId="{E691581F-8E05-2FFC-089F-16EC6144B93F}"/>
          </ac:spMkLst>
        </pc:spChg>
        <pc:spChg chg="del topLvl">
          <ac:chgData name="Bloesch, Troy" userId="d0937869-bb19-47f1-b7cb-e4344a414307" providerId="ADAL" clId="{0B9E4739-E43A-4485-B480-0870AB84DD6D}" dt="2025-12-05T19:17:24.919" v="835" actId="478"/>
          <ac:spMkLst>
            <pc:docMk/>
            <pc:sldMk cId="3764616034" sldId="2147481130"/>
            <ac:spMk id="1101" creationId="{D8BE9BB7-B3E3-FCF2-D286-76395E4B82F1}"/>
          </ac:spMkLst>
        </pc:spChg>
        <pc:spChg chg="mod">
          <ac:chgData name="Bloesch, Troy" userId="d0937869-bb19-47f1-b7cb-e4344a414307" providerId="ADAL" clId="{0B9E4739-E43A-4485-B480-0870AB84DD6D}" dt="2025-12-05T21:18:58.617" v="5596" actId="1036"/>
          <ac:spMkLst>
            <pc:docMk/>
            <pc:sldMk cId="3764616034" sldId="2147481130"/>
            <ac:spMk id="1107" creationId="{62DF997E-3359-99C2-7294-9D133D597FFF}"/>
          </ac:spMkLst>
        </pc:spChg>
        <pc:spChg chg="mod">
          <ac:chgData name="Bloesch, Troy" userId="d0937869-bb19-47f1-b7cb-e4344a414307" providerId="ADAL" clId="{0B9E4739-E43A-4485-B480-0870AB84DD6D}" dt="2025-12-05T21:18:58.617" v="5596" actId="1036"/>
          <ac:spMkLst>
            <pc:docMk/>
            <pc:sldMk cId="3764616034" sldId="2147481130"/>
            <ac:spMk id="1108" creationId="{74DC58B5-1ACE-D615-17AB-D22D770813D4}"/>
          </ac:spMkLst>
        </pc:spChg>
        <pc:spChg chg="mod">
          <ac:chgData name="Bloesch, Troy" userId="d0937869-bb19-47f1-b7cb-e4344a414307" providerId="ADAL" clId="{0B9E4739-E43A-4485-B480-0870AB84DD6D}" dt="2025-12-05T20:17:15.037" v="4512" actId="165"/>
          <ac:spMkLst>
            <pc:docMk/>
            <pc:sldMk cId="3764616034" sldId="2147481130"/>
            <ac:spMk id="1114" creationId="{BF7E4DDF-8396-8579-4133-FC0FF47AB39A}"/>
          </ac:spMkLst>
        </pc:spChg>
        <pc:spChg chg="mod">
          <ac:chgData name="Bloesch, Troy" userId="d0937869-bb19-47f1-b7cb-e4344a414307" providerId="ADAL" clId="{0B9E4739-E43A-4485-B480-0870AB84DD6D}" dt="2025-12-05T21:18:58.617" v="5596" actId="1036"/>
          <ac:spMkLst>
            <pc:docMk/>
            <pc:sldMk cId="3764616034" sldId="2147481130"/>
            <ac:spMk id="1116" creationId="{F4474128-43CD-0916-C259-C95BFB486E68}"/>
          </ac:spMkLst>
        </pc:spChg>
        <pc:spChg chg="add mod">
          <ac:chgData name="Bloesch, Troy" userId="d0937869-bb19-47f1-b7cb-e4344a414307" providerId="ADAL" clId="{0B9E4739-E43A-4485-B480-0870AB84DD6D}" dt="2025-12-05T19:14:20.885" v="710" actId="1076"/>
          <ac:spMkLst>
            <pc:docMk/>
            <pc:sldMk cId="3764616034" sldId="2147481130"/>
            <ac:spMk id="1117" creationId="{09A804F9-32A0-D001-D653-1780A86E5008}"/>
          </ac:spMkLst>
        </pc:spChg>
        <pc:spChg chg="mod">
          <ac:chgData name="Bloesch, Troy" userId="d0937869-bb19-47f1-b7cb-e4344a414307" providerId="ADAL" clId="{0B9E4739-E43A-4485-B480-0870AB84DD6D}" dt="2025-12-05T20:17:34.603" v="4513" actId="207"/>
          <ac:spMkLst>
            <pc:docMk/>
            <pc:sldMk cId="3764616034" sldId="2147481130"/>
            <ac:spMk id="1118" creationId="{66F3B4D6-96A1-6CB5-BE29-ED4CA94BE8B2}"/>
          </ac:spMkLst>
        </pc:spChg>
        <pc:spChg chg="add del mod">
          <ac:chgData name="Bloesch, Troy" userId="d0937869-bb19-47f1-b7cb-e4344a414307" providerId="ADAL" clId="{0B9E4739-E43A-4485-B480-0870AB84DD6D}" dt="2025-12-05T19:15:20.180" v="769" actId="478"/>
          <ac:spMkLst>
            <pc:docMk/>
            <pc:sldMk cId="3764616034" sldId="2147481130"/>
            <ac:spMk id="1120" creationId="{AB17E6B0-FC0B-1583-6FD6-5BB20B6DE7F2}"/>
          </ac:spMkLst>
        </pc:spChg>
        <pc:spChg chg="add del mod">
          <ac:chgData name="Bloesch, Troy" userId="d0937869-bb19-47f1-b7cb-e4344a414307" providerId="ADAL" clId="{0B9E4739-E43A-4485-B480-0870AB84DD6D}" dt="2025-12-05T19:15:20.180" v="769" actId="478"/>
          <ac:spMkLst>
            <pc:docMk/>
            <pc:sldMk cId="3764616034" sldId="2147481130"/>
            <ac:spMk id="1121" creationId="{519369B6-0B66-1ED9-006F-B44A3929BAEE}"/>
          </ac:spMkLst>
        </pc:spChg>
        <pc:spChg chg="del">
          <ac:chgData name="Bloesch, Troy" userId="d0937869-bb19-47f1-b7cb-e4344a414307" providerId="ADAL" clId="{0B9E4739-E43A-4485-B480-0870AB84DD6D}" dt="2025-12-05T19:15:20.180" v="769" actId="478"/>
          <ac:spMkLst>
            <pc:docMk/>
            <pc:sldMk cId="3764616034" sldId="2147481130"/>
            <ac:spMk id="1122" creationId="{16E5D09D-F971-61A0-4998-0322C6C9DB94}"/>
          </ac:spMkLst>
        </pc:spChg>
        <pc:spChg chg="del">
          <ac:chgData name="Bloesch, Troy" userId="d0937869-bb19-47f1-b7cb-e4344a414307" providerId="ADAL" clId="{0B9E4739-E43A-4485-B480-0870AB84DD6D}" dt="2025-12-05T19:15:20.180" v="769" actId="478"/>
          <ac:spMkLst>
            <pc:docMk/>
            <pc:sldMk cId="3764616034" sldId="2147481130"/>
            <ac:spMk id="1123" creationId="{642C2BF2-E1F8-2AE5-15D8-D515D7B98DC0}"/>
          </ac:spMkLst>
        </pc:spChg>
        <pc:spChg chg="del">
          <ac:chgData name="Bloesch, Troy" userId="d0937869-bb19-47f1-b7cb-e4344a414307" providerId="ADAL" clId="{0B9E4739-E43A-4485-B480-0870AB84DD6D}" dt="2025-12-05T19:15:20.180" v="769" actId="478"/>
          <ac:spMkLst>
            <pc:docMk/>
            <pc:sldMk cId="3764616034" sldId="2147481130"/>
            <ac:spMk id="1124" creationId="{41026651-3ACC-AD55-6221-24393F51D3DB}"/>
          </ac:spMkLst>
        </pc:spChg>
        <pc:spChg chg="mod">
          <ac:chgData name="Bloesch, Troy" userId="d0937869-bb19-47f1-b7cb-e4344a414307" providerId="ADAL" clId="{0B9E4739-E43A-4485-B480-0870AB84DD6D}" dt="2025-12-05T20:14:23.009" v="4045"/>
          <ac:spMkLst>
            <pc:docMk/>
            <pc:sldMk cId="3764616034" sldId="2147481130"/>
            <ac:spMk id="1130" creationId="{7CB2DF7B-E15B-A3F7-8027-DED8891E7AEC}"/>
          </ac:spMkLst>
        </pc:spChg>
        <pc:spChg chg="add mod ord">
          <ac:chgData name="Bloesch, Troy" userId="d0937869-bb19-47f1-b7cb-e4344a414307" providerId="ADAL" clId="{0B9E4739-E43A-4485-B480-0870AB84DD6D}" dt="2025-12-05T20:43:54.927" v="4720" actId="14100"/>
          <ac:spMkLst>
            <pc:docMk/>
            <pc:sldMk cId="3764616034" sldId="2147481130"/>
            <ac:spMk id="1132" creationId="{FB9F3FC7-3046-0060-A282-64FEFD9AB112}"/>
          </ac:spMkLst>
        </pc:spChg>
        <pc:spChg chg="add del mod modVis">
          <ac:chgData name="Bloesch, Troy" userId="d0937869-bb19-47f1-b7cb-e4344a414307" providerId="ADAL" clId="{0B9E4739-E43A-4485-B480-0870AB84DD6D}" dt="2025-12-05T20:44:30.407" v="4765"/>
          <ac:spMkLst>
            <pc:docMk/>
            <pc:sldMk cId="3764616034" sldId="2147481130"/>
            <ac:spMk id="1135" creationId="{C1DF8068-7FA1-A50D-C9F7-9E8F49DD8E10}"/>
          </ac:spMkLst>
        </pc:spChg>
        <pc:spChg chg="add del mod modVis">
          <ac:chgData name="Bloesch, Troy" userId="d0937869-bb19-47f1-b7cb-e4344a414307" providerId="ADAL" clId="{0B9E4739-E43A-4485-B480-0870AB84DD6D}" dt="2025-12-05T20:44:34.788" v="4794"/>
          <ac:spMkLst>
            <pc:docMk/>
            <pc:sldMk cId="3764616034" sldId="2147481130"/>
            <ac:spMk id="1136" creationId="{31726DEC-D74D-A2BD-6DA0-18F978502356}"/>
          </ac:spMkLst>
        </pc:spChg>
        <pc:spChg chg="add mod ord">
          <ac:chgData name="Bloesch, Troy" userId="d0937869-bb19-47f1-b7cb-e4344a414307" providerId="ADAL" clId="{0B9E4739-E43A-4485-B480-0870AB84DD6D}" dt="2025-12-05T21:18:49.493" v="5588" actId="108"/>
          <ac:spMkLst>
            <pc:docMk/>
            <pc:sldMk cId="3764616034" sldId="2147481130"/>
            <ac:spMk id="1137" creationId="{A50711CC-2EDE-8A56-A4F3-80331AAF803C}"/>
          </ac:spMkLst>
        </pc:spChg>
        <pc:spChg chg="add del mod modVis">
          <ac:chgData name="Bloesch, Troy" userId="d0937869-bb19-47f1-b7cb-e4344a414307" providerId="ADAL" clId="{0B9E4739-E43A-4485-B480-0870AB84DD6D}" dt="2025-12-05T21:18:21.596" v="5555"/>
          <ac:spMkLst>
            <pc:docMk/>
            <pc:sldMk cId="3764616034" sldId="2147481130"/>
            <ac:spMk id="1138" creationId="{6CDAD9FE-140A-7AED-DB74-E5F551EBADFB}"/>
          </ac:spMkLst>
        </pc:spChg>
        <pc:spChg chg="mod">
          <ac:chgData name="Bloesch, Troy" userId="d0937869-bb19-47f1-b7cb-e4344a414307" providerId="ADAL" clId="{0B9E4739-E43A-4485-B480-0870AB84DD6D}" dt="2025-12-05T20:17:15.037" v="4512" actId="165"/>
          <ac:spMkLst>
            <pc:docMk/>
            <pc:sldMk cId="3764616034" sldId="2147481130"/>
            <ac:spMk id="1193" creationId="{50F13426-C7B9-414A-4BF8-0494F9E8CBFA}"/>
          </ac:spMkLst>
        </pc:spChg>
        <pc:spChg chg="mod">
          <ac:chgData name="Bloesch, Troy" userId="d0937869-bb19-47f1-b7cb-e4344a414307" providerId="ADAL" clId="{0B9E4739-E43A-4485-B480-0870AB84DD6D}" dt="2025-12-05T21:18:58.617" v="5596" actId="1036"/>
          <ac:spMkLst>
            <pc:docMk/>
            <pc:sldMk cId="3764616034" sldId="2147481130"/>
            <ac:spMk id="1194" creationId="{BF8CF5F5-4DF0-24F1-1348-65F07D88ADF9}"/>
          </ac:spMkLst>
        </pc:spChg>
        <pc:spChg chg="mod">
          <ac:chgData name="Bloesch, Troy" userId="d0937869-bb19-47f1-b7cb-e4344a414307" providerId="ADAL" clId="{0B9E4739-E43A-4485-B480-0870AB84DD6D}" dt="2025-12-05T20:17:15.037" v="4512" actId="165"/>
          <ac:spMkLst>
            <pc:docMk/>
            <pc:sldMk cId="3764616034" sldId="2147481130"/>
            <ac:spMk id="1195" creationId="{EF47593E-3019-110A-76FF-2771E78D0818}"/>
          </ac:spMkLst>
        </pc:spChg>
        <pc:spChg chg="mod">
          <ac:chgData name="Bloesch, Troy" userId="d0937869-bb19-47f1-b7cb-e4344a414307" providerId="ADAL" clId="{0B9E4739-E43A-4485-B480-0870AB84DD6D}" dt="2025-12-05T21:18:58.617" v="5596" actId="1036"/>
          <ac:spMkLst>
            <pc:docMk/>
            <pc:sldMk cId="3764616034" sldId="2147481130"/>
            <ac:spMk id="1197" creationId="{53A082C1-B6D4-2DAD-14FC-D6760845208F}"/>
          </ac:spMkLst>
        </pc:spChg>
        <pc:spChg chg="mod">
          <ac:chgData name="Bloesch, Troy" userId="d0937869-bb19-47f1-b7cb-e4344a414307" providerId="ADAL" clId="{0B9E4739-E43A-4485-B480-0870AB84DD6D}" dt="2025-12-05T20:17:34.603" v="4513" actId="207"/>
          <ac:spMkLst>
            <pc:docMk/>
            <pc:sldMk cId="3764616034" sldId="2147481130"/>
            <ac:spMk id="1199" creationId="{FAC1F009-21D6-6BCA-CA4F-C12FF1DF1AFA}"/>
          </ac:spMkLst>
        </pc:spChg>
        <pc:spChg chg="mod">
          <ac:chgData name="Bloesch, Troy" userId="d0937869-bb19-47f1-b7cb-e4344a414307" providerId="ADAL" clId="{0B9E4739-E43A-4485-B480-0870AB84DD6D}" dt="2025-12-05T20:17:34.603" v="4513" actId="207"/>
          <ac:spMkLst>
            <pc:docMk/>
            <pc:sldMk cId="3764616034" sldId="2147481130"/>
            <ac:spMk id="1200" creationId="{976310E8-F825-D272-C84F-A0064CAD80C3}"/>
          </ac:spMkLst>
        </pc:spChg>
        <pc:spChg chg="mod">
          <ac:chgData name="Bloesch, Troy" userId="d0937869-bb19-47f1-b7cb-e4344a414307" providerId="ADAL" clId="{0B9E4739-E43A-4485-B480-0870AB84DD6D}" dt="2025-12-05T20:17:15.037" v="4512" actId="165"/>
          <ac:spMkLst>
            <pc:docMk/>
            <pc:sldMk cId="3764616034" sldId="2147481130"/>
            <ac:spMk id="1206" creationId="{85D54744-44FE-E86D-5424-9D47520D7776}"/>
          </ac:spMkLst>
        </pc:spChg>
        <pc:spChg chg="mod">
          <ac:chgData name="Bloesch, Troy" userId="d0937869-bb19-47f1-b7cb-e4344a414307" providerId="ADAL" clId="{0B9E4739-E43A-4485-B480-0870AB84DD6D}" dt="2025-12-05T21:18:58.617" v="5596" actId="1036"/>
          <ac:spMkLst>
            <pc:docMk/>
            <pc:sldMk cId="3764616034" sldId="2147481130"/>
            <ac:spMk id="1208" creationId="{0F6D2A2B-E259-B859-6598-5E035E53824D}"/>
          </ac:spMkLst>
        </pc:spChg>
        <pc:spChg chg="mod">
          <ac:chgData name="Bloesch, Troy" userId="d0937869-bb19-47f1-b7cb-e4344a414307" providerId="ADAL" clId="{0B9E4739-E43A-4485-B480-0870AB84DD6D}" dt="2025-12-05T20:17:34.603" v="4513" actId="207"/>
          <ac:spMkLst>
            <pc:docMk/>
            <pc:sldMk cId="3764616034" sldId="2147481130"/>
            <ac:spMk id="1209" creationId="{4C2B8469-1D4D-6E29-9921-706C1B93D9E2}"/>
          </ac:spMkLst>
        </pc:spChg>
        <pc:spChg chg="mod">
          <ac:chgData name="Bloesch, Troy" userId="d0937869-bb19-47f1-b7cb-e4344a414307" providerId="ADAL" clId="{0B9E4739-E43A-4485-B480-0870AB84DD6D}" dt="2025-12-05T21:18:58.617" v="5596" actId="1036"/>
          <ac:spMkLst>
            <pc:docMk/>
            <pc:sldMk cId="3764616034" sldId="2147481130"/>
            <ac:spMk id="1215" creationId="{590E045F-FF29-A6C5-6F05-3780E21687BE}"/>
          </ac:spMkLst>
        </pc:spChg>
        <pc:spChg chg="mod">
          <ac:chgData name="Bloesch, Troy" userId="d0937869-bb19-47f1-b7cb-e4344a414307" providerId="ADAL" clId="{0B9E4739-E43A-4485-B480-0870AB84DD6D}" dt="2025-12-05T20:17:34.603" v="4513" actId="207"/>
          <ac:spMkLst>
            <pc:docMk/>
            <pc:sldMk cId="3764616034" sldId="2147481130"/>
            <ac:spMk id="1216" creationId="{F57A061E-CAAC-47CD-2BB4-4070A7655A65}"/>
          </ac:spMkLst>
        </pc:spChg>
        <pc:spChg chg="mod">
          <ac:chgData name="Bloesch, Troy" userId="d0937869-bb19-47f1-b7cb-e4344a414307" providerId="ADAL" clId="{0B9E4739-E43A-4485-B480-0870AB84DD6D}" dt="2025-12-05T20:17:15.037" v="4512" actId="165"/>
          <ac:spMkLst>
            <pc:docMk/>
            <pc:sldMk cId="3764616034" sldId="2147481130"/>
            <ac:spMk id="1221" creationId="{87D9D993-A64B-3855-3BE9-7A4AD470AA61}"/>
          </ac:spMkLst>
        </pc:spChg>
        <pc:spChg chg="mod">
          <ac:chgData name="Bloesch, Troy" userId="d0937869-bb19-47f1-b7cb-e4344a414307" providerId="ADAL" clId="{0B9E4739-E43A-4485-B480-0870AB84DD6D}" dt="2025-12-05T20:17:34.603" v="4513" actId="207"/>
          <ac:spMkLst>
            <pc:docMk/>
            <pc:sldMk cId="3764616034" sldId="2147481130"/>
            <ac:spMk id="1223" creationId="{EEC00BD2-BCD1-4834-3D74-EC71DF31BAD8}"/>
          </ac:spMkLst>
        </pc:spChg>
        <pc:spChg chg="mod">
          <ac:chgData name="Bloesch, Troy" userId="d0937869-bb19-47f1-b7cb-e4344a414307" providerId="ADAL" clId="{0B9E4739-E43A-4485-B480-0870AB84DD6D}" dt="2025-12-05T20:17:34.603" v="4513" actId="207"/>
          <ac:spMkLst>
            <pc:docMk/>
            <pc:sldMk cId="3764616034" sldId="2147481130"/>
            <ac:spMk id="1224" creationId="{39C4EFC0-4B79-8B2E-111E-A87A187DCE23}"/>
          </ac:spMkLst>
        </pc:spChg>
        <pc:grpChg chg="mod ord">
          <ac:chgData name="Bloesch, Troy" userId="d0937869-bb19-47f1-b7cb-e4344a414307" providerId="ADAL" clId="{0B9E4739-E43A-4485-B480-0870AB84DD6D}" dt="2025-12-05T20:17:08.436" v="4470"/>
          <ac:grpSpMkLst>
            <pc:docMk/>
            <pc:sldMk cId="3764616034" sldId="2147481130"/>
            <ac:grpSpMk id="53" creationId="{D6DCBAB1-3F3E-17F9-3F4C-12AD95097588}"/>
          </ac:grpSpMkLst>
        </pc:grpChg>
        <pc:grpChg chg="del">
          <ac:chgData name="Bloesch, Troy" userId="d0937869-bb19-47f1-b7cb-e4344a414307" providerId="ADAL" clId="{0B9E4739-E43A-4485-B480-0870AB84DD6D}" dt="2025-12-05T19:17:00.760" v="832" actId="478"/>
          <ac:grpSpMkLst>
            <pc:docMk/>
            <pc:sldMk cId="3764616034" sldId="2147481130"/>
            <ac:grpSpMk id="56" creationId="{6C387B7B-90D5-CB7B-F0BD-10A86D31B643}"/>
          </ac:grpSpMkLst>
        </pc:grpChg>
        <pc:grpChg chg="mod ord">
          <ac:chgData name="Bloesch, Troy" userId="d0937869-bb19-47f1-b7cb-e4344a414307" providerId="ADAL" clId="{0B9E4739-E43A-4485-B480-0870AB84DD6D}" dt="2025-12-05T20:17:08.436" v="4469"/>
          <ac:grpSpMkLst>
            <pc:docMk/>
            <pc:sldMk cId="3764616034" sldId="2147481130"/>
            <ac:grpSpMk id="59" creationId="{CC2D1739-1FDD-4CA6-4138-D009CA5DF2BB}"/>
          </ac:grpSpMkLst>
        </pc:grpChg>
        <pc:grpChg chg="del">
          <ac:chgData name="Bloesch, Troy" userId="d0937869-bb19-47f1-b7cb-e4344a414307" providerId="ADAL" clId="{0B9E4739-E43A-4485-B480-0870AB84DD6D}" dt="2025-12-05T19:17:00.760" v="832" actId="478"/>
          <ac:grpSpMkLst>
            <pc:docMk/>
            <pc:sldMk cId="3764616034" sldId="2147481130"/>
            <ac:grpSpMk id="1090" creationId="{DB8455FE-F5C7-B959-CF30-E681A4445402}"/>
          </ac:grpSpMkLst>
        </pc:grpChg>
        <pc:grpChg chg="del mod">
          <ac:chgData name="Bloesch, Troy" userId="d0937869-bb19-47f1-b7cb-e4344a414307" providerId="ADAL" clId="{0B9E4739-E43A-4485-B480-0870AB84DD6D}" dt="2025-12-05T19:17:24.919" v="835" actId="478"/>
          <ac:grpSpMkLst>
            <pc:docMk/>
            <pc:sldMk cId="3764616034" sldId="2147481130"/>
            <ac:grpSpMk id="1099" creationId="{AC2D6A58-5B36-70C3-F735-DA8865048D28}"/>
          </ac:grpSpMkLst>
        </pc:grpChg>
        <pc:grpChg chg="mod ord">
          <ac:chgData name="Bloesch, Troy" userId="d0937869-bb19-47f1-b7cb-e4344a414307" providerId="ADAL" clId="{0B9E4739-E43A-4485-B480-0870AB84DD6D}" dt="2025-12-05T20:17:08.436" v="4468"/>
          <ac:grpSpMkLst>
            <pc:docMk/>
            <pc:sldMk cId="3764616034" sldId="2147481130"/>
            <ac:grpSpMk id="1102" creationId="{2EA0AC9B-E76A-C693-67C3-C359DD8039B6}"/>
          </ac:grpSpMkLst>
        </pc:grpChg>
        <pc:grpChg chg="mod">
          <ac:chgData name="Bloesch, Troy" userId="d0937869-bb19-47f1-b7cb-e4344a414307" providerId="ADAL" clId="{0B9E4739-E43A-4485-B480-0870AB84DD6D}" dt="2025-12-05T20:17:07.442" v="4367"/>
          <ac:grpSpMkLst>
            <pc:docMk/>
            <pc:sldMk cId="3764616034" sldId="2147481130"/>
            <ac:grpSpMk id="1111" creationId="{23E9E371-7313-485B-DBAF-1EF40928FF71}"/>
          </ac:grpSpMkLst>
        </pc:grpChg>
        <pc:grpChg chg="mod">
          <ac:chgData name="Bloesch, Troy" userId="d0937869-bb19-47f1-b7cb-e4344a414307" providerId="ADAL" clId="{0B9E4739-E43A-4485-B480-0870AB84DD6D}" dt="2025-12-05T20:17:07.443" v="4368"/>
          <ac:grpSpMkLst>
            <pc:docMk/>
            <pc:sldMk cId="3764616034" sldId="2147481130"/>
            <ac:grpSpMk id="1119" creationId="{A3573A97-834C-0F02-CB9E-E5BB506E03AE}"/>
          </ac:grpSpMkLst>
        </pc:grpChg>
        <pc:grpChg chg="add del mod ord">
          <ac:chgData name="Bloesch, Troy" userId="d0937869-bb19-47f1-b7cb-e4344a414307" providerId="ADAL" clId="{0B9E4739-E43A-4485-B480-0870AB84DD6D}" dt="2025-12-05T21:18:52.806" v="5589" actId="478"/>
          <ac:grpSpMkLst>
            <pc:docMk/>
            <pc:sldMk cId="3764616034" sldId="2147481130"/>
            <ac:grpSpMk id="1129" creationId="{02A7DFB6-549F-C5C6-FB4E-926CEF7317A4}"/>
          </ac:grpSpMkLst>
        </pc:grpChg>
        <pc:grpChg chg="mod">
          <ac:chgData name="Bloesch, Troy" userId="d0937869-bb19-47f1-b7cb-e4344a414307" providerId="ADAL" clId="{0B9E4739-E43A-4485-B480-0870AB84DD6D}" dt="2025-12-05T20:17:07.444" v="4369"/>
          <ac:grpSpMkLst>
            <pc:docMk/>
            <pc:sldMk cId="3764616034" sldId="2147481130"/>
            <ac:grpSpMk id="1201" creationId="{8EFC4DFF-AD6B-CD02-A24A-ADDE2E7B69D2}"/>
          </ac:grpSpMkLst>
        </pc:grpChg>
        <pc:grpChg chg="mod">
          <ac:chgData name="Bloesch, Troy" userId="d0937869-bb19-47f1-b7cb-e4344a414307" providerId="ADAL" clId="{0B9E4739-E43A-4485-B480-0870AB84DD6D}" dt="2025-12-05T20:17:07.445" v="4370"/>
          <ac:grpSpMkLst>
            <pc:docMk/>
            <pc:sldMk cId="3764616034" sldId="2147481130"/>
            <ac:grpSpMk id="1210" creationId="{833C0043-CA0A-9AFD-B4B5-6EF365C169BD}"/>
          </ac:grpSpMkLst>
        </pc:grpChg>
        <pc:grpChg chg="mod">
          <ac:chgData name="Bloesch, Troy" userId="d0937869-bb19-47f1-b7cb-e4344a414307" providerId="ADAL" clId="{0B9E4739-E43A-4485-B480-0870AB84DD6D}" dt="2025-12-05T20:17:07.446" v="4371"/>
          <ac:grpSpMkLst>
            <pc:docMk/>
            <pc:sldMk cId="3764616034" sldId="2147481130"/>
            <ac:grpSpMk id="1217" creationId="{EA09C6CC-3E3B-D199-2368-B9603B904D86}"/>
          </ac:grpSpMkLst>
        </pc:grpChg>
        <pc:graphicFrameChg chg="del mod">
          <ac:chgData name="Bloesch, Troy" userId="d0937869-bb19-47f1-b7cb-e4344a414307" providerId="ADAL" clId="{0B9E4739-E43A-4485-B480-0870AB84DD6D}" dt="2025-12-05T19:14:10.783" v="707" actId="478"/>
          <ac:graphicFrameMkLst>
            <pc:docMk/>
            <pc:sldMk cId="3764616034" sldId="2147481130"/>
            <ac:graphicFrameMk id="9" creationId="{FCC5E222-E180-EA45-0D9E-869E37C80541}"/>
          </ac:graphicFrameMkLst>
        </pc:graphicFrameChg>
        <pc:graphicFrameChg chg="add mod ord modVis">
          <ac:chgData name="Bloesch, Troy" userId="d0937869-bb19-47f1-b7cb-e4344a414307" providerId="ADAL" clId="{0B9E4739-E43A-4485-B480-0870AB84DD6D}" dt="2025-12-05T21:18:21.597" v="5557"/>
          <ac:graphicFrameMkLst>
            <pc:docMk/>
            <pc:sldMk cId="3764616034" sldId="2147481130"/>
            <ac:graphicFrameMk id="35" creationId="{1481C6C7-271D-3B5A-538D-C760F758C6A9}"/>
          </ac:graphicFrameMkLst>
        </pc:graphicFrameChg>
        <pc:picChg chg="add mod ord">
          <ac:chgData name="Bloesch, Troy" userId="d0937869-bb19-47f1-b7cb-e4344a414307" providerId="ADAL" clId="{0B9E4739-E43A-4485-B480-0870AB84DD6D}" dt="2025-12-05T20:17:08.435" v="4464"/>
          <ac:picMkLst>
            <pc:docMk/>
            <pc:sldMk cId="3764616034" sldId="2147481130"/>
            <ac:picMk id="1127" creationId="{91EB753F-4354-B4BA-BBBD-7AF95B4F6353}"/>
          </ac:picMkLst>
        </pc:picChg>
        <pc:picChg chg="mod">
          <ac:chgData name="Bloesch, Troy" userId="d0937869-bb19-47f1-b7cb-e4344a414307" providerId="ADAL" clId="{0B9E4739-E43A-4485-B480-0870AB84DD6D}" dt="2025-12-05T20:14:23.009" v="4045"/>
          <ac:picMkLst>
            <pc:docMk/>
            <pc:sldMk cId="3764616034" sldId="2147481130"/>
            <ac:picMk id="1131" creationId="{F5C515BF-C0E7-A31B-F750-D41F99429A1C}"/>
          </ac:picMkLst>
        </pc:picChg>
        <pc:cxnChg chg="mod ord">
          <ac:chgData name="Bloesch, Troy" userId="d0937869-bb19-47f1-b7cb-e4344a414307" providerId="ADAL" clId="{0B9E4739-E43A-4485-B480-0870AB84DD6D}" dt="2025-12-05T20:17:40.794" v="4514" actId="14100"/>
          <ac:cxnSpMkLst>
            <pc:docMk/>
            <pc:sldMk cId="3764616034" sldId="2147481130"/>
            <ac:cxnSpMk id="23" creationId="{63321296-7F11-546C-C1A6-026C43050B68}"/>
          </ac:cxnSpMkLst>
        </pc:cxnChg>
        <pc:cxnChg chg="mod ord">
          <ac:chgData name="Bloesch, Troy" userId="d0937869-bb19-47f1-b7cb-e4344a414307" providerId="ADAL" clId="{0B9E4739-E43A-4485-B480-0870AB84DD6D}" dt="2025-12-05T20:17:08.439" v="4487"/>
          <ac:cxnSpMkLst>
            <pc:docMk/>
            <pc:sldMk cId="3764616034" sldId="2147481130"/>
            <ac:cxnSpMk id="24" creationId="{AC7A47C4-32BA-B4C0-9D20-1451A3295AE6}"/>
          </ac:cxnSpMkLst>
        </pc:cxnChg>
        <pc:cxnChg chg="mod ord">
          <ac:chgData name="Bloesch, Troy" userId="d0937869-bb19-47f1-b7cb-e4344a414307" providerId="ADAL" clId="{0B9E4739-E43A-4485-B480-0870AB84DD6D}" dt="2025-12-05T20:17:08.439" v="4486"/>
          <ac:cxnSpMkLst>
            <pc:docMk/>
            <pc:sldMk cId="3764616034" sldId="2147481130"/>
            <ac:cxnSpMk id="25" creationId="{814B5AEB-FBE1-ADC1-C235-F61C58907B97}"/>
          </ac:cxnSpMkLst>
        </pc:cxnChg>
        <pc:cxnChg chg="mod ord">
          <ac:chgData name="Bloesch, Troy" userId="d0937869-bb19-47f1-b7cb-e4344a414307" providerId="ADAL" clId="{0B9E4739-E43A-4485-B480-0870AB84DD6D}" dt="2025-12-05T20:17:08.437" v="4475"/>
          <ac:cxnSpMkLst>
            <pc:docMk/>
            <pc:sldMk cId="3764616034" sldId="2147481130"/>
            <ac:cxnSpMk id="41" creationId="{EDD2E58A-8545-D0CE-4967-D2B078AE6C51}"/>
          </ac:cxnSpMkLst>
        </pc:cxnChg>
        <pc:cxnChg chg="mod ord">
          <ac:chgData name="Bloesch, Troy" userId="d0937869-bb19-47f1-b7cb-e4344a414307" providerId="ADAL" clId="{0B9E4739-E43A-4485-B480-0870AB84DD6D}" dt="2025-12-05T20:17:08.435" v="4465"/>
          <ac:cxnSpMkLst>
            <pc:docMk/>
            <pc:sldMk cId="3764616034" sldId="2147481130"/>
            <ac:cxnSpMk id="45" creationId="{63F4C34E-C782-8AA4-B170-F32D628236D2}"/>
          </ac:cxnSpMkLst>
        </pc:cxnChg>
      </pc:sldChg>
      <pc:sldChg chg="addSp modSp add mod">
        <pc:chgData name="Bloesch, Troy" userId="d0937869-bb19-47f1-b7cb-e4344a414307" providerId="ADAL" clId="{0B9E4739-E43A-4485-B480-0870AB84DD6D}" dt="2025-12-05T22:17:25.805" v="6578" actId="14100"/>
        <pc:sldMkLst>
          <pc:docMk/>
          <pc:sldMk cId="2359727655" sldId="2147483634"/>
        </pc:sldMkLst>
        <pc:spChg chg="mod">
          <ac:chgData name="Bloesch, Troy" userId="d0937869-bb19-47f1-b7cb-e4344a414307" providerId="ADAL" clId="{0B9E4739-E43A-4485-B480-0870AB84DD6D}" dt="2025-12-05T22:17:13.321" v="6561" actId="948"/>
          <ac:spMkLst>
            <pc:docMk/>
            <pc:sldMk cId="2359727655" sldId="2147483634"/>
            <ac:spMk id="3" creationId="{AFBEFE8A-4931-A3A2-D3E2-214AD7FDAF6F}"/>
          </ac:spMkLst>
        </pc:spChg>
        <pc:graphicFrameChg chg="add mod ord modVis">
          <ac:chgData name="Bloesch, Troy" userId="d0937869-bb19-47f1-b7cb-e4344a414307" providerId="ADAL" clId="{0B9E4739-E43A-4485-B480-0870AB84DD6D}" dt="2025-12-05T22:17:13.388" v="6575"/>
          <ac:graphicFrameMkLst>
            <pc:docMk/>
            <pc:sldMk cId="2359727655" sldId="2147483634"/>
            <ac:graphicFrameMk id="2" creationId="{A6C46F03-6AB5-3977-0F46-811BC6FF810C}"/>
          </ac:graphicFrameMkLst>
        </pc:graphicFrameChg>
        <pc:graphicFrameChg chg="mod modGraphic">
          <ac:chgData name="Bloesch, Troy" userId="d0937869-bb19-47f1-b7cb-e4344a414307" providerId="ADAL" clId="{0B9E4739-E43A-4485-B480-0870AB84DD6D}" dt="2025-12-05T22:17:25.805" v="6578" actId="14100"/>
          <ac:graphicFrameMkLst>
            <pc:docMk/>
            <pc:sldMk cId="2359727655" sldId="2147483634"/>
            <ac:graphicFrameMk id="198" creationId="{6E351540-B710-D572-8CB2-3456A34351AE}"/>
          </ac:graphicFrameMkLst>
        </pc:graphicFrameChg>
      </pc:sldChg>
      <pc:sldChg chg="del">
        <pc:chgData name="Bloesch, Troy" userId="d0937869-bb19-47f1-b7cb-e4344a414307" providerId="ADAL" clId="{0B9E4739-E43A-4485-B480-0870AB84DD6D}" dt="2025-12-05T21:19:03.162" v="5597" actId="47"/>
        <pc:sldMkLst>
          <pc:docMk/>
          <pc:sldMk cId="2553267778" sldId="2147483647"/>
        </pc:sldMkLst>
      </pc:sldChg>
      <pc:sldMasterChg chg="delSldLayout modSldLayout">
        <pc:chgData name="Bloesch, Troy" userId="d0937869-bb19-47f1-b7cb-e4344a414307" providerId="ADAL" clId="{0B9E4739-E43A-4485-B480-0870AB84DD6D}" dt="2025-12-05T21:26:58.194" v="5836" actId="478"/>
        <pc:sldMasterMkLst>
          <pc:docMk/>
          <pc:sldMasterMk cId="1407562073" sldId="2147483660"/>
        </pc:sldMasterMkLst>
        <pc:sldLayoutChg chg="delSp mod">
          <pc:chgData name="Bloesch, Troy" userId="d0937869-bb19-47f1-b7cb-e4344a414307" providerId="ADAL" clId="{0B9E4739-E43A-4485-B480-0870AB84DD6D}" dt="2025-12-05T21:25:23.346" v="5772" actId="478"/>
          <pc:sldLayoutMkLst>
            <pc:docMk/>
            <pc:sldMasterMk cId="1407562073" sldId="2147483660"/>
            <pc:sldLayoutMk cId="3998585400" sldId="2147483905"/>
          </pc:sldLayoutMkLst>
          <pc:spChg chg="del">
            <ac:chgData name="Bloesch, Troy" userId="d0937869-bb19-47f1-b7cb-e4344a414307" providerId="ADAL" clId="{0B9E4739-E43A-4485-B480-0870AB84DD6D}" dt="2025-12-05T21:25:21.601" v="5770" actId="478"/>
            <ac:spMkLst>
              <pc:docMk/>
              <pc:sldMasterMk cId="1407562073" sldId="2147483660"/>
              <pc:sldLayoutMk cId="3998585400" sldId="2147483905"/>
              <ac:spMk id="4" creationId="{DD9AB662-F419-4E8E-ACB2-2BB1BF10D83F}"/>
            </ac:spMkLst>
          </pc:spChg>
          <pc:spChg chg="del">
            <ac:chgData name="Bloesch, Troy" userId="d0937869-bb19-47f1-b7cb-e4344a414307" providerId="ADAL" clId="{0B9E4739-E43A-4485-B480-0870AB84DD6D}" dt="2025-12-05T21:25:22.683" v="5771" actId="478"/>
            <ac:spMkLst>
              <pc:docMk/>
              <pc:sldMasterMk cId="1407562073" sldId="2147483660"/>
              <pc:sldLayoutMk cId="3998585400" sldId="2147483905"/>
              <ac:spMk id="5" creationId="{239A198F-18D1-4FB8-8A1E-A428C18BFC98}"/>
            </ac:spMkLst>
          </pc:spChg>
          <pc:spChg chg="del">
            <ac:chgData name="Bloesch, Troy" userId="d0937869-bb19-47f1-b7cb-e4344a414307" providerId="ADAL" clId="{0B9E4739-E43A-4485-B480-0870AB84DD6D}" dt="2025-12-05T21:25:23.346" v="5772" actId="478"/>
            <ac:spMkLst>
              <pc:docMk/>
              <pc:sldMasterMk cId="1407562073" sldId="2147483660"/>
              <pc:sldLayoutMk cId="3998585400" sldId="2147483905"/>
              <ac:spMk id="6" creationId="{D98E58CC-D3F2-483D-B411-440310EDEB92}"/>
            </ac:spMkLst>
          </pc:spChg>
        </pc:sldLayoutChg>
        <pc:sldLayoutChg chg="del">
          <pc:chgData name="Bloesch, Troy" userId="d0937869-bb19-47f1-b7cb-e4344a414307" providerId="ADAL" clId="{0B9E4739-E43A-4485-B480-0870AB84DD6D}" dt="2025-12-05T21:19:03.162" v="5597" actId="47"/>
          <pc:sldLayoutMkLst>
            <pc:docMk/>
            <pc:sldMasterMk cId="1407562073" sldId="2147483660"/>
            <pc:sldLayoutMk cId="4294370226" sldId="2147483906"/>
          </pc:sldLayoutMkLst>
        </pc:sldLayoutChg>
        <pc:sldLayoutChg chg="del">
          <pc:chgData name="Bloesch, Troy" userId="d0937869-bb19-47f1-b7cb-e4344a414307" providerId="ADAL" clId="{0B9E4739-E43A-4485-B480-0870AB84DD6D}" dt="2025-12-05T19:36:41.309" v="1284" actId="47"/>
          <pc:sldLayoutMkLst>
            <pc:docMk/>
            <pc:sldMasterMk cId="1407562073" sldId="2147483660"/>
            <pc:sldLayoutMk cId="1422752989" sldId="2147484138"/>
          </pc:sldLayoutMkLst>
        </pc:sldLayoutChg>
        <pc:sldLayoutChg chg="addSp delSp modSp mod">
          <pc:chgData name="Bloesch, Troy" userId="d0937869-bb19-47f1-b7cb-e4344a414307" providerId="ADAL" clId="{0B9E4739-E43A-4485-B480-0870AB84DD6D}" dt="2025-12-05T21:26:58.194" v="5836" actId="478"/>
          <pc:sldLayoutMkLst>
            <pc:docMk/>
            <pc:sldMasterMk cId="1407562073" sldId="2147483660"/>
            <pc:sldLayoutMk cId="903187662" sldId="2147484156"/>
          </pc:sldLayoutMkLst>
          <pc:spChg chg="del">
            <ac:chgData name="Bloesch, Troy" userId="d0937869-bb19-47f1-b7cb-e4344a414307" providerId="ADAL" clId="{0B9E4739-E43A-4485-B480-0870AB84DD6D}" dt="2025-12-05T21:26:58.194" v="5836" actId="478"/>
            <ac:spMkLst>
              <pc:docMk/>
              <pc:sldMasterMk cId="1407562073" sldId="2147483660"/>
              <pc:sldLayoutMk cId="903187662" sldId="2147484156"/>
              <ac:spMk id="5" creationId="{C5AF7737-FCE2-276D-22C7-C5AF87B49D60}"/>
            </ac:spMkLst>
          </pc:spChg>
          <pc:spChg chg="del">
            <ac:chgData name="Bloesch, Troy" userId="d0937869-bb19-47f1-b7cb-e4344a414307" providerId="ADAL" clId="{0B9E4739-E43A-4485-B480-0870AB84DD6D}" dt="2025-12-05T21:26:58.194" v="5836" actId="478"/>
            <ac:spMkLst>
              <pc:docMk/>
              <pc:sldMasterMk cId="1407562073" sldId="2147483660"/>
              <pc:sldLayoutMk cId="903187662" sldId="2147484156"/>
              <ac:spMk id="6" creationId="{3BA64E23-A0E8-AC56-4594-20B5E94CAF7C}"/>
            </ac:spMkLst>
          </pc:spChg>
          <pc:spChg chg="del">
            <ac:chgData name="Bloesch, Troy" userId="d0937869-bb19-47f1-b7cb-e4344a414307" providerId="ADAL" clId="{0B9E4739-E43A-4485-B480-0870AB84DD6D}" dt="2025-12-05T21:26:58.194" v="5836" actId="478"/>
            <ac:spMkLst>
              <pc:docMk/>
              <pc:sldMasterMk cId="1407562073" sldId="2147483660"/>
              <pc:sldLayoutMk cId="903187662" sldId="2147484156"/>
              <ac:spMk id="7" creationId="{134767D2-9F0D-C510-9A34-6F3FFF928F56}"/>
            </ac:spMkLst>
          </pc:spChg>
          <pc:spChg chg="del">
            <ac:chgData name="Bloesch, Troy" userId="d0937869-bb19-47f1-b7cb-e4344a414307" providerId="ADAL" clId="{0B9E4739-E43A-4485-B480-0870AB84DD6D}" dt="2025-12-05T21:26:58.194" v="5836" actId="478"/>
            <ac:spMkLst>
              <pc:docMk/>
              <pc:sldMasterMk cId="1407562073" sldId="2147483660"/>
              <pc:sldLayoutMk cId="903187662" sldId="2147484156"/>
              <ac:spMk id="8" creationId="{ABF751F0-20A7-F4C7-08D7-2ACBD2E941B1}"/>
            </ac:spMkLst>
          </pc:spChg>
          <pc:spChg chg="del">
            <ac:chgData name="Bloesch, Troy" userId="d0937869-bb19-47f1-b7cb-e4344a414307" providerId="ADAL" clId="{0B9E4739-E43A-4485-B480-0870AB84DD6D}" dt="2025-12-05T21:26:58.194" v="5836" actId="478"/>
            <ac:spMkLst>
              <pc:docMk/>
              <pc:sldMasterMk cId="1407562073" sldId="2147483660"/>
              <pc:sldLayoutMk cId="903187662" sldId="2147484156"/>
              <ac:spMk id="9" creationId="{2DA426DA-02E8-31B9-D1BC-AB6CB637577F}"/>
            </ac:spMkLst>
          </pc:spChg>
          <pc:spChg chg="del">
            <ac:chgData name="Bloesch, Troy" userId="d0937869-bb19-47f1-b7cb-e4344a414307" providerId="ADAL" clId="{0B9E4739-E43A-4485-B480-0870AB84DD6D}" dt="2025-12-05T21:26:58.194" v="5836" actId="478"/>
            <ac:spMkLst>
              <pc:docMk/>
              <pc:sldMasterMk cId="1407562073" sldId="2147483660"/>
              <pc:sldLayoutMk cId="903187662" sldId="2147484156"/>
              <ac:spMk id="10" creationId="{684EF6ED-0AC4-8762-D629-2921CFFEA949}"/>
            </ac:spMkLst>
          </pc:spChg>
          <pc:spChg chg="mod">
            <ac:chgData name="Bloesch, Troy" userId="d0937869-bb19-47f1-b7cb-e4344a414307" providerId="ADAL" clId="{0B9E4739-E43A-4485-B480-0870AB84DD6D}" dt="2025-12-05T20:19:26.240" v="4533" actId="14100"/>
            <ac:spMkLst>
              <pc:docMk/>
              <pc:sldMasterMk cId="1407562073" sldId="2147483660"/>
              <pc:sldLayoutMk cId="903187662" sldId="2147484156"/>
              <ac:spMk id="11" creationId="{E83FC383-FB0C-3504-444A-81E963411717}"/>
            </ac:spMkLst>
          </pc:spChg>
          <pc:spChg chg="mod">
            <ac:chgData name="Bloesch, Troy" userId="d0937869-bb19-47f1-b7cb-e4344a414307" providerId="ADAL" clId="{0B9E4739-E43A-4485-B480-0870AB84DD6D}" dt="2025-12-05T20:19:32.374" v="4534" actId="14100"/>
            <ac:spMkLst>
              <pc:docMk/>
              <pc:sldMasterMk cId="1407562073" sldId="2147483660"/>
              <pc:sldLayoutMk cId="903187662" sldId="2147484156"/>
              <ac:spMk id="13" creationId="{5A3E0359-2B2C-FA71-1449-C2421B9E54F6}"/>
            </ac:spMkLst>
          </pc:spChg>
          <pc:spChg chg="add mod">
            <ac:chgData name="Bloesch, Troy" userId="d0937869-bb19-47f1-b7cb-e4344a414307" providerId="ADAL" clId="{0B9E4739-E43A-4485-B480-0870AB84DD6D}" dt="2025-12-05T20:20:32.549" v="4568" actId="207"/>
            <ac:spMkLst>
              <pc:docMk/>
              <pc:sldMasterMk cId="1407562073" sldId="2147483660"/>
              <pc:sldLayoutMk cId="903187662" sldId="2147484156"/>
              <ac:spMk id="103" creationId="{2D37B99B-9B7A-52B3-89B5-F03C4F845482}"/>
            </ac:spMkLst>
          </pc:spChg>
        </pc:sldLayoutChg>
        <pc:sldLayoutChg chg="modSp mod">
          <pc:chgData name="Bloesch, Troy" userId="d0937869-bb19-47f1-b7cb-e4344a414307" providerId="ADAL" clId="{0B9E4739-E43A-4485-B480-0870AB84DD6D}" dt="2025-12-05T20:27:48.241" v="4613" actId="14100"/>
          <pc:sldLayoutMkLst>
            <pc:docMk/>
            <pc:sldMasterMk cId="1407562073" sldId="2147483660"/>
            <pc:sldLayoutMk cId="1161076900" sldId="2147484158"/>
          </pc:sldLayoutMkLst>
          <pc:spChg chg="mod">
            <ac:chgData name="Bloesch, Troy" userId="d0937869-bb19-47f1-b7cb-e4344a414307" providerId="ADAL" clId="{0B9E4739-E43A-4485-B480-0870AB84DD6D}" dt="2025-12-05T20:27:48.241" v="4613" actId="14100"/>
            <ac:spMkLst>
              <pc:docMk/>
              <pc:sldMasterMk cId="1407562073" sldId="2147483660"/>
              <pc:sldLayoutMk cId="1161076900" sldId="2147484158"/>
              <ac:spMk id="98" creationId="{8A422499-EDB1-7821-C835-07E7E42DE7C9}"/>
            </ac:spMkLst>
          </pc:spChg>
        </pc:sldLayoutChg>
        <pc:sldLayoutChg chg="modSp mod">
          <pc:chgData name="Bloesch, Troy" userId="d0937869-bb19-47f1-b7cb-e4344a414307" providerId="ADAL" clId="{0B9E4739-E43A-4485-B480-0870AB84DD6D}" dt="2025-12-05T20:10:26.374" v="4038" actId="14100"/>
          <pc:sldLayoutMkLst>
            <pc:docMk/>
            <pc:sldMasterMk cId="1407562073" sldId="2147483660"/>
            <pc:sldLayoutMk cId="3211080836" sldId="2147484162"/>
          </pc:sldLayoutMkLst>
          <pc:spChg chg="mod">
            <ac:chgData name="Bloesch, Troy" userId="d0937869-bb19-47f1-b7cb-e4344a414307" providerId="ADAL" clId="{0B9E4739-E43A-4485-B480-0870AB84DD6D}" dt="2025-12-05T20:10:26.374" v="4038" actId="14100"/>
            <ac:spMkLst>
              <pc:docMk/>
              <pc:sldMasterMk cId="1407562073" sldId="2147483660"/>
              <pc:sldLayoutMk cId="3211080836" sldId="2147484162"/>
              <ac:spMk id="98" creationId="{8A422499-EDB1-7821-C835-07E7E42DE7C9}"/>
            </ac:spMkLst>
          </pc:spChg>
        </pc:sldLayoutChg>
        <pc:sldLayoutChg chg="delSp mod">
          <pc:chgData name="Bloesch, Troy" userId="d0937869-bb19-47f1-b7cb-e4344a414307" providerId="ADAL" clId="{0B9E4739-E43A-4485-B480-0870AB84DD6D}" dt="2025-12-05T21:23:36.841" v="5728" actId="478"/>
          <pc:sldLayoutMkLst>
            <pc:docMk/>
            <pc:sldMasterMk cId="1407562073" sldId="2147483660"/>
            <pc:sldLayoutMk cId="862810500" sldId="2147484169"/>
          </pc:sldLayoutMkLst>
          <pc:spChg chg="del">
            <ac:chgData name="Bloesch, Troy" userId="d0937869-bb19-47f1-b7cb-e4344a414307" providerId="ADAL" clId="{0B9E4739-E43A-4485-B480-0870AB84DD6D}" dt="2025-12-05T21:23:36.841" v="5728" actId="478"/>
            <ac:spMkLst>
              <pc:docMk/>
              <pc:sldMasterMk cId="1407562073" sldId="2147483660"/>
              <pc:sldLayoutMk cId="862810500" sldId="2147484169"/>
              <ac:spMk id="3" creationId="{00DC3053-280A-F2BD-FE3F-63889891A41F}"/>
            </ac:spMkLst>
          </pc:spChg>
        </pc:sldLayoutChg>
        <pc:sldLayoutChg chg="del">
          <pc:chgData name="Bloesch, Troy" userId="d0937869-bb19-47f1-b7cb-e4344a414307" providerId="ADAL" clId="{0B9E4739-E43A-4485-B480-0870AB84DD6D}" dt="2025-12-05T21:03:59.578" v="4978" actId="47"/>
          <pc:sldLayoutMkLst>
            <pc:docMk/>
            <pc:sldMasterMk cId="1407562073" sldId="2147483660"/>
            <pc:sldLayoutMk cId="859140108" sldId="2147484180"/>
          </pc:sldLayoutMkLst>
        </pc:sldLayoutChg>
        <pc:sldLayoutChg chg="modSp mod">
          <pc:chgData name="Bloesch, Troy" userId="d0937869-bb19-47f1-b7cb-e4344a414307" providerId="ADAL" clId="{0B9E4739-E43A-4485-B480-0870AB84DD6D}" dt="2025-12-05T21:21:23.919" v="5654"/>
          <pc:sldLayoutMkLst>
            <pc:docMk/>
            <pc:sldMasterMk cId="1407562073" sldId="2147483660"/>
            <pc:sldLayoutMk cId="2194724491" sldId="2147484211"/>
          </pc:sldLayoutMkLst>
          <pc:graphicFrameChg chg="mod">
            <ac:chgData name="Bloesch, Troy" userId="d0937869-bb19-47f1-b7cb-e4344a414307" providerId="ADAL" clId="{0B9E4739-E43A-4485-B480-0870AB84DD6D}" dt="2025-12-05T21:21:23.919" v="5654"/>
            <ac:graphicFrameMkLst>
              <pc:docMk/>
              <pc:sldMasterMk cId="1407562073" sldId="2147483660"/>
              <pc:sldLayoutMk cId="2194724491" sldId="2147484211"/>
              <ac:graphicFrameMk id="7" creationId="{75DEE167-C3DB-4DD0-A2CB-470C784BCB96}"/>
            </ac:graphicFrameMkLst>
          </pc:graphicFrameChg>
        </pc:sldLayoutChg>
        <pc:sldLayoutChg chg="modSp mod">
          <pc:chgData name="Bloesch, Troy" userId="d0937869-bb19-47f1-b7cb-e4344a414307" providerId="ADAL" clId="{0B9E4739-E43A-4485-B480-0870AB84DD6D}" dt="2025-12-05T19:58:26.364" v="2988" actId="14100"/>
          <pc:sldLayoutMkLst>
            <pc:docMk/>
            <pc:sldMasterMk cId="1407562073" sldId="2147483660"/>
            <pc:sldLayoutMk cId="3664055817" sldId="2147484220"/>
          </pc:sldLayoutMkLst>
          <pc:grpChg chg="mod">
            <ac:chgData name="Bloesch, Troy" userId="d0937869-bb19-47f1-b7cb-e4344a414307" providerId="ADAL" clId="{0B9E4739-E43A-4485-B480-0870AB84DD6D}" dt="2025-12-05T19:58:26.364" v="2988" actId="14100"/>
            <ac:grpSpMkLst>
              <pc:docMk/>
              <pc:sldMasterMk cId="1407562073" sldId="2147483660"/>
              <pc:sldLayoutMk cId="3664055817" sldId="2147484220"/>
              <ac:grpSpMk id="9" creationId="{31D5BF21-03BA-8B62-B8E6-7572F8F5F776}"/>
            </ac:grpSpMkLst>
          </pc:grpChg>
        </pc:sldLayoutChg>
        <pc:sldLayoutChg chg="del">
          <pc:chgData name="Bloesch, Troy" userId="d0937869-bb19-47f1-b7cb-e4344a414307" providerId="ADAL" clId="{0B9E4739-E43A-4485-B480-0870AB84DD6D}" dt="2025-12-05T19:20:50.715" v="906" actId="47"/>
          <pc:sldLayoutMkLst>
            <pc:docMk/>
            <pc:sldMasterMk cId="1407562073" sldId="2147483660"/>
            <pc:sldLayoutMk cId="1611209827" sldId="2147484520"/>
          </pc:sldLayoutMkLst>
        </pc:sldLayoutChg>
        <pc:sldLayoutChg chg="del">
          <pc:chgData name="Bloesch, Troy" userId="d0937869-bb19-47f1-b7cb-e4344a414307" providerId="ADAL" clId="{0B9E4739-E43A-4485-B480-0870AB84DD6D}" dt="2025-12-05T19:20:30.339" v="872" actId="47"/>
          <pc:sldLayoutMkLst>
            <pc:docMk/>
            <pc:sldMasterMk cId="1407562073" sldId="2147483660"/>
            <pc:sldLayoutMk cId="2257658628" sldId="2147484521"/>
          </pc:sldLayoutMkLst>
        </pc:sldLayoutChg>
      </pc:sldMasterChg>
      <pc:sldMasterChg chg="delSldLayout modSldLayout">
        <pc:chgData name="Bloesch, Troy" userId="d0937869-bb19-47f1-b7cb-e4344a414307" providerId="ADAL" clId="{0B9E4739-E43A-4485-B480-0870AB84DD6D}" dt="2025-12-05T22:07:36.304" v="6391" actId="478"/>
        <pc:sldMasterMkLst>
          <pc:docMk/>
          <pc:sldMasterMk cId="2741203741" sldId="2147483801"/>
        </pc:sldMasterMkLst>
        <pc:sldLayoutChg chg="del">
          <pc:chgData name="Bloesch, Troy" userId="d0937869-bb19-47f1-b7cb-e4344a414307" providerId="ADAL" clId="{0B9E4739-E43A-4485-B480-0870AB84DD6D}" dt="2025-12-05T19:04:43.234" v="484" actId="2696"/>
          <pc:sldLayoutMkLst>
            <pc:docMk/>
            <pc:sldMasterMk cId="2741203741" sldId="2147483801"/>
            <pc:sldLayoutMk cId="517772761" sldId="2147483862"/>
          </pc:sldLayoutMkLst>
        </pc:sldLayoutChg>
        <pc:sldLayoutChg chg="del">
          <pc:chgData name="Bloesch, Troy" userId="d0937869-bb19-47f1-b7cb-e4344a414307" providerId="ADAL" clId="{0B9E4739-E43A-4485-B480-0870AB84DD6D}" dt="2025-12-05T21:04:00.672" v="4980" actId="47"/>
          <pc:sldLayoutMkLst>
            <pc:docMk/>
            <pc:sldMasterMk cId="2741203741" sldId="2147483801"/>
            <pc:sldLayoutMk cId="4046366326" sldId="2147483909"/>
          </pc:sldLayoutMkLst>
        </pc:sldLayoutChg>
        <pc:sldLayoutChg chg="addSp delSp modSp mod">
          <pc:chgData name="Bloesch, Troy" userId="d0937869-bb19-47f1-b7cb-e4344a414307" providerId="ADAL" clId="{0B9E4739-E43A-4485-B480-0870AB84DD6D}" dt="2025-12-05T22:07:36.304" v="6391" actId="478"/>
          <pc:sldLayoutMkLst>
            <pc:docMk/>
            <pc:sldMasterMk cId="2741203741" sldId="2147483801"/>
            <pc:sldLayoutMk cId="3909602065" sldId="2147484157"/>
          </pc:sldLayoutMkLst>
          <pc:spChg chg="add del mod modVis">
            <ac:chgData name="Bloesch, Troy" userId="d0937869-bb19-47f1-b7cb-e4344a414307" providerId="ADAL" clId="{0B9E4739-E43A-4485-B480-0870AB84DD6D}" dt="2025-12-05T21:21:45.721" v="5678"/>
            <ac:spMkLst>
              <pc:docMk/>
              <pc:sldMasterMk cId="2741203741" sldId="2147483801"/>
              <pc:sldLayoutMk cId="3909602065" sldId="2147484157"/>
              <ac:spMk id="2" creationId="{0028A048-0B79-CB21-BDFE-26FDE76A1E87}"/>
            </ac:spMkLst>
          </pc:spChg>
          <pc:spChg chg="add del mod modVis">
            <ac:chgData name="Bloesch, Troy" userId="d0937869-bb19-47f1-b7cb-e4344a414307" providerId="ADAL" clId="{0B9E4739-E43A-4485-B480-0870AB84DD6D}" dt="2025-12-05T21:21:47.448" v="5704"/>
            <ac:spMkLst>
              <pc:docMk/>
              <pc:sldMasterMk cId="2741203741" sldId="2147483801"/>
              <pc:sldLayoutMk cId="3909602065" sldId="2147484157"/>
              <ac:spMk id="5" creationId="{65BAFCE8-9DEB-C032-9734-DFDBA5C3B337}"/>
            </ac:spMkLst>
          </pc:spChg>
          <pc:spChg chg="mod">
            <ac:chgData name="Bloesch, Troy" userId="d0937869-bb19-47f1-b7cb-e4344a414307" providerId="ADAL" clId="{0B9E4739-E43A-4485-B480-0870AB84DD6D}" dt="2025-12-05T21:21:52.510" v="5725" actId="20577"/>
            <ac:spMkLst>
              <pc:docMk/>
              <pc:sldMasterMk cId="2741203741" sldId="2147483801"/>
              <pc:sldLayoutMk cId="3909602065" sldId="2147484157"/>
              <ac:spMk id="13" creationId="{17111027-8D7D-4220-958E-B13EF6A310C1}"/>
            </ac:spMkLst>
          </pc:spChg>
          <pc:spChg chg="del">
            <ac:chgData name="Bloesch, Troy" userId="d0937869-bb19-47f1-b7cb-e4344a414307" providerId="ADAL" clId="{0B9E4739-E43A-4485-B480-0870AB84DD6D}" dt="2025-12-05T22:07:36.304" v="6391" actId="478"/>
            <ac:spMkLst>
              <pc:docMk/>
              <pc:sldMasterMk cId="2741203741" sldId="2147483801"/>
              <pc:sldLayoutMk cId="3909602065" sldId="2147484157"/>
              <ac:spMk id="105" creationId="{80BD1750-A8B9-FC36-0235-F03B699C1612}"/>
            </ac:spMkLst>
          </pc:spChg>
          <pc:spChg chg="del">
            <ac:chgData name="Bloesch, Troy" userId="d0937869-bb19-47f1-b7cb-e4344a414307" providerId="ADAL" clId="{0B9E4739-E43A-4485-B480-0870AB84DD6D}" dt="2025-12-05T22:07:36.304" v="6391" actId="478"/>
            <ac:spMkLst>
              <pc:docMk/>
              <pc:sldMasterMk cId="2741203741" sldId="2147483801"/>
              <pc:sldLayoutMk cId="3909602065" sldId="2147484157"/>
              <ac:spMk id="106" creationId="{471AEAAB-1977-EDA5-CC3F-469DAD7BE919}"/>
            </ac:spMkLst>
          </pc:spChg>
          <pc:spChg chg="del">
            <ac:chgData name="Bloesch, Troy" userId="d0937869-bb19-47f1-b7cb-e4344a414307" providerId="ADAL" clId="{0B9E4739-E43A-4485-B480-0870AB84DD6D}" dt="2025-12-05T22:07:36.304" v="6391" actId="478"/>
            <ac:spMkLst>
              <pc:docMk/>
              <pc:sldMasterMk cId="2741203741" sldId="2147483801"/>
              <pc:sldLayoutMk cId="3909602065" sldId="2147484157"/>
              <ac:spMk id="107" creationId="{CA6294F0-1A48-73FC-DB54-6077CEFA75D4}"/>
            </ac:spMkLst>
          </pc:spChg>
          <pc:spChg chg="del">
            <ac:chgData name="Bloesch, Troy" userId="d0937869-bb19-47f1-b7cb-e4344a414307" providerId="ADAL" clId="{0B9E4739-E43A-4485-B480-0870AB84DD6D}" dt="2025-12-05T22:07:36.304" v="6391" actId="478"/>
            <ac:spMkLst>
              <pc:docMk/>
              <pc:sldMasterMk cId="2741203741" sldId="2147483801"/>
              <pc:sldLayoutMk cId="3909602065" sldId="2147484157"/>
              <ac:spMk id="108" creationId="{F709BE0A-FEE3-9A5C-8B4C-35E4B8AEE044}"/>
            </ac:spMkLst>
          </pc:spChg>
          <pc:spChg chg="del">
            <ac:chgData name="Bloesch, Troy" userId="d0937869-bb19-47f1-b7cb-e4344a414307" providerId="ADAL" clId="{0B9E4739-E43A-4485-B480-0870AB84DD6D}" dt="2025-12-05T22:07:36.304" v="6391" actId="478"/>
            <ac:spMkLst>
              <pc:docMk/>
              <pc:sldMasterMk cId="2741203741" sldId="2147483801"/>
              <pc:sldLayoutMk cId="3909602065" sldId="2147484157"/>
              <ac:spMk id="109" creationId="{381256F2-114E-4537-7343-5C117917E0EE}"/>
            </ac:spMkLst>
          </pc:spChg>
          <pc:spChg chg="del">
            <ac:chgData name="Bloesch, Troy" userId="d0937869-bb19-47f1-b7cb-e4344a414307" providerId="ADAL" clId="{0B9E4739-E43A-4485-B480-0870AB84DD6D}" dt="2025-12-05T22:07:36.304" v="6391" actId="478"/>
            <ac:spMkLst>
              <pc:docMk/>
              <pc:sldMasterMk cId="2741203741" sldId="2147483801"/>
              <pc:sldLayoutMk cId="3909602065" sldId="2147484157"/>
              <ac:spMk id="110" creationId="{14CD58E1-7701-0E65-9B46-80FE215754BE}"/>
            </ac:spMkLst>
          </pc:spChg>
          <pc:graphicFrameChg chg="mod">
            <ac:chgData name="Bloesch, Troy" userId="d0937869-bb19-47f1-b7cb-e4344a414307" providerId="ADAL" clId="{0B9E4739-E43A-4485-B480-0870AB84DD6D}" dt="2025-12-05T21:21:53.028" v="5727"/>
            <ac:graphicFrameMkLst>
              <pc:docMk/>
              <pc:sldMasterMk cId="2741203741" sldId="2147483801"/>
              <pc:sldLayoutMk cId="3909602065" sldId="2147484157"/>
              <ac:graphicFrameMk id="7" creationId="{75DEE167-C3DB-4DD0-A2CB-470C784BCB96}"/>
            </ac:graphicFrameMkLst>
          </pc:graphicFrameChg>
        </pc:sldLayoutChg>
        <pc:sldLayoutChg chg="del">
          <pc:chgData name="Bloesch, Troy" userId="d0937869-bb19-47f1-b7cb-e4344a414307" providerId="ADAL" clId="{0B9E4739-E43A-4485-B480-0870AB84DD6D}" dt="2025-12-05T19:05:45.244" v="488" actId="2696"/>
          <pc:sldLayoutMkLst>
            <pc:docMk/>
            <pc:sldMasterMk cId="2741203741" sldId="2147483801"/>
            <pc:sldLayoutMk cId="3766537516" sldId="2147484519"/>
          </pc:sldLayoutMkLst>
        </pc:sldLayoutChg>
      </pc:sldMasterChg>
    </pc:docChg>
  </pc:docChgLst>
  <pc:docChgLst>
    <pc:chgData name="Muto, Mark A" userId="855c34ed-5e0f-4f58-8c4b-9c10b45d2d86" providerId="ADAL" clId="{E33ECA3C-848A-4557-8B34-2EA57F540794}"/>
    <pc:docChg chg="undo custSel addSld modSld sldOrd modSection">
      <pc:chgData name="Muto, Mark A" userId="855c34ed-5e0f-4f58-8c4b-9c10b45d2d86" providerId="ADAL" clId="{E33ECA3C-848A-4557-8B34-2EA57F540794}" dt="2025-12-08T14:36:45.020" v="177" actId="1076"/>
      <pc:docMkLst>
        <pc:docMk/>
      </pc:docMkLst>
      <pc:sldChg chg="ord">
        <pc:chgData name="Muto, Mark A" userId="855c34ed-5e0f-4f58-8c4b-9c10b45d2d86" providerId="ADAL" clId="{E33ECA3C-848A-4557-8B34-2EA57F540794}" dt="2025-12-05T18:53:11.617" v="7"/>
        <pc:sldMkLst>
          <pc:docMk/>
          <pc:sldMk cId="1041640190" sldId="256"/>
        </pc:sldMkLst>
      </pc:sldChg>
      <pc:sldChg chg="addSp modSp mod">
        <pc:chgData name="Muto, Mark A" userId="855c34ed-5e0f-4f58-8c4b-9c10b45d2d86" providerId="ADAL" clId="{E33ECA3C-848A-4557-8B34-2EA57F540794}" dt="2025-12-08T14:36:45.020" v="177" actId="1076"/>
        <pc:sldMkLst>
          <pc:docMk/>
          <pc:sldMk cId="2519870460" sldId="259"/>
        </pc:sldMkLst>
        <pc:spChg chg="add mod">
          <ac:chgData name="Muto, Mark A" userId="855c34ed-5e0f-4f58-8c4b-9c10b45d2d86" providerId="ADAL" clId="{E33ECA3C-848A-4557-8B34-2EA57F540794}" dt="2025-12-08T14:36:45.020" v="177" actId="1076"/>
          <ac:spMkLst>
            <pc:docMk/>
            <pc:sldMk cId="2519870460" sldId="259"/>
            <ac:spMk id="8" creationId="{F8A7BA7D-62D8-A053-A6D1-0B8173C00FB4}"/>
          </ac:spMkLst>
        </pc:spChg>
        <pc:spChg chg="add mod">
          <ac:chgData name="Muto, Mark A" userId="855c34ed-5e0f-4f58-8c4b-9c10b45d2d86" providerId="ADAL" clId="{E33ECA3C-848A-4557-8B34-2EA57F540794}" dt="2025-12-08T14:36:45.020" v="177" actId="1076"/>
          <ac:spMkLst>
            <pc:docMk/>
            <pc:sldMk cId="2519870460" sldId="259"/>
            <ac:spMk id="10" creationId="{600B4A2E-FB44-F017-35AE-33906F4643F9}"/>
          </ac:spMkLst>
        </pc:spChg>
        <pc:graphicFrameChg chg="modGraphic">
          <ac:chgData name="Muto, Mark A" userId="855c34ed-5e0f-4f58-8c4b-9c10b45d2d86" providerId="ADAL" clId="{E33ECA3C-848A-4557-8B34-2EA57F540794}" dt="2025-12-08T14:35:06.565" v="147" actId="20577"/>
          <ac:graphicFrameMkLst>
            <pc:docMk/>
            <pc:sldMk cId="2519870460" sldId="259"/>
            <ac:graphicFrameMk id="195" creationId="{77933B5A-495A-4FD6-02DD-B5DAF07AD1E5}"/>
          </ac:graphicFrameMkLst>
        </pc:graphicFrameChg>
      </pc:sldChg>
      <pc:sldChg chg="add mod modShow">
        <pc:chgData name="Muto, Mark A" userId="855c34ed-5e0f-4f58-8c4b-9c10b45d2d86" providerId="ADAL" clId="{E33ECA3C-848A-4557-8B34-2EA57F540794}" dt="2025-12-05T20:52:41.409" v="65" actId="729"/>
        <pc:sldMkLst>
          <pc:docMk/>
          <pc:sldMk cId="1429591144" sldId="262"/>
        </pc:sldMkLst>
      </pc:sldChg>
      <pc:sldChg chg="modSp mod modCm">
        <pc:chgData name="Muto, Mark A" userId="855c34ed-5e0f-4f58-8c4b-9c10b45d2d86" providerId="ADAL" clId="{E33ECA3C-848A-4557-8B34-2EA57F540794}" dt="2025-12-08T14:25:18.505" v="141" actId="20577"/>
        <pc:sldMkLst>
          <pc:docMk/>
          <pc:sldMk cId="3074683643" sldId="269"/>
        </pc:sldMkLst>
        <pc:spChg chg="mod">
          <ac:chgData name="Muto, Mark A" userId="855c34ed-5e0f-4f58-8c4b-9c10b45d2d86" providerId="ADAL" clId="{E33ECA3C-848A-4557-8B34-2EA57F540794}" dt="2025-12-05T20:26:31.916" v="31" actId="20577"/>
          <ac:spMkLst>
            <pc:docMk/>
            <pc:sldMk cId="3074683643" sldId="269"/>
            <ac:spMk id="121" creationId="{5B09C279-38C8-3462-FB44-6EDE3F0B1DE8}"/>
          </ac:spMkLst>
        </pc:spChg>
        <pc:spChg chg="mod">
          <ac:chgData name="Muto, Mark A" userId="855c34ed-5e0f-4f58-8c4b-9c10b45d2d86" providerId="ADAL" clId="{E33ECA3C-848A-4557-8B34-2EA57F540794}" dt="2025-12-08T14:25:18.505" v="141" actId="20577"/>
          <ac:spMkLst>
            <pc:docMk/>
            <pc:sldMk cId="3074683643" sldId="269"/>
            <ac:spMk id="122" creationId="{F91726BA-8C6B-D4F1-86BD-652A1BC20CB5}"/>
          </ac:spMkLst>
        </pc:spChg>
        <pc:extLst>
          <p:ext xmlns:p="http://schemas.openxmlformats.org/presentationml/2006/main" uri="{D6D511B9-2390-475A-947B-AFAB55BFBCF1}">
            <pc226:cmChg xmlns:pc226="http://schemas.microsoft.com/office/powerpoint/2022/06/main/command" chg="mod">
              <pc226:chgData name="Muto, Mark A" userId="855c34ed-5e0f-4f58-8c4b-9c10b45d2d86" providerId="ADAL" clId="{E33ECA3C-848A-4557-8B34-2EA57F540794}" dt="2025-12-08T14:25:18.505" v="141" actId="20577"/>
              <pc2:cmMkLst xmlns:pc2="http://schemas.microsoft.com/office/powerpoint/2019/9/main/command">
                <pc:docMk/>
                <pc:sldMk cId="3074683643" sldId="269"/>
                <pc2:cmMk id="{BC19AEF1-7F26-4552-BEEF-40D1DEB98EE0}"/>
              </pc2:cmMkLst>
            </pc226:cmChg>
          </p:ext>
        </pc:extLst>
      </pc:sldChg>
      <pc:sldChg chg="mod modShow">
        <pc:chgData name="Muto, Mark A" userId="855c34ed-5e0f-4f58-8c4b-9c10b45d2d86" providerId="ADAL" clId="{E33ECA3C-848A-4557-8B34-2EA57F540794}" dt="2025-12-05T18:38:40.277" v="2" actId="729"/>
        <pc:sldMkLst>
          <pc:docMk/>
          <pc:sldMk cId="2796690912" sldId="312"/>
        </pc:sldMkLst>
      </pc:sldChg>
      <pc:sldChg chg="mod modShow">
        <pc:chgData name="Muto, Mark A" userId="855c34ed-5e0f-4f58-8c4b-9c10b45d2d86" providerId="ADAL" clId="{E33ECA3C-848A-4557-8B34-2EA57F540794}" dt="2025-12-05T18:38:28.488" v="0" actId="729"/>
        <pc:sldMkLst>
          <pc:docMk/>
          <pc:sldMk cId="1620772415" sldId="336"/>
        </pc:sldMkLst>
      </pc:sldChg>
      <pc:sldChg chg="mod ord modShow">
        <pc:chgData name="Muto, Mark A" userId="855c34ed-5e0f-4f58-8c4b-9c10b45d2d86" providerId="ADAL" clId="{E33ECA3C-848A-4557-8B34-2EA57F540794}" dt="2025-12-05T20:52:12.093" v="63"/>
        <pc:sldMkLst>
          <pc:docMk/>
          <pc:sldMk cId="1543457547" sldId="356"/>
        </pc:sldMkLst>
      </pc:sldChg>
      <pc:sldChg chg="mod modShow">
        <pc:chgData name="Muto, Mark A" userId="855c34ed-5e0f-4f58-8c4b-9c10b45d2d86" providerId="ADAL" clId="{E33ECA3C-848A-4557-8B34-2EA57F540794}" dt="2025-12-05T18:38:54.029" v="3" actId="729"/>
        <pc:sldMkLst>
          <pc:docMk/>
          <pc:sldMk cId="828020107" sldId="362"/>
        </pc:sldMkLst>
      </pc:sldChg>
      <pc:sldChg chg="mod modShow">
        <pc:chgData name="Muto, Mark A" userId="855c34ed-5e0f-4f58-8c4b-9c10b45d2d86" providerId="ADAL" clId="{E33ECA3C-848A-4557-8B34-2EA57F540794}" dt="2025-12-05T18:44:01.701" v="4" actId="729"/>
        <pc:sldMkLst>
          <pc:docMk/>
          <pc:sldMk cId="374374163" sldId="367"/>
        </pc:sldMkLst>
      </pc:sldChg>
      <pc:sldChg chg="mod modShow">
        <pc:chgData name="Muto, Mark A" userId="855c34ed-5e0f-4f58-8c4b-9c10b45d2d86" providerId="ADAL" clId="{E33ECA3C-848A-4557-8B34-2EA57F540794}" dt="2025-12-05T18:55:15.436" v="8" actId="729"/>
        <pc:sldMkLst>
          <pc:docMk/>
          <pc:sldMk cId="1675089711" sldId="464"/>
        </pc:sldMkLst>
      </pc:sldChg>
      <pc:sldChg chg="modSp mod">
        <pc:chgData name="Muto, Mark A" userId="855c34ed-5e0f-4f58-8c4b-9c10b45d2d86" providerId="ADAL" clId="{E33ECA3C-848A-4557-8B34-2EA57F540794}" dt="2025-12-08T14:18:16.693" v="131" actId="20577"/>
        <pc:sldMkLst>
          <pc:docMk/>
          <pc:sldMk cId="3694193398" sldId="2147481126"/>
        </pc:sldMkLst>
        <pc:spChg chg="mod">
          <ac:chgData name="Muto, Mark A" userId="855c34ed-5e0f-4f58-8c4b-9c10b45d2d86" providerId="ADAL" clId="{E33ECA3C-848A-4557-8B34-2EA57F540794}" dt="2025-12-08T14:18:00.350" v="91" actId="20577"/>
          <ac:spMkLst>
            <pc:docMk/>
            <pc:sldMk cId="3694193398" sldId="2147481126"/>
            <ac:spMk id="27" creationId="{9850D6EC-0381-6E53-0365-9850EF24778F}"/>
          </ac:spMkLst>
        </pc:spChg>
        <pc:spChg chg="mod">
          <ac:chgData name="Muto, Mark A" userId="855c34ed-5e0f-4f58-8c4b-9c10b45d2d86" providerId="ADAL" clId="{E33ECA3C-848A-4557-8B34-2EA57F540794}" dt="2025-12-08T14:18:04.089" v="103" actId="20577"/>
          <ac:spMkLst>
            <pc:docMk/>
            <pc:sldMk cId="3694193398" sldId="2147481126"/>
            <ac:spMk id="109" creationId="{773D1B9D-8EEE-EE3F-94A0-FB932E767632}"/>
          </ac:spMkLst>
        </pc:spChg>
        <pc:spChg chg="mod">
          <ac:chgData name="Muto, Mark A" userId="855c34ed-5e0f-4f58-8c4b-9c10b45d2d86" providerId="ADAL" clId="{E33ECA3C-848A-4557-8B34-2EA57F540794}" dt="2025-12-08T14:18:16.693" v="131" actId="20577"/>
          <ac:spMkLst>
            <pc:docMk/>
            <pc:sldMk cId="3694193398" sldId="2147481126"/>
            <ac:spMk id="138" creationId="{986A5ABD-E504-14DE-779E-A29FAD9B3865}"/>
          </ac:spMkLst>
        </pc:spChg>
      </pc:sldChg>
    </pc:docChg>
  </pc:docChgLst>
</pc:chgInfo>
</file>

<file path=ppt/comments/modernComment_103_96322BFC.xml><?xml version="1.0" encoding="utf-8"?>
<p188:cmLst xmlns:a="http://schemas.openxmlformats.org/drawingml/2006/main" xmlns:r="http://schemas.openxmlformats.org/officeDocument/2006/relationships" xmlns:p188="http://schemas.microsoft.com/office/powerpoint/2018/8/main">
  <p188:cm id="{9F03886C-EDAE-4E0A-BBE9-B5A3E1531F2F}" authorId="{FF166D08-8D20-C2CC-17EF-2E4E0559832E}" created="2025-12-05T20:24:05.324">
    <pc:sldMkLst xmlns:pc="http://schemas.microsoft.com/office/powerpoint/2013/main/command">
      <pc:docMk/>
      <pc:sldMk cId="2519870460" sldId="259"/>
    </pc:sldMkLst>
    <p188:txBody>
      <a:bodyPr/>
      <a:lstStyle/>
      <a:p>
        <a:r>
          <a:rPr lang="en-US"/>
          <a:t>Comment for discussion on UAR use case module</a:t>
        </a:r>
      </a:p>
    </p188:txBody>
  </p188:cm>
  <p188:cm id="{31C5F728-4033-4860-BE87-E25AEB26168C}" authorId="{01907EF5-A8B2-721A-86E5-1668FFB58048}" created="2025-12-05T21:03:20.819">
    <ac:deMkLst xmlns:ac="http://schemas.microsoft.com/office/drawing/2013/main/command">
      <pc:docMk xmlns:pc="http://schemas.microsoft.com/office/powerpoint/2013/main/command"/>
      <pc:sldMk xmlns:pc="http://schemas.microsoft.com/office/powerpoint/2013/main/command" cId="2519870460" sldId="259"/>
      <ac:graphicFrameMk id="195" creationId="{77933B5A-495A-4FD6-02DD-B5DAF07AD1E5}"/>
    </ac:deMkLst>
    <p188:txBody>
      <a:bodyPr/>
      <a:lstStyle/>
      <a:p>
        <a:r>
          <a:rPr lang="en-US"/>
          <a:t>[@Bloesch, Troy] </a:t>
        </a:r>
      </a:p>
    </p188:txBody>
  </p188:cm>
</p188:cmLst>
</file>

<file path=ppt/comments/modernComment_10D_B743F2FB.xml><?xml version="1.0" encoding="utf-8"?>
<p188:cmLst xmlns:a="http://schemas.openxmlformats.org/drawingml/2006/main" xmlns:r="http://schemas.openxmlformats.org/officeDocument/2006/relationships" xmlns:p188="http://schemas.microsoft.com/office/powerpoint/2018/8/main">
  <p188:cm id="{BC19AEF1-7F26-4552-BEEF-40D1DEB98EE0}" authorId="{FF166D08-8D20-C2CC-17EF-2E4E0559832E}" created="2025-12-08T14:22:17.333">
    <ac:txMkLst xmlns:ac="http://schemas.microsoft.com/office/drawing/2013/main/command">
      <pc:docMk xmlns:pc="http://schemas.microsoft.com/office/powerpoint/2013/main/command"/>
      <pc:sldMk xmlns:pc="http://schemas.microsoft.com/office/powerpoint/2013/main/command" cId="3074683643" sldId="269"/>
      <ac:spMk id="122" creationId="{F91726BA-8C6B-D4F1-86BD-652A1BC20CB5}"/>
      <ac:txMk cp="0" len="201">
        <ac:context len="397" hash="3237746498"/>
      </ac:txMk>
    </ac:txMkLst>
    <p188:pos x="1921384" y="189504"/>
    <p188:txBody>
      <a:bodyPr/>
      <a:lstStyle/>
      <a:p>
        <a:r>
          <a:rPr lang="en-US"/>
          <a:t>Discuss with team, presented two options in SOW to determine based on ROI and feasibility</a:t>
        </a:r>
      </a:p>
    </p188:txBody>
  </p188:cm>
  <p188:cm id="{105E05AC-77F3-4E11-95EF-87425EE21F31}" authorId="{FF166D08-8D20-C2CC-17EF-2E4E0559832E}" created="2025-12-08T14:23:47.024">
    <ac:txMkLst xmlns:ac="http://schemas.microsoft.com/office/drawing/2013/main/command">
      <pc:docMk xmlns:pc="http://schemas.microsoft.com/office/powerpoint/2013/main/command"/>
      <pc:sldMk xmlns:pc="http://schemas.microsoft.com/office/powerpoint/2013/main/command" cId="3074683643" sldId="269"/>
      <ac:spMk id="100" creationId="{4E372F0D-7F1B-68CF-484D-5EFCA5E527B7}"/>
      <ac:txMk cp="156" len="77">
        <ac:context len="395" hash="2363884903"/>
      </ac:txMk>
    </ac:txMkLst>
    <p188:pos x="1891807" y="1236765"/>
    <p188:txBody>
      <a:bodyPr/>
      <a:lstStyle/>
      <a:p>
        <a:r>
          <a:rPr lang="en-US"/>
          <a:t>Are we doing factory model in this quick start?</a:t>
        </a:r>
      </a:p>
    </p188:txBody>
  </p188:cm>
</p188:cmLst>
</file>

<file path=ppt/comments/modernComment_7FFFF62A_E0637B62.xml><?xml version="1.0" encoding="utf-8"?>
<p188:cmLst xmlns:a="http://schemas.openxmlformats.org/drawingml/2006/main" xmlns:r="http://schemas.openxmlformats.org/officeDocument/2006/relationships" xmlns:p188="http://schemas.microsoft.com/office/powerpoint/2018/8/main">
  <p188:cm id="{D52E2232-7490-41F5-B77E-7B1C3047CB2D}" authorId="{01907EF5-A8B2-721A-86E5-1668FFB58048}" created="2025-12-05T21:02:47.820">
    <pc:sldMkLst xmlns:pc="http://schemas.microsoft.com/office/powerpoint/2013/main/command">
      <pc:docMk/>
      <pc:sldMk cId="3764616034" sldId="2147481130"/>
    </pc:sldMkLst>
    <p188:txBody>
      <a:bodyPr/>
      <a:lstStyle/>
      <a:p>
        <a:r>
          <a:rPr lang="en-US"/>
          <a:t>[@Griffin, Diana D] to edit the content</a:t>
        </a:r>
      </a:p>
    </p188:txBody>
  </p188:cm>
  <p188:cm id="{FB41C9CF-4C6E-4E56-8B30-3F19FCF8DC14}" authorId="{FF166D08-8D20-C2CC-17EF-2E4E0559832E}" created="2025-12-08T14:38:08.632">
    <ac:deMkLst xmlns:ac="http://schemas.microsoft.com/office/drawing/2013/main/command">
      <pc:docMk xmlns:pc="http://schemas.microsoft.com/office/powerpoint/2013/main/command"/>
      <pc:sldMk xmlns:pc="http://schemas.microsoft.com/office/powerpoint/2013/main/command" cId="3764616034" sldId="2147481130"/>
      <ac:spMk id="2" creationId="{02ACE126-C538-39CE-A4EA-E705BC721E10}"/>
    </ac:deMkLst>
    <p188:txBody>
      <a:bodyPr/>
      <a:lstStyle/>
      <a:p>
        <a:r>
          <a:rPr lang="en-US"/>
          <a:t>Do we want to call this Win Themes? Or “Why KPMG?” / “KPMG is your strategic partner”</a:t>
        </a:r>
      </a:p>
    </p188:txBody>
  </p188:cm>
  <p188:cm id="{BD8349F3-EFCB-491D-B624-BB584AF2A4C5}" authorId="{FF166D08-8D20-C2CC-17EF-2E4E0559832E}" created="2025-12-08T14:40:23.922">
    <ac:deMkLst xmlns:ac="http://schemas.microsoft.com/office/drawing/2013/main/command">
      <pc:docMk xmlns:pc="http://schemas.microsoft.com/office/powerpoint/2013/main/command"/>
      <pc:sldMk xmlns:pc="http://schemas.microsoft.com/office/powerpoint/2013/main/command" cId="3764616034" sldId="2147481130"/>
      <ac:spMk id="2" creationId="{02ACE126-C538-39CE-A4EA-E705BC721E10}"/>
    </ac:deMkLst>
    <p188:txBody>
      <a:bodyPr/>
      <a:lstStyle/>
      <a:p>
        <a:r>
          <a:rPr lang="en-US"/>
          <a:t>[@Bloesch, Troy]  where di we get the cigna values content from?</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7EC5BF-4224-46FC-8467-67B7D8EC3CE1}" type="datetimeFigureOut">
              <a:rPr lang="en-US" smtClean="0"/>
              <a:t>12/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9818AB-BDB1-4B96-9CC4-D3423012FCF3}" type="slidenum">
              <a:rPr lang="en-US" smtClean="0"/>
              <a:t>‹#›</a:t>
            </a:fld>
            <a:endParaRPr lang="en-US"/>
          </a:p>
        </p:txBody>
      </p:sp>
    </p:spTree>
    <p:extLst>
      <p:ext uri="{BB962C8B-B14F-4D97-AF65-F5344CB8AC3E}">
        <p14:creationId xmlns:p14="http://schemas.microsoft.com/office/powerpoint/2010/main" val="4885804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ED426C-417A-492D-AF3F-B94179F6186B}" type="slidenum">
              <a:rPr lang="en-US" smtClean="0"/>
              <a:t>1</a:t>
            </a:fld>
            <a:endParaRPr lang="en-US"/>
          </a:p>
        </p:txBody>
      </p:sp>
    </p:spTree>
    <p:extLst>
      <p:ext uri="{BB962C8B-B14F-4D97-AF65-F5344CB8AC3E}">
        <p14:creationId xmlns:p14="http://schemas.microsoft.com/office/powerpoint/2010/main" val="2265772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Anurag Rai</a:t>
            </a:r>
          </a:p>
        </p:txBody>
      </p:sp>
      <p:sp>
        <p:nvSpPr>
          <p:cNvPr id="4" name="Slide Number Placeholder 3"/>
          <p:cNvSpPr>
            <a:spLocks noGrp="1"/>
          </p:cNvSpPr>
          <p:nvPr>
            <p:ph type="sldNum" sz="quarter" idx="5"/>
          </p:nvPr>
        </p:nvSpPr>
        <p:spPr/>
        <p:txBody>
          <a:bodyPr/>
          <a:lstStyle/>
          <a:p>
            <a:fld id="{069818AB-BDB1-4B96-9CC4-D3423012FCF3}" type="slidenum">
              <a:rPr lang="en-US" smtClean="0"/>
              <a:t>2</a:t>
            </a:fld>
            <a:endParaRPr lang="en-US"/>
          </a:p>
        </p:txBody>
      </p:sp>
    </p:spTree>
    <p:extLst>
      <p:ext uri="{BB962C8B-B14F-4D97-AF65-F5344CB8AC3E}">
        <p14:creationId xmlns:p14="http://schemas.microsoft.com/office/powerpoint/2010/main" val="15633657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1D5098B-2669-4371-84AC-48A78F5A2B91}" type="slidenum">
              <a:rPr lang="en-US" smtClean="0"/>
              <a:t>3</a:t>
            </a:fld>
            <a:endParaRPr lang="en-US"/>
          </a:p>
        </p:txBody>
      </p:sp>
    </p:spTree>
    <p:extLst>
      <p:ext uri="{BB962C8B-B14F-4D97-AF65-F5344CB8AC3E}">
        <p14:creationId xmlns:p14="http://schemas.microsoft.com/office/powerpoint/2010/main" val="12555142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E6C3FE-0069-5A83-8DB6-3DB4B5B3EE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E84C6A-2C3C-7981-5981-62479AA55C5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EF6DDDF-8874-6E39-C09A-38D3225DD8B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200" b="0" i="0">
                <a:solidFill>
                  <a:srgbClr val="000000"/>
                </a:solidFill>
                <a:effectLst/>
                <a:latin typeface="National2-Regular"/>
              </a:rPr>
              <a:t>Mark Muto</a:t>
            </a:r>
          </a:p>
        </p:txBody>
      </p:sp>
      <p:sp>
        <p:nvSpPr>
          <p:cNvPr id="4" name="Slide Number Placeholder 3">
            <a:extLst>
              <a:ext uri="{FF2B5EF4-FFF2-40B4-BE49-F238E27FC236}">
                <a16:creationId xmlns:a16="http://schemas.microsoft.com/office/drawing/2014/main" id="{A746660D-53B0-7E81-E944-591F7129050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D948F-A673-4DC7-A0E9-FA274EAF3634}"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814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5D7029-EF99-9206-A6D1-D929B5F042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F2F9FA-07A4-9B5C-99B2-B03A9DA60C04}"/>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7A0DC0E-0C7F-1C03-30ED-BEF1820EE284}"/>
              </a:ext>
            </a:extLst>
          </p:cNvPr>
          <p:cNvSpPr>
            <a:spLocks noGrp="1"/>
          </p:cNvSpPr>
          <p:nvPr>
            <p:ph type="body" idx="1"/>
          </p:nvPr>
        </p:nvSpPr>
        <p:spPr/>
        <p:txBody>
          <a:bodyPr/>
          <a:lstStyle/>
          <a:p>
            <a:r>
              <a:rPr lang="en-GB"/>
              <a:t>Diana -&gt; Randall -&gt; Sydney </a:t>
            </a:r>
          </a:p>
        </p:txBody>
      </p:sp>
      <p:sp>
        <p:nvSpPr>
          <p:cNvPr id="4" name="Slide Number Placeholder 3">
            <a:extLst>
              <a:ext uri="{FF2B5EF4-FFF2-40B4-BE49-F238E27FC236}">
                <a16:creationId xmlns:a16="http://schemas.microsoft.com/office/drawing/2014/main" id="{43084B22-7D6A-ED00-C292-1D69CFB888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ED426C-417A-492D-AF3F-B94179F6186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76979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Sydney</a:t>
            </a:r>
          </a:p>
        </p:txBody>
      </p:sp>
      <p:sp>
        <p:nvSpPr>
          <p:cNvPr id="4" name="Slide Number Placeholder 3"/>
          <p:cNvSpPr>
            <a:spLocks noGrp="1"/>
          </p:cNvSpPr>
          <p:nvPr>
            <p:ph type="sldNum" sz="quarter" idx="5"/>
          </p:nvPr>
        </p:nvSpPr>
        <p:spPr/>
        <p:txBody>
          <a:bodyPr/>
          <a:lstStyle/>
          <a:p>
            <a:fld id="{069818AB-BDB1-4B96-9CC4-D3423012FCF3}" type="slidenum">
              <a:rPr lang="en-US" smtClean="0"/>
              <a:t>6</a:t>
            </a:fld>
            <a:endParaRPr lang="en-US"/>
          </a:p>
        </p:txBody>
      </p:sp>
    </p:spTree>
    <p:extLst>
      <p:ext uri="{BB962C8B-B14F-4D97-AF65-F5344CB8AC3E}">
        <p14:creationId xmlns:p14="http://schemas.microsoft.com/office/powerpoint/2010/main" val="32171085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729ED5-7C80-D864-C19D-D15DF2B8E9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184194-D831-3B2F-9048-BF48E805ADC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31336B2-FBD1-09A5-C2D8-9C68D0F08C0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Talking Points for this Slide:</a:t>
            </a:r>
            <a:br>
              <a:rPr lang="en-US" sz="1200" kern="1200">
                <a:solidFill>
                  <a:schemeClr val="tx1"/>
                </a:solidFill>
                <a:effectLst/>
                <a:latin typeface="+mn-lt"/>
                <a:ea typeface="+mn-ea"/>
                <a:cs typeface="+mn-cs"/>
              </a:rPr>
            </a:br>
            <a:br>
              <a:rPr lang="en-US" sz="1200" kern="1200">
                <a:solidFill>
                  <a:schemeClr val="tx1"/>
                </a:solidFill>
                <a:effectLst/>
                <a:latin typeface="+mn-lt"/>
                <a:ea typeface="+mn-ea"/>
                <a:cs typeface="+mn-cs"/>
              </a:rPr>
            </a:br>
            <a:r>
              <a:rPr lang="en-US" sz="1200" kern="1200">
                <a:solidFill>
                  <a:schemeClr val="tx1"/>
                </a:solidFill>
                <a:effectLst/>
                <a:latin typeface="+mn-lt"/>
                <a:ea typeface="+mn-ea"/>
                <a:cs typeface="+mn-cs"/>
              </a:rPr>
              <a:t>"Eric, we saw this at HP. Before we could automate anything, we had to get incredibly crisp on what a 'transactional' vs. a 'contractual' deal looked like. That segmentation unlocked everything."</a:t>
            </a:r>
            <a:br>
              <a:rPr lang="en-US" sz="1200" kern="1200">
                <a:solidFill>
                  <a:schemeClr val="tx1"/>
                </a:solidFill>
                <a:effectLst/>
                <a:latin typeface="+mn-lt"/>
                <a:ea typeface="+mn-ea"/>
                <a:cs typeface="+mn-cs"/>
              </a:rPr>
            </a:br>
            <a:r>
              <a:rPr lang="en-US" sz="1200" kern="1200">
                <a:solidFill>
                  <a:schemeClr val="tx1"/>
                </a:solidFill>
                <a:effectLst/>
                <a:latin typeface="+mn-lt"/>
                <a:ea typeface="+mn-ea"/>
                <a:cs typeface="+mn-cs"/>
              </a:rPr>
              <a:t>"On the human element, this isn't about a smaller team doing the same work. It's about a highly-skilled team doing different, more valuable work. We're moving your top talent from processing quotes to shaping deals."</a:t>
            </a:r>
            <a:br>
              <a:rPr lang="en-US" sz="1200" kern="1200">
                <a:solidFill>
                  <a:schemeClr val="tx1"/>
                </a:solidFill>
                <a:effectLst/>
                <a:latin typeface="+mn-lt"/>
                <a:ea typeface="+mn-ea"/>
                <a:cs typeface="+mn-cs"/>
              </a:rPr>
            </a:br>
            <a:r>
              <a:rPr lang="en-US" sz="1200" kern="1200">
                <a:solidFill>
                  <a:schemeClr val="tx1"/>
                </a:solidFill>
                <a:effectLst/>
                <a:latin typeface="+mn-lt"/>
                <a:ea typeface="+mn-ea"/>
                <a:cs typeface="+mn-cs"/>
              </a:rPr>
              <a:t>"For your sales team, the change story is simple: instant answers, faster turnaround on standard quotes, and more expert help on the deals that truly matter. This is about giving them back time to sell."</a:t>
            </a:r>
          </a:p>
          <a:p>
            <a:endParaRPr lang="en-US"/>
          </a:p>
        </p:txBody>
      </p:sp>
      <p:sp>
        <p:nvSpPr>
          <p:cNvPr id="4" name="Slide Number Placeholder 3">
            <a:extLst>
              <a:ext uri="{FF2B5EF4-FFF2-40B4-BE49-F238E27FC236}">
                <a16:creationId xmlns:a16="http://schemas.microsoft.com/office/drawing/2014/main" id="{9C28C61F-E4CA-EDB8-35D8-58F1874B7CD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F50568-82FF-4DA6-912A-FC042BAD250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305475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0661C9-08D4-05DE-67C8-82ED289640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49F596-7841-8F62-F15D-16B9B1E7080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0D2FA68-35FA-C4FD-E79A-4D7F3D149310}"/>
              </a:ext>
            </a:extLst>
          </p:cNvPr>
          <p:cNvSpPr>
            <a:spLocks noGrp="1"/>
          </p:cNvSpPr>
          <p:nvPr>
            <p:ph type="body" idx="1"/>
          </p:nvPr>
        </p:nvSpPr>
        <p:spPr/>
        <p:txBody>
          <a:bodyPr/>
          <a:lstStyle/>
          <a:p>
            <a:r>
              <a:rPr lang="en-US"/>
              <a:t>Mark </a:t>
            </a:r>
          </a:p>
        </p:txBody>
      </p:sp>
      <p:sp>
        <p:nvSpPr>
          <p:cNvPr id="4" name="Slide Number Placeholder 3">
            <a:extLst>
              <a:ext uri="{FF2B5EF4-FFF2-40B4-BE49-F238E27FC236}">
                <a16:creationId xmlns:a16="http://schemas.microsoft.com/office/drawing/2014/main" id="{2E47AD43-2D0F-3B92-8201-B250C988F1D3}"/>
              </a:ext>
            </a:extLst>
          </p:cNvPr>
          <p:cNvSpPr>
            <a:spLocks noGrp="1"/>
          </p:cNvSpPr>
          <p:nvPr>
            <p:ph type="sldNum" sz="quarter" idx="5"/>
          </p:nvPr>
        </p:nvSpPr>
        <p:spPr/>
        <p:txBody>
          <a:bodyPr/>
          <a:lstStyle/>
          <a:p>
            <a:fld id="{ADED426C-417A-492D-AF3F-B94179F6186B}" type="slidenum">
              <a:rPr lang="en-GB" smtClean="0"/>
              <a:t>8</a:t>
            </a:fld>
            <a:endParaRPr lang="en-GB"/>
          </a:p>
        </p:txBody>
      </p:sp>
    </p:spTree>
    <p:extLst>
      <p:ext uri="{BB962C8B-B14F-4D97-AF65-F5344CB8AC3E}">
        <p14:creationId xmlns:p14="http://schemas.microsoft.com/office/powerpoint/2010/main" val="38448673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Diana / Mark </a:t>
            </a:r>
          </a:p>
        </p:txBody>
      </p:sp>
      <p:sp>
        <p:nvSpPr>
          <p:cNvPr id="4" name="Slide Number Placeholder 3"/>
          <p:cNvSpPr>
            <a:spLocks noGrp="1"/>
          </p:cNvSpPr>
          <p:nvPr>
            <p:ph type="sldNum" sz="quarter" idx="5"/>
          </p:nvPr>
        </p:nvSpPr>
        <p:spPr/>
        <p:txBody>
          <a:bodyPr/>
          <a:lstStyle/>
          <a:p>
            <a:fld id="{069818AB-BDB1-4B96-9CC4-D3423012FCF3}" type="slidenum">
              <a:rPr lang="en-US" smtClean="0"/>
              <a:t>9</a:t>
            </a:fld>
            <a:endParaRPr lang="en-US"/>
          </a:p>
        </p:txBody>
      </p:sp>
    </p:spTree>
    <p:extLst>
      <p:ext uri="{BB962C8B-B14F-4D97-AF65-F5344CB8AC3E}">
        <p14:creationId xmlns:p14="http://schemas.microsoft.com/office/powerpoint/2010/main" val="31344996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7.jpeg"/><Relationship Id="rId7"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577319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64550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767316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over style 4">
    <p:bg>
      <p:bgPr>
        <a:gradFill>
          <a:gsLst>
            <a:gs pos="100000">
              <a:schemeClr val="accent5"/>
            </a:gs>
            <a:gs pos="0">
              <a:schemeClr val="accent1"/>
            </a:gs>
          </a:gsLst>
          <a:lin ang="0" scaled="1"/>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6D3E171-93C7-4C99-D3AB-21132A6CE26F}"/>
              </a:ext>
            </a:extLst>
          </p:cNvPr>
          <p:cNvSpPr/>
          <p:nvPr userDrawn="1"/>
        </p:nvSpPr>
        <p:spPr>
          <a:xfrm>
            <a:off x="2132288" y="712381"/>
            <a:ext cx="9846534" cy="5581207"/>
          </a:xfrm>
          <a:prstGeom prst="rect">
            <a:avLst/>
          </a:prstGeom>
          <a:blipFill>
            <a:blip r:embed="rId3">
              <a:extLst>
                <a:ext uri="{28A0092B-C50C-407E-A947-70E740481C1C}">
                  <a14:useLocalDpi xmlns:a14="http://schemas.microsoft.com/office/drawing/2010/main" val="0"/>
                </a:ext>
              </a:extLst>
            </a:blip>
            <a:srcRect/>
            <a:stretch>
              <a:fillRect l="30016" t="-10763" r="-30016" b="-1076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pic>
        <p:nvPicPr>
          <p:cNvPr id="3" name="Picture 2">
            <a:extLst>
              <a:ext uri="{FF2B5EF4-FFF2-40B4-BE49-F238E27FC236}">
                <a16:creationId xmlns:a16="http://schemas.microsoft.com/office/drawing/2014/main" id="{5CF7488D-7E86-6DCE-09EF-D8EF5DE7BA0D}"/>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flipH="1">
            <a:off x="0" y="0"/>
            <a:ext cx="12192000" cy="6858000"/>
          </a:xfrm>
          <a:custGeom>
            <a:avLst/>
            <a:gdLst>
              <a:gd name="connsiteX0" fmla="*/ 4602480 w 12192000"/>
              <a:gd name="connsiteY0" fmla="*/ 711200 h 6858000"/>
              <a:gd name="connsiteX1" fmla="*/ 4602480 w 12192000"/>
              <a:gd name="connsiteY1" fmla="*/ 6315075 h 6858000"/>
              <a:gd name="connsiteX2" fmla="*/ 720725 w 12192000"/>
              <a:gd name="connsiteY2" fmla="*/ 6315075 h 6858000"/>
              <a:gd name="connsiteX3" fmla="*/ 720725 w 12192000"/>
              <a:gd name="connsiteY3" fmla="*/ 711200 h 6858000"/>
              <a:gd name="connsiteX4" fmla="*/ 12192000 w 12192000"/>
              <a:gd name="connsiteY4" fmla="*/ 0 h 6858000"/>
              <a:gd name="connsiteX5" fmla="*/ 0 w 12192000"/>
              <a:gd name="connsiteY5" fmla="*/ 0 h 6858000"/>
              <a:gd name="connsiteX6" fmla="*/ 0 w 12192000"/>
              <a:gd name="connsiteY6" fmla="*/ 6858000 h 6858000"/>
              <a:gd name="connsiteX7" fmla="*/ 1219200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4602480" y="711200"/>
                </a:moveTo>
                <a:lnTo>
                  <a:pt x="4602480" y="6315075"/>
                </a:lnTo>
                <a:lnTo>
                  <a:pt x="720725" y="6315075"/>
                </a:lnTo>
                <a:lnTo>
                  <a:pt x="720725" y="711200"/>
                </a:lnTo>
                <a:close/>
                <a:moveTo>
                  <a:pt x="12192000" y="0"/>
                </a:moveTo>
                <a:lnTo>
                  <a:pt x="0" y="0"/>
                </a:lnTo>
                <a:lnTo>
                  <a:pt x="0" y="6858000"/>
                </a:lnTo>
                <a:lnTo>
                  <a:pt x="12192000" y="6858000"/>
                </a:lnTo>
                <a:close/>
              </a:path>
            </a:pathLst>
          </a:custGeom>
        </p:spPr>
      </p:pic>
      <p:graphicFrame>
        <p:nvGraphicFramePr>
          <p:cNvPr id="7" name="Object 6" hidden="1">
            <a:extLst>
              <a:ext uri="{FF2B5EF4-FFF2-40B4-BE49-F238E27FC236}">
                <a16:creationId xmlns:a16="http://schemas.microsoft.com/office/drawing/2014/main" id="{75DEE167-C3DB-4DD0-A2CB-470C784BCB96}"/>
              </a:ext>
            </a:extLst>
          </p:cNvPr>
          <p:cNvGraphicFramePr>
            <a:graphicFrameLocks noChangeAspect="1"/>
          </p:cNvGraphicFramePr>
          <p:nvPr userDrawn="1">
            <p:custDataLst>
              <p:tags r:id="rId1"/>
            </p:custDataLst>
            <p:extLst>
              <p:ext uri="{D42A27DB-BD31-4B8C-83A1-F6EECF244321}">
                <p14:modId xmlns:p14="http://schemas.microsoft.com/office/powerpoint/2010/main" val="2128389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7" name="Object 6" hidden="1">
                        <a:extLst>
                          <a:ext uri="{FF2B5EF4-FFF2-40B4-BE49-F238E27FC236}">
                            <a16:creationId xmlns:a16="http://schemas.microsoft.com/office/drawing/2014/main" id="{75DEE167-C3DB-4DD0-A2CB-470C784BCB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Freeform 19">
            <a:extLst>
              <a:ext uri="{FF2B5EF4-FFF2-40B4-BE49-F238E27FC236}">
                <a16:creationId xmlns:a16="http://schemas.microsoft.com/office/drawing/2014/main" id="{DAD0BEE5-FB28-4E9B-B81F-23405BE85257}"/>
              </a:ext>
            </a:extLst>
          </p:cNvPr>
          <p:cNvSpPr>
            <a:spLocks noChangeAspect="1" noEditPoints="1"/>
          </p:cNvSpPr>
          <p:nvPr userDrawn="1"/>
        </p:nvSpPr>
        <p:spPr bwMode="auto">
          <a:xfrm>
            <a:off x="720725" y="54133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DIN Next LT Arabic" panose="020B0503020203050203" pitchFamily="34" charset="-78"/>
              <a:ea typeface="+mn-ea"/>
              <a:cs typeface="DIN Next LT Arabic" panose="020B0503020203050203" pitchFamily="34" charset="-78"/>
              <a:sym typeface="DIN Next LT Arabic" panose="020B0503020203050203" pitchFamily="34" charset="-78"/>
            </a:endParaRPr>
          </a:p>
        </p:txBody>
      </p:sp>
      <p:sp>
        <p:nvSpPr>
          <p:cNvPr id="13" name="Title 1">
            <a:extLst>
              <a:ext uri="{FF2B5EF4-FFF2-40B4-BE49-F238E27FC236}">
                <a16:creationId xmlns:a16="http://schemas.microsoft.com/office/drawing/2014/main" id="{17111027-8D7D-4220-958E-B13EF6A310C1}"/>
              </a:ext>
            </a:extLst>
          </p:cNvPr>
          <p:cNvSpPr>
            <a:spLocks noGrp="1"/>
          </p:cNvSpPr>
          <p:nvPr>
            <p:ph type="ctrTitle"/>
          </p:nvPr>
        </p:nvSpPr>
        <p:spPr>
          <a:xfrm flipH="1">
            <a:off x="720725" y="1393470"/>
            <a:ext cx="5265737" cy="3442681"/>
          </a:xfrm>
          <a:noFill/>
          <a:ln w="3175">
            <a:noFill/>
            <a:prstDash val="lgDash"/>
          </a:ln>
        </p:spPr>
        <p:txBody>
          <a:bodyPr vert="horz" lIns="0" tIns="0" rIns="0" bIns="0" rtlCol="1" anchor="t" anchorCtr="0">
            <a:noAutofit/>
          </a:bodyPr>
          <a:lstStyle>
            <a:lvl1pPr algn="l" rtl="0">
              <a:lnSpc>
                <a:spcPct val="90000"/>
              </a:lnSpc>
              <a:defRPr sz="4800" b="1" baseline="0">
                <a:solidFill>
                  <a:schemeClr val="bg1"/>
                </a:solidFill>
                <a:latin typeface="+mj-lt"/>
                <a:cs typeface="DIN Next LT Arabic" panose="020B0503020203050203" pitchFamily="34" charset="-78"/>
                <a:sym typeface="DIN Next LT Arabic" panose="020B0503020203050203" pitchFamily="34" charset="-78"/>
              </a:defRPr>
            </a:lvl1pPr>
          </a:lstStyle>
          <a:p>
            <a:endParaRPr lang="en-US"/>
          </a:p>
        </p:txBody>
      </p:sp>
      <p:sp>
        <p:nvSpPr>
          <p:cNvPr id="16" name="Text Placeholder 3">
            <a:extLst>
              <a:ext uri="{FF2B5EF4-FFF2-40B4-BE49-F238E27FC236}">
                <a16:creationId xmlns:a16="http://schemas.microsoft.com/office/drawing/2014/main" id="{72D13D33-32E2-4E0A-BA87-03CD18169778}"/>
              </a:ext>
            </a:extLst>
          </p:cNvPr>
          <p:cNvSpPr>
            <a:spLocks noGrp="1"/>
          </p:cNvSpPr>
          <p:nvPr>
            <p:ph type="body" sz="quarter" idx="11"/>
          </p:nvPr>
        </p:nvSpPr>
        <p:spPr>
          <a:xfrm flipH="1">
            <a:off x="720725" y="5505075"/>
            <a:ext cx="5265737" cy="810000"/>
          </a:xfrm>
          <a:ln w="3175">
            <a:noFill/>
            <a:prstDash val="lgDash"/>
          </a:ln>
        </p:spPr>
        <p:txBody>
          <a:bodyPr wrap="square" lIns="0" rIns="0" rtlCol="1" anchor="b">
            <a:noAutofit/>
          </a:bodyPr>
          <a:lstStyle>
            <a:lvl1pPr algn="l" rtl="0">
              <a:defRPr sz="1400">
                <a:solidFill>
                  <a:schemeClr val="bg1"/>
                </a:solidFill>
                <a:latin typeface="DIN Next LT Arabic" panose="020B0503020203050203" pitchFamily="34" charset="-78"/>
                <a:cs typeface="DIN Next LT Arabic" panose="020B0503020203050203" pitchFamily="34" charset="-78"/>
                <a:sym typeface="DIN Next LT Arabic" panose="020B0503020203050203" pitchFamily="34" charset="-78"/>
              </a:defRPr>
            </a:lvl1pPr>
            <a:lvl2pPr algn="l" rtl="0">
              <a:defRPr sz="1400">
                <a:solidFill>
                  <a:schemeClr val="bg1"/>
                </a:solidFill>
                <a:latin typeface="DIN Next LT Arabic" panose="020B0503020203050203" pitchFamily="34" charset="-78"/>
                <a:cs typeface="DIN Next LT Arabic" panose="020B0503020203050203" pitchFamily="34" charset="-78"/>
                <a:sym typeface="DIN Next LT Arabic" panose="020B0503020203050203" pitchFamily="34" charset="-78"/>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12401328-6765-1C10-7B4A-50939B13CAE6}"/>
              </a:ext>
            </a:extLst>
          </p:cNvPr>
          <p:cNvGrpSpPr/>
          <p:nvPr userDrawn="1"/>
        </p:nvGrpSpPr>
        <p:grpSpPr>
          <a:xfrm>
            <a:off x="5289549" y="4004568"/>
            <a:ext cx="4539522" cy="2960051"/>
            <a:chOff x="5406327" y="168656"/>
            <a:chExt cx="7937876" cy="5175991"/>
          </a:xfrm>
          <a:solidFill>
            <a:srgbClr val="C5FFF9">
              <a:alpha val="92549"/>
            </a:srgbClr>
          </a:solidFill>
        </p:grpSpPr>
        <p:sp>
          <p:nvSpPr>
            <p:cNvPr id="12" name="Freeform: Shape 11">
              <a:extLst>
                <a:ext uri="{FF2B5EF4-FFF2-40B4-BE49-F238E27FC236}">
                  <a16:creationId xmlns:a16="http://schemas.microsoft.com/office/drawing/2014/main" id="{9C362B92-1688-DCC5-BE86-AB576D41BD6F}"/>
                </a:ext>
              </a:extLst>
            </p:cNvPr>
            <p:cNvSpPr/>
            <p:nvPr/>
          </p:nvSpPr>
          <p:spPr>
            <a:xfrm flipH="1">
              <a:off x="5923011" y="2781103"/>
              <a:ext cx="1075856" cy="593337"/>
            </a:xfrm>
            <a:custGeom>
              <a:avLst/>
              <a:gdLst>
                <a:gd name="connsiteX0" fmla="*/ 1075858 w 1075857"/>
                <a:gd name="connsiteY0" fmla="*/ 300691 h 593336"/>
                <a:gd name="connsiteX1" fmla="*/ 1070757 w 1075857"/>
                <a:gd name="connsiteY1" fmla="*/ 309564 h 593336"/>
                <a:gd name="connsiteX2" fmla="*/ 555081 w 1075857"/>
                <a:gd name="connsiteY2" fmla="*/ 11818 h 593336"/>
                <a:gd name="connsiteX3" fmla="*/ 10237 w 1075857"/>
                <a:gd name="connsiteY3" fmla="*/ 326375 h 593336"/>
                <a:gd name="connsiteX4" fmla="*/ 10237 w 1075857"/>
                <a:gd name="connsiteY4" fmla="*/ 593336 h 593336"/>
                <a:gd name="connsiteX5" fmla="*/ 0 w 1075857"/>
                <a:gd name="connsiteY5" fmla="*/ 593336 h 593336"/>
                <a:gd name="connsiteX6" fmla="*/ 0 w 1075857"/>
                <a:gd name="connsiteY6" fmla="*/ 320448 h 593336"/>
                <a:gd name="connsiteX7" fmla="*/ 555081 w 1075857"/>
                <a:gd name="connsiteY7" fmla="*/ 0 h 593336"/>
                <a:gd name="connsiteX8" fmla="*/ 1075858 w 1075857"/>
                <a:gd name="connsiteY8" fmla="*/ 300691 h 59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5857" h="593336">
                  <a:moveTo>
                    <a:pt x="1075858" y="300691"/>
                  </a:moveTo>
                  <a:lnTo>
                    <a:pt x="1070757" y="309564"/>
                  </a:lnTo>
                  <a:lnTo>
                    <a:pt x="555081" y="11818"/>
                  </a:lnTo>
                  <a:lnTo>
                    <a:pt x="10237" y="326375"/>
                  </a:lnTo>
                  <a:lnTo>
                    <a:pt x="10237" y="593336"/>
                  </a:lnTo>
                  <a:lnTo>
                    <a:pt x="0" y="593336"/>
                  </a:lnTo>
                  <a:lnTo>
                    <a:pt x="0" y="320448"/>
                  </a:lnTo>
                  <a:lnTo>
                    <a:pt x="555081" y="0"/>
                  </a:lnTo>
                  <a:lnTo>
                    <a:pt x="1075858" y="300691"/>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C4F02159-B256-9C39-9EE3-DDE97EC70B2C}"/>
                </a:ext>
              </a:extLst>
            </p:cNvPr>
            <p:cNvSpPr/>
            <p:nvPr/>
          </p:nvSpPr>
          <p:spPr>
            <a:xfrm flipH="1">
              <a:off x="5888681" y="3046686"/>
              <a:ext cx="77117" cy="77096"/>
            </a:xfrm>
            <a:custGeom>
              <a:avLst/>
              <a:gdLst>
                <a:gd name="connsiteX0" fmla="*/ 15738 w 77118"/>
                <a:gd name="connsiteY0" fmla="*/ 71682 h 77096"/>
                <a:gd name="connsiteX1" fmla="*/ 68396 w 77118"/>
                <a:gd name="connsiteY1" fmla="*/ 57565 h 77096"/>
                <a:gd name="connsiteX2" fmla="*/ 54281 w 77118"/>
                <a:gd name="connsiteY2" fmla="*/ 4941 h 77096"/>
                <a:gd name="connsiteX3" fmla="*/ 1621 w 77118"/>
                <a:gd name="connsiteY3" fmla="*/ 19022 h 77096"/>
                <a:gd name="connsiteX4" fmla="*/ 1621 w 77118"/>
                <a:gd name="connsiteY4" fmla="*/ 19058 h 77096"/>
                <a:gd name="connsiteX5" fmla="*/ 15629 w 77118"/>
                <a:gd name="connsiteY5" fmla="*/ 71610 h 77096"/>
                <a:gd name="connsiteX6" fmla="*/ 15738 w 77118"/>
                <a:gd name="connsiteY6" fmla="*/ 71682 h 7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118" h="77096">
                  <a:moveTo>
                    <a:pt x="15738" y="71682"/>
                  </a:moveTo>
                  <a:cubicBezTo>
                    <a:pt x="34165" y="82314"/>
                    <a:pt x="57729" y="76028"/>
                    <a:pt x="68396" y="57565"/>
                  </a:cubicBezTo>
                  <a:cubicBezTo>
                    <a:pt x="79031" y="39137"/>
                    <a:pt x="72708" y="15574"/>
                    <a:pt x="54281" y="4941"/>
                  </a:cubicBezTo>
                  <a:cubicBezTo>
                    <a:pt x="35854" y="-5727"/>
                    <a:pt x="12290" y="595"/>
                    <a:pt x="1621" y="19022"/>
                  </a:cubicBezTo>
                  <a:cubicBezTo>
                    <a:pt x="1621" y="19022"/>
                    <a:pt x="1621" y="19058"/>
                    <a:pt x="1621" y="19058"/>
                  </a:cubicBezTo>
                  <a:cubicBezTo>
                    <a:pt x="-9012" y="37449"/>
                    <a:pt x="-2761" y="60977"/>
                    <a:pt x="15629" y="71610"/>
                  </a:cubicBezTo>
                  <a:cubicBezTo>
                    <a:pt x="15666" y="71646"/>
                    <a:pt x="15701" y="71682"/>
                    <a:pt x="15738" y="71682"/>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B41F3A30-9A7F-D845-BB68-FFA76A100D18}"/>
                </a:ext>
              </a:extLst>
            </p:cNvPr>
            <p:cNvSpPr/>
            <p:nvPr/>
          </p:nvSpPr>
          <p:spPr>
            <a:xfrm flipH="1">
              <a:off x="6943729" y="3321635"/>
              <a:ext cx="100218" cy="100218"/>
            </a:xfrm>
            <a:custGeom>
              <a:avLst/>
              <a:gdLst>
                <a:gd name="connsiteX0" fmla="*/ 96658 w 100218"/>
                <a:gd name="connsiteY0" fmla="*/ 50043 h 100218"/>
                <a:gd name="connsiteX1" fmla="*/ 46370 w 100218"/>
                <a:gd name="connsiteY1" fmla="*/ 99973 h 100218"/>
                <a:gd name="connsiteX2" fmla="*/ -3560 w 100218"/>
                <a:gd name="connsiteY2" fmla="*/ 49684 h 100218"/>
                <a:gd name="connsiteX3" fmla="*/ 46370 w 100218"/>
                <a:gd name="connsiteY3" fmla="*/ -245 h 100218"/>
                <a:gd name="connsiteX4" fmla="*/ 96658 w 100218"/>
                <a:gd name="connsiteY4" fmla="*/ 50043 h 100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8" h="100218">
                  <a:moveTo>
                    <a:pt x="96658" y="50043"/>
                  </a:moveTo>
                  <a:cubicBezTo>
                    <a:pt x="96551" y="77703"/>
                    <a:pt x="74029" y="100081"/>
                    <a:pt x="46370" y="99973"/>
                  </a:cubicBezTo>
                  <a:cubicBezTo>
                    <a:pt x="18710" y="99865"/>
                    <a:pt x="-3669" y="77343"/>
                    <a:pt x="-3560" y="49684"/>
                  </a:cubicBezTo>
                  <a:cubicBezTo>
                    <a:pt x="-3453" y="22133"/>
                    <a:pt x="18819" y="-138"/>
                    <a:pt x="46370" y="-245"/>
                  </a:cubicBezTo>
                  <a:cubicBezTo>
                    <a:pt x="74136" y="-245"/>
                    <a:pt x="96658" y="22277"/>
                    <a:pt x="96658" y="50043"/>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D689B9C0-D29B-A453-3060-B82D0D1B48BF}"/>
                </a:ext>
              </a:extLst>
            </p:cNvPr>
            <p:cNvSpPr/>
            <p:nvPr/>
          </p:nvSpPr>
          <p:spPr>
            <a:xfrm flipH="1">
              <a:off x="6725332" y="1269743"/>
              <a:ext cx="1104988" cy="327883"/>
            </a:xfrm>
            <a:custGeom>
              <a:avLst/>
              <a:gdLst>
                <a:gd name="connsiteX0" fmla="*/ 1104989 w 1104989"/>
                <a:gd name="connsiteY0" fmla="*/ 8872 h 327883"/>
                <a:gd name="connsiteX1" fmla="*/ 552494 w 1104989"/>
                <a:gd name="connsiteY1" fmla="*/ 327883 h 327883"/>
                <a:gd name="connsiteX2" fmla="*/ 0 w 1104989"/>
                <a:gd name="connsiteY2" fmla="*/ 8872 h 327883"/>
                <a:gd name="connsiteX3" fmla="*/ 5100 w 1104989"/>
                <a:gd name="connsiteY3" fmla="*/ 0 h 327883"/>
                <a:gd name="connsiteX4" fmla="*/ 552494 w 1104989"/>
                <a:gd name="connsiteY4" fmla="*/ 316029 h 327883"/>
                <a:gd name="connsiteX5" fmla="*/ 1099888 w 1104989"/>
                <a:gd name="connsiteY5" fmla="*/ 0 h 327883"/>
                <a:gd name="connsiteX6" fmla="*/ 1104989 w 1104989"/>
                <a:gd name="connsiteY6" fmla="*/ 8872 h 32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4989" h="327883">
                  <a:moveTo>
                    <a:pt x="1104989" y="8872"/>
                  </a:moveTo>
                  <a:lnTo>
                    <a:pt x="552494" y="327883"/>
                  </a:lnTo>
                  <a:lnTo>
                    <a:pt x="0" y="8872"/>
                  </a:lnTo>
                  <a:lnTo>
                    <a:pt x="5100" y="0"/>
                  </a:lnTo>
                  <a:lnTo>
                    <a:pt x="552494" y="316029"/>
                  </a:lnTo>
                  <a:lnTo>
                    <a:pt x="1099888" y="0"/>
                  </a:lnTo>
                  <a:lnTo>
                    <a:pt x="1104989" y="8872"/>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F1C67327-6811-CE8F-11F2-A6AC22D08323}"/>
                </a:ext>
              </a:extLst>
            </p:cNvPr>
            <p:cNvSpPr/>
            <p:nvPr/>
          </p:nvSpPr>
          <p:spPr>
            <a:xfrm flipH="1">
              <a:off x="10869922" y="4015551"/>
              <a:ext cx="901822" cy="579218"/>
            </a:xfrm>
            <a:custGeom>
              <a:avLst/>
              <a:gdLst>
                <a:gd name="connsiteX0" fmla="*/ 901822 w 901822"/>
                <a:gd name="connsiteY0" fmla="*/ 320484 h 579219"/>
                <a:gd name="connsiteX1" fmla="*/ 901822 w 901822"/>
                <a:gd name="connsiteY1" fmla="*/ 579220 h 579219"/>
                <a:gd name="connsiteX2" fmla="*/ 891549 w 901822"/>
                <a:gd name="connsiteY2" fmla="*/ 579220 h 579219"/>
                <a:gd name="connsiteX3" fmla="*/ 891549 w 901822"/>
                <a:gd name="connsiteY3" fmla="*/ 326411 h 579219"/>
                <a:gd name="connsiteX4" fmla="*/ 346741 w 901822"/>
                <a:gd name="connsiteY4" fmla="*/ 11854 h 579219"/>
                <a:gd name="connsiteX5" fmla="*/ 5137 w 901822"/>
                <a:gd name="connsiteY5" fmla="*/ 209094 h 579219"/>
                <a:gd name="connsiteX6" fmla="*/ 0 w 901822"/>
                <a:gd name="connsiteY6" fmla="*/ 200186 h 579219"/>
                <a:gd name="connsiteX7" fmla="*/ 346741 w 901822"/>
                <a:gd name="connsiteY7" fmla="*/ 0 h 579219"/>
                <a:gd name="connsiteX8" fmla="*/ 901822 w 901822"/>
                <a:gd name="connsiteY8" fmla="*/ 320484 h 579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1822" h="579219">
                  <a:moveTo>
                    <a:pt x="901822" y="320484"/>
                  </a:moveTo>
                  <a:lnTo>
                    <a:pt x="901822" y="579220"/>
                  </a:lnTo>
                  <a:lnTo>
                    <a:pt x="891549" y="579220"/>
                  </a:lnTo>
                  <a:lnTo>
                    <a:pt x="891549" y="326411"/>
                  </a:lnTo>
                  <a:lnTo>
                    <a:pt x="346741" y="11854"/>
                  </a:lnTo>
                  <a:lnTo>
                    <a:pt x="5137" y="209094"/>
                  </a:lnTo>
                  <a:lnTo>
                    <a:pt x="0" y="200186"/>
                  </a:lnTo>
                  <a:lnTo>
                    <a:pt x="346741" y="0"/>
                  </a:lnTo>
                  <a:lnTo>
                    <a:pt x="901822" y="320484"/>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C98903CD-96B2-277E-1E65-88BC06A2CEDA}"/>
                </a:ext>
              </a:extLst>
            </p:cNvPr>
            <p:cNvSpPr/>
            <p:nvPr/>
          </p:nvSpPr>
          <p:spPr>
            <a:xfrm flipH="1">
              <a:off x="7047755" y="846040"/>
              <a:ext cx="186383" cy="186387"/>
            </a:xfrm>
            <a:custGeom>
              <a:avLst/>
              <a:gdLst>
                <a:gd name="connsiteX0" fmla="*/ 43021 w 186384"/>
                <a:gd name="connsiteY0" fmla="*/ 173631 h 186386"/>
                <a:gd name="connsiteX1" fmla="*/ 170324 w 186384"/>
                <a:gd name="connsiteY1" fmla="*/ 139556 h 186386"/>
                <a:gd name="connsiteX2" fmla="*/ 136234 w 186384"/>
                <a:gd name="connsiteY2" fmla="*/ 12265 h 186386"/>
                <a:gd name="connsiteX3" fmla="*/ 8932 w 186384"/>
                <a:gd name="connsiteY3" fmla="*/ 46339 h 186386"/>
                <a:gd name="connsiteX4" fmla="*/ 8932 w 186384"/>
                <a:gd name="connsiteY4" fmla="*/ 46364 h 186386"/>
                <a:gd name="connsiteX5" fmla="*/ 43021 w 186384"/>
                <a:gd name="connsiteY5" fmla="*/ 173631 h 18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384" h="186386">
                  <a:moveTo>
                    <a:pt x="43021" y="173631"/>
                  </a:moveTo>
                  <a:cubicBezTo>
                    <a:pt x="87598" y="199371"/>
                    <a:pt x="144569" y="184116"/>
                    <a:pt x="170324" y="139556"/>
                  </a:cubicBezTo>
                  <a:cubicBezTo>
                    <a:pt x="196044" y="94997"/>
                    <a:pt x="180812" y="38005"/>
                    <a:pt x="136234" y="12265"/>
                  </a:cubicBezTo>
                  <a:cubicBezTo>
                    <a:pt x="91693" y="-13476"/>
                    <a:pt x="34687" y="1779"/>
                    <a:pt x="8932" y="46339"/>
                  </a:cubicBezTo>
                  <a:cubicBezTo>
                    <a:pt x="8932" y="46346"/>
                    <a:pt x="8932" y="46357"/>
                    <a:pt x="8932" y="46364"/>
                  </a:cubicBezTo>
                  <a:cubicBezTo>
                    <a:pt x="-16786" y="90924"/>
                    <a:pt x="-1520" y="147894"/>
                    <a:pt x="43021" y="173631"/>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6B641A50-280B-3D9F-FB64-CEB3C2EBE996}"/>
                </a:ext>
              </a:extLst>
            </p:cNvPr>
            <p:cNvSpPr/>
            <p:nvPr/>
          </p:nvSpPr>
          <p:spPr>
            <a:xfrm flipH="1">
              <a:off x="12130053" y="4439873"/>
              <a:ext cx="147868" cy="147868"/>
            </a:xfrm>
            <a:custGeom>
              <a:avLst/>
              <a:gdLst>
                <a:gd name="connsiteX0" fmla="*/ 33389 w 147869"/>
                <a:gd name="connsiteY0" fmla="*/ 137696 h 147869"/>
                <a:gd name="connsiteX1" fmla="*/ 6376 w 147869"/>
                <a:gd name="connsiteY1" fmla="*/ 36688 h 147869"/>
                <a:gd name="connsiteX2" fmla="*/ 107349 w 147869"/>
                <a:gd name="connsiteY2" fmla="*/ 9675 h 147869"/>
                <a:gd name="connsiteX3" fmla="*/ 134397 w 147869"/>
                <a:gd name="connsiteY3" fmla="*/ 110648 h 147869"/>
                <a:gd name="connsiteX4" fmla="*/ 33425 w 147869"/>
                <a:gd name="connsiteY4" fmla="*/ 137696 h 147869"/>
                <a:gd name="connsiteX5" fmla="*/ 33389 w 147869"/>
                <a:gd name="connsiteY5" fmla="*/ 137696 h 147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869" h="147869">
                  <a:moveTo>
                    <a:pt x="33389" y="137696"/>
                  </a:moveTo>
                  <a:cubicBezTo>
                    <a:pt x="-1957" y="117257"/>
                    <a:pt x="-14062" y="72069"/>
                    <a:pt x="6376" y="36688"/>
                  </a:cubicBezTo>
                  <a:cubicBezTo>
                    <a:pt x="26779" y="1342"/>
                    <a:pt x="72003" y="-10728"/>
                    <a:pt x="107349" y="9675"/>
                  </a:cubicBezTo>
                  <a:cubicBezTo>
                    <a:pt x="142695" y="30114"/>
                    <a:pt x="154801" y="75302"/>
                    <a:pt x="134397" y="110648"/>
                  </a:cubicBezTo>
                  <a:cubicBezTo>
                    <a:pt x="113994" y="145994"/>
                    <a:pt x="68770" y="158135"/>
                    <a:pt x="33425" y="137696"/>
                  </a:cubicBezTo>
                  <a:cubicBezTo>
                    <a:pt x="33425" y="137696"/>
                    <a:pt x="33389" y="137696"/>
                    <a:pt x="33389" y="137696"/>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010A2089-0491-0312-3192-422C23477860}"/>
                </a:ext>
              </a:extLst>
            </p:cNvPr>
            <p:cNvSpPr/>
            <p:nvPr/>
          </p:nvSpPr>
          <p:spPr>
            <a:xfrm flipH="1">
              <a:off x="9132801" y="1309042"/>
              <a:ext cx="2307396" cy="1916003"/>
            </a:xfrm>
            <a:custGeom>
              <a:avLst/>
              <a:gdLst>
                <a:gd name="connsiteX0" fmla="*/ 2307395 w 2307395"/>
                <a:gd name="connsiteY0" fmla="*/ 666076 h 1916004"/>
                <a:gd name="connsiteX1" fmla="*/ 2307395 w 2307395"/>
                <a:gd name="connsiteY1" fmla="*/ 1893159 h 1916004"/>
                <a:gd name="connsiteX2" fmla="*/ 2286094 w 2307395"/>
                <a:gd name="connsiteY2" fmla="*/ 1893159 h 1916004"/>
                <a:gd name="connsiteX3" fmla="*/ 2286094 w 2307395"/>
                <a:gd name="connsiteY3" fmla="*/ 678361 h 1916004"/>
                <a:gd name="connsiteX4" fmla="*/ 1153698 w 2307395"/>
                <a:gd name="connsiteY4" fmla="*/ 24606 h 1916004"/>
                <a:gd name="connsiteX5" fmla="*/ 21301 w 2307395"/>
                <a:gd name="connsiteY5" fmla="*/ 678361 h 1916004"/>
                <a:gd name="connsiteX6" fmla="*/ 21301 w 2307395"/>
                <a:gd name="connsiteY6" fmla="*/ 1916005 h 1916004"/>
                <a:gd name="connsiteX7" fmla="*/ 0 w 2307395"/>
                <a:gd name="connsiteY7" fmla="*/ 1916005 h 1916004"/>
                <a:gd name="connsiteX8" fmla="*/ 0 w 2307395"/>
                <a:gd name="connsiteY8" fmla="*/ 666076 h 1916004"/>
                <a:gd name="connsiteX9" fmla="*/ 1153698 w 2307395"/>
                <a:gd name="connsiteY9" fmla="*/ 0 h 1916004"/>
                <a:gd name="connsiteX10" fmla="*/ 1159014 w 2307395"/>
                <a:gd name="connsiteY10" fmla="*/ 3053 h 1916004"/>
                <a:gd name="connsiteX11" fmla="*/ 2307395 w 2307395"/>
                <a:gd name="connsiteY11" fmla="*/ 666076 h 191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07395" h="1916004">
                  <a:moveTo>
                    <a:pt x="2307395" y="666076"/>
                  </a:moveTo>
                  <a:lnTo>
                    <a:pt x="2307395" y="1893159"/>
                  </a:lnTo>
                  <a:lnTo>
                    <a:pt x="2286094" y="1893159"/>
                  </a:lnTo>
                  <a:lnTo>
                    <a:pt x="2286094" y="678361"/>
                  </a:lnTo>
                  <a:lnTo>
                    <a:pt x="1153698" y="24606"/>
                  </a:lnTo>
                  <a:lnTo>
                    <a:pt x="21301" y="678361"/>
                  </a:lnTo>
                  <a:lnTo>
                    <a:pt x="21301" y="1916005"/>
                  </a:lnTo>
                  <a:lnTo>
                    <a:pt x="0" y="1916005"/>
                  </a:lnTo>
                  <a:lnTo>
                    <a:pt x="0" y="666076"/>
                  </a:lnTo>
                  <a:lnTo>
                    <a:pt x="1153698" y="0"/>
                  </a:lnTo>
                  <a:lnTo>
                    <a:pt x="1159014" y="3053"/>
                  </a:lnTo>
                  <a:lnTo>
                    <a:pt x="2307395" y="666076"/>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2165C39F-C223-6D50-BF3A-00A046A176E6}"/>
                </a:ext>
              </a:extLst>
            </p:cNvPr>
            <p:cNvSpPr/>
            <p:nvPr/>
          </p:nvSpPr>
          <p:spPr>
            <a:xfrm flipH="1">
              <a:off x="11349462" y="3140919"/>
              <a:ext cx="160205" cy="160205"/>
            </a:xfrm>
            <a:custGeom>
              <a:avLst/>
              <a:gdLst>
                <a:gd name="connsiteX0" fmla="*/ 160206 w 160205"/>
                <a:gd name="connsiteY0" fmla="*/ 80103 h 160205"/>
                <a:gd name="connsiteX1" fmla="*/ 80103 w 160205"/>
                <a:gd name="connsiteY1" fmla="*/ 160206 h 160205"/>
                <a:gd name="connsiteX2" fmla="*/ 0 w 160205"/>
                <a:gd name="connsiteY2" fmla="*/ 80103 h 160205"/>
                <a:gd name="connsiteX3" fmla="*/ 80103 w 160205"/>
                <a:gd name="connsiteY3" fmla="*/ 0 h 160205"/>
                <a:gd name="connsiteX4" fmla="*/ 160206 w 160205"/>
                <a:gd name="connsiteY4" fmla="*/ 80103 h 160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205" h="160205">
                  <a:moveTo>
                    <a:pt x="160206" y="80103"/>
                  </a:moveTo>
                  <a:cubicBezTo>
                    <a:pt x="160206" y="124343"/>
                    <a:pt x="124343" y="160206"/>
                    <a:pt x="80103" y="160206"/>
                  </a:cubicBezTo>
                  <a:cubicBezTo>
                    <a:pt x="35863" y="160206"/>
                    <a:pt x="0" y="124342"/>
                    <a:pt x="0" y="80103"/>
                  </a:cubicBezTo>
                  <a:cubicBezTo>
                    <a:pt x="0" y="35863"/>
                    <a:pt x="35863" y="0"/>
                    <a:pt x="80103" y="0"/>
                  </a:cubicBezTo>
                  <a:cubicBezTo>
                    <a:pt x="124343" y="0"/>
                    <a:pt x="160206" y="35863"/>
                    <a:pt x="160206" y="80103"/>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E62512BD-72AE-28AB-290B-BC5FC2B5D946}"/>
                </a:ext>
              </a:extLst>
            </p:cNvPr>
            <p:cNvSpPr/>
            <p:nvPr/>
          </p:nvSpPr>
          <p:spPr>
            <a:xfrm flipH="1">
              <a:off x="9039264" y="3092822"/>
              <a:ext cx="208339" cy="208339"/>
            </a:xfrm>
            <a:custGeom>
              <a:avLst/>
              <a:gdLst>
                <a:gd name="connsiteX0" fmla="*/ -3560 w 208339"/>
                <a:gd name="connsiteY0" fmla="*/ 103924 h 208339"/>
                <a:gd name="connsiteX1" fmla="*/ 100610 w 208339"/>
                <a:gd name="connsiteY1" fmla="*/ 208094 h 208339"/>
                <a:gd name="connsiteX2" fmla="*/ 204779 w 208339"/>
                <a:gd name="connsiteY2" fmla="*/ 103924 h 208339"/>
                <a:gd name="connsiteX3" fmla="*/ 100610 w 208339"/>
                <a:gd name="connsiteY3" fmla="*/ -245 h 208339"/>
                <a:gd name="connsiteX4" fmla="*/ -3560 w 208339"/>
                <a:gd name="connsiteY4" fmla="*/ 103924 h 208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339" h="208339">
                  <a:moveTo>
                    <a:pt x="-3560" y="103924"/>
                  </a:moveTo>
                  <a:cubicBezTo>
                    <a:pt x="-3560" y="161469"/>
                    <a:pt x="43065" y="208094"/>
                    <a:pt x="100610" y="208094"/>
                  </a:cubicBezTo>
                  <a:cubicBezTo>
                    <a:pt x="158154" y="208094"/>
                    <a:pt x="204779" y="161469"/>
                    <a:pt x="204779" y="103924"/>
                  </a:cubicBezTo>
                  <a:cubicBezTo>
                    <a:pt x="204779" y="46379"/>
                    <a:pt x="158154" y="-245"/>
                    <a:pt x="100610" y="-245"/>
                  </a:cubicBezTo>
                  <a:cubicBezTo>
                    <a:pt x="43065" y="-245"/>
                    <a:pt x="-3560" y="46379"/>
                    <a:pt x="-3560" y="103924"/>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5202B65C-EC38-F24C-47E9-40E621C6F537}"/>
                </a:ext>
              </a:extLst>
            </p:cNvPr>
            <p:cNvSpPr/>
            <p:nvPr/>
          </p:nvSpPr>
          <p:spPr>
            <a:xfrm flipH="1">
              <a:off x="7105839" y="4733817"/>
              <a:ext cx="1107575" cy="610830"/>
            </a:xfrm>
            <a:custGeom>
              <a:avLst/>
              <a:gdLst>
                <a:gd name="connsiteX0" fmla="*/ 1107575 w 1107575"/>
                <a:gd name="connsiteY0" fmla="*/ 291855 h 610829"/>
                <a:gd name="connsiteX1" fmla="*/ 555081 w 1107575"/>
                <a:gd name="connsiteY1" fmla="*/ 610830 h 610829"/>
                <a:gd name="connsiteX2" fmla="*/ 0 w 1107575"/>
                <a:gd name="connsiteY2" fmla="*/ 290346 h 610829"/>
                <a:gd name="connsiteX3" fmla="*/ 0 w 1107575"/>
                <a:gd name="connsiteY3" fmla="*/ 0 h 610829"/>
                <a:gd name="connsiteX4" fmla="*/ 10237 w 1107575"/>
                <a:gd name="connsiteY4" fmla="*/ 0 h 610829"/>
                <a:gd name="connsiteX5" fmla="*/ 10237 w 1107575"/>
                <a:gd name="connsiteY5" fmla="*/ 284455 h 610829"/>
                <a:gd name="connsiteX6" fmla="*/ 555081 w 1107575"/>
                <a:gd name="connsiteY6" fmla="*/ 599012 h 610829"/>
                <a:gd name="connsiteX7" fmla="*/ 1102439 w 1107575"/>
                <a:gd name="connsiteY7" fmla="*/ 282947 h 610829"/>
                <a:gd name="connsiteX8" fmla="*/ 1107575 w 1107575"/>
                <a:gd name="connsiteY8" fmla="*/ 291855 h 610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575" h="610829">
                  <a:moveTo>
                    <a:pt x="1107575" y="291855"/>
                  </a:moveTo>
                  <a:lnTo>
                    <a:pt x="555081" y="610830"/>
                  </a:lnTo>
                  <a:lnTo>
                    <a:pt x="0" y="290346"/>
                  </a:lnTo>
                  <a:lnTo>
                    <a:pt x="0" y="0"/>
                  </a:lnTo>
                  <a:lnTo>
                    <a:pt x="10237" y="0"/>
                  </a:lnTo>
                  <a:lnTo>
                    <a:pt x="10237" y="284455"/>
                  </a:lnTo>
                  <a:lnTo>
                    <a:pt x="555081" y="599012"/>
                  </a:lnTo>
                  <a:lnTo>
                    <a:pt x="1102439" y="282947"/>
                  </a:lnTo>
                  <a:lnTo>
                    <a:pt x="1107575" y="291855"/>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6279F105-402D-22D0-3225-F65085E8A594}"/>
                </a:ext>
              </a:extLst>
            </p:cNvPr>
            <p:cNvSpPr/>
            <p:nvPr/>
          </p:nvSpPr>
          <p:spPr>
            <a:xfrm flipH="1">
              <a:off x="9770068" y="3449046"/>
              <a:ext cx="557632" cy="1105097"/>
            </a:xfrm>
            <a:custGeom>
              <a:avLst/>
              <a:gdLst>
                <a:gd name="connsiteX0" fmla="*/ 557631 w 557631"/>
                <a:gd name="connsiteY0" fmla="*/ 8873 h 1105097"/>
                <a:gd name="connsiteX1" fmla="*/ 10237 w 557631"/>
                <a:gd name="connsiteY1" fmla="*/ 324902 h 1105097"/>
                <a:gd name="connsiteX2" fmla="*/ 10237 w 557631"/>
                <a:gd name="connsiteY2" fmla="*/ 954015 h 1105097"/>
                <a:gd name="connsiteX3" fmla="*/ 256581 w 557631"/>
                <a:gd name="connsiteY3" fmla="*/ 1096225 h 1105097"/>
                <a:gd name="connsiteX4" fmla="*/ 251444 w 557631"/>
                <a:gd name="connsiteY4" fmla="*/ 1105097 h 1105097"/>
                <a:gd name="connsiteX5" fmla="*/ 0 w 557631"/>
                <a:gd name="connsiteY5" fmla="*/ 959906 h 1105097"/>
                <a:gd name="connsiteX6" fmla="*/ 0 w 557631"/>
                <a:gd name="connsiteY6" fmla="*/ 318975 h 1105097"/>
                <a:gd name="connsiteX7" fmla="*/ 552495 w 557631"/>
                <a:gd name="connsiteY7" fmla="*/ 0 h 1105097"/>
                <a:gd name="connsiteX8" fmla="*/ 557631 w 557631"/>
                <a:gd name="connsiteY8" fmla="*/ 8873 h 110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31" h="1105097">
                  <a:moveTo>
                    <a:pt x="557631" y="8873"/>
                  </a:moveTo>
                  <a:lnTo>
                    <a:pt x="10237" y="324902"/>
                  </a:lnTo>
                  <a:lnTo>
                    <a:pt x="10237" y="954015"/>
                  </a:lnTo>
                  <a:lnTo>
                    <a:pt x="256581" y="1096225"/>
                  </a:lnTo>
                  <a:lnTo>
                    <a:pt x="251444" y="1105097"/>
                  </a:lnTo>
                  <a:lnTo>
                    <a:pt x="0" y="959906"/>
                  </a:lnTo>
                  <a:lnTo>
                    <a:pt x="0" y="318975"/>
                  </a:lnTo>
                  <a:lnTo>
                    <a:pt x="552495" y="0"/>
                  </a:lnTo>
                  <a:lnTo>
                    <a:pt x="557631" y="8873"/>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Shape 26">
              <a:extLst>
                <a:ext uri="{FF2B5EF4-FFF2-40B4-BE49-F238E27FC236}">
                  <a16:creationId xmlns:a16="http://schemas.microsoft.com/office/drawing/2014/main" id="{6E442A0B-2FAD-6444-470C-6659C738745D}"/>
                </a:ext>
              </a:extLst>
            </p:cNvPr>
            <p:cNvSpPr/>
            <p:nvPr/>
          </p:nvSpPr>
          <p:spPr>
            <a:xfrm rot="3599999" flipH="1">
              <a:off x="9918361" y="4462458"/>
              <a:ext cx="10236" cy="347604"/>
            </a:xfrm>
            <a:custGeom>
              <a:avLst/>
              <a:gdLst>
                <a:gd name="connsiteX0" fmla="*/ -3560 w 10237"/>
                <a:gd name="connsiteY0" fmla="*/ -245 h 347603"/>
                <a:gd name="connsiteX1" fmla="*/ 6678 w 10237"/>
                <a:gd name="connsiteY1" fmla="*/ -245 h 347603"/>
                <a:gd name="connsiteX2" fmla="*/ 6678 w 10237"/>
                <a:gd name="connsiteY2" fmla="*/ 347358 h 347603"/>
                <a:gd name="connsiteX3" fmla="*/ -3560 w 10237"/>
                <a:gd name="connsiteY3" fmla="*/ 347358 h 347603"/>
              </a:gdLst>
              <a:ahLst/>
              <a:cxnLst>
                <a:cxn ang="0">
                  <a:pos x="connsiteX0" y="connsiteY0"/>
                </a:cxn>
                <a:cxn ang="0">
                  <a:pos x="connsiteX1" y="connsiteY1"/>
                </a:cxn>
                <a:cxn ang="0">
                  <a:pos x="connsiteX2" y="connsiteY2"/>
                </a:cxn>
                <a:cxn ang="0">
                  <a:pos x="connsiteX3" y="connsiteY3"/>
                </a:cxn>
              </a:cxnLst>
              <a:rect l="l" t="t" r="r" b="b"/>
              <a:pathLst>
                <a:path w="10237" h="347603">
                  <a:moveTo>
                    <a:pt x="-3560" y="-245"/>
                  </a:moveTo>
                  <a:lnTo>
                    <a:pt x="6678" y="-245"/>
                  </a:lnTo>
                  <a:lnTo>
                    <a:pt x="6678" y="347358"/>
                  </a:lnTo>
                  <a:lnTo>
                    <a:pt x="-3560" y="347358"/>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63E1B2E7-E56B-44C7-3C7B-090A1E4D5182}"/>
                </a:ext>
              </a:extLst>
            </p:cNvPr>
            <p:cNvSpPr/>
            <p:nvPr/>
          </p:nvSpPr>
          <p:spPr>
            <a:xfrm flipH="1">
              <a:off x="11252979" y="1711961"/>
              <a:ext cx="1739239" cy="1472457"/>
            </a:xfrm>
            <a:custGeom>
              <a:avLst/>
              <a:gdLst>
                <a:gd name="connsiteX0" fmla="*/ 1739239 w 1739239"/>
                <a:gd name="connsiteY0" fmla="*/ 486078 h 1472457"/>
                <a:gd name="connsiteX1" fmla="*/ 1730978 w 1739239"/>
                <a:gd name="connsiteY1" fmla="*/ 500410 h 1472457"/>
                <a:gd name="connsiteX2" fmla="*/ 897332 w 1739239"/>
                <a:gd name="connsiteY2" fmla="*/ 19110 h 1472457"/>
                <a:gd name="connsiteX3" fmla="*/ 16595 w 1739239"/>
                <a:gd name="connsiteY3" fmla="*/ 527638 h 1472457"/>
                <a:gd name="connsiteX4" fmla="*/ 16595 w 1739239"/>
                <a:gd name="connsiteY4" fmla="*/ 1472457 h 1472457"/>
                <a:gd name="connsiteX5" fmla="*/ 0 w 1739239"/>
                <a:gd name="connsiteY5" fmla="*/ 1472457 h 1472457"/>
                <a:gd name="connsiteX6" fmla="*/ 0 w 1739239"/>
                <a:gd name="connsiteY6" fmla="*/ 518047 h 1472457"/>
                <a:gd name="connsiteX7" fmla="*/ 897332 w 1739239"/>
                <a:gd name="connsiteY7" fmla="*/ 0 h 1472457"/>
                <a:gd name="connsiteX8" fmla="*/ 901463 w 1739239"/>
                <a:gd name="connsiteY8" fmla="*/ 2371 h 1472457"/>
                <a:gd name="connsiteX9" fmla="*/ 1739239 w 1739239"/>
                <a:gd name="connsiteY9" fmla="*/ 486078 h 147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239" h="1472457">
                  <a:moveTo>
                    <a:pt x="1739239" y="486078"/>
                  </a:moveTo>
                  <a:lnTo>
                    <a:pt x="1730978" y="500410"/>
                  </a:lnTo>
                  <a:lnTo>
                    <a:pt x="897332" y="19110"/>
                  </a:lnTo>
                  <a:lnTo>
                    <a:pt x="16595" y="527638"/>
                  </a:lnTo>
                  <a:lnTo>
                    <a:pt x="16595" y="1472457"/>
                  </a:lnTo>
                  <a:lnTo>
                    <a:pt x="0" y="1472457"/>
                  </a:lnTo>
                  <a:lnTo>
                    <a:pt x="0" y="518047"/>
                  </a:lnTo>
                  <a:lnTo>
                    <a:pt x="897332" y="0"/>
                  </a:lnTo>
                  <a:lnTo>
                    <a:pt x="901463" y="2371"/>
                  </a:lnTo>
                  <a:lnTo>
                    <a:pt x="1739239" y="486078"/>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02E832ED-F8BB-2ED1-6D8F-E6F039583B4C}"/>
                </a:ext>
              </a:extLst>
            </p:cNvPr>
            <p:cNvSpPr/>
            <p:nvPr/>
          </p:nvSpPr>
          <p:spPr>
            <a:xfrm flipH="1">
              <a:off x="12902955" y="3099395"/>
              <a:ext cx="162002" cy="162002"/>
            </a:xfrm>
            <a:custGeom>
              <a:avLst/>
              <a:gdLst>
                <a:gd name="connsiteX0" fmla="*/ 158442 w 162002"/>
                <a:gd name="connsiteY0" fmla="*/ 80720 h 162002"/>
                <a:gd name="connsiteX1" fmla="*/ 77477 w 162002"/>
                <a:gd name="connsiteY1" fmla="*/ 161757 h 162002"/>
                <a:gd name="connsiteX2" fmla="*/ -3560 w 162002"/>
                <a:gd name="connsiteY2" fmla="*/ 80792 h 162002"/>
                <a:gd name="connsiteX3" fmla="*/ 77405 w 162002"/>
                <a:gd name="connsiteY3" fmla="*/ -245 h 162002"/>
                <a:gd name="connsiteX4" fmla="*/ 77441 w 162002"/>
                <a:gd name="connsiteY4" fmla="*/ -245 h 162002"/>
                <a:gd name="connsiteX5" fmla="*/ 158442 w 162002"/>
                <a:gd name="connsiteY5" fmla="*/ 80720 h 16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002" h="162002">
                  <a:moveTo>
                    <a:pt x="158442" y="80720"/>
                  </a:moveTo>
                  <a:cubicBezTo>
                    <a:pt x="158478" y="125441"/>
                    <a:pt x="122198" y="161721"/>
                    <a:pt x="77477" y="161757"/>
                  </a:cubicBezTo>
                  <a:cubicBezTo>
                    <a:pt x="32756" y="161792"/>
                    <a:pt x="-3524" y="125513"/>
                    <a:pt x="-3560" y="80792"/>
                  </a:cubicBezTo>
                  <a:cubicBezTo>
                    <a:pt x="-3596" y="36070"/>
                    <a:pt x="32684" y="-209"/>
                    <a:pt x="77405" y="-245"/>
                  </a:cubicBezTo>
                  <a:cubicBezTo>
                    <a:pt x="77405" y="-245"/>
                    <a:pt x="77441" y="-245"/>
                    <a:pt x="77441" y="-245"/>
                  </a:cubicBezTo>
                  <a:cubicBezTo>
                    <a:pt x="122162" y="-209"/>
                    <a:pt x="158406" y="35999"/>
                    <a:pt x="158442" y="80720"/>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8B151D2F-E628-1EB4-ADE6-9D7937A7F4A3}"/>
                </a:ext>
              </a:extLst>
            </p:cNvPr>
            <p:cNvSpPr/>
            <p:nvPr/>
          </p:nvSpPr>
          <p:spPr>
            <a:xfrm flipH="1">
              <a:off x="11197466" y="2141374"/>
              <a:ext cx="124687" cy="124664"/>
            </a:xfrm>
            <a:custGeom>
              <a:avLst/>
              <a:gdLst>
                <a:gd name="connsiteX0" fmla="*/ 27610 w 124687"/>
                <a:gd name="connsiteY0" fmla="*/ 116049 h 124664"/>
                <a:gd name="connsiteX1" fmla="*/ 112742 w 124687"/>
                <a:gd name="connsiteY1" fmla="*/ 93264 h 124664"/>
                <a:gd name="connsiteX2" fmla="*/ 89969 w 124687"/>
                <a:gd name="connsiteY2" fmla="*/ 8125 h 124664"/>
                <a:gd name="connsiteX3" fmla="*/ 4836 w 124687"/>
                <a:gd name="connsiteY3" fmla="*/ 30906 h 124664"/>
                <a:gd name="connsiteX4" fmla="*/ 4801 w 124687"/>
                <a:gd name="connsiteY4" fmla="*/ 30953 h 124664"/>
                <a:gd name="connsiteX5" fmla="*/ 27575 w 124687"/>
                <a:gd name="connsiteY5" fmla="*/ 116038 h 124664"/>
                <a:gd name="connsiteX6" fmla="*/ 27610 w 124687"/>
                <a:gd name="connsiteY6" fmla="*/ 116049 h 12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687" h="124664">
                  <a:moveTo>
                    <a:pt x="27610" y="116049"/>
                  </a:moveTo>
                  <a:cubicBezTo>
                    <a:pt x="57425" y="133269"/>
                    <a:pt x="95536" y="123067"/>
                    <a:pt x="112742" y="93264"/>
                  </a:cubicBezTo>
                  <a:cubicBezTo>
                    <a:pt x="129983" y="63461"/>
                    <a:pt x="119782" y="25342"/>
                    <a:pt x="89969" y="8125"/>
                  </a:cubicBezTo>
                  <a:cubicBezTo>
                    <a:pt x="60154" y="-9095"/>
                    <a:pt x="22043" y="1106"/>
                    <a:pt x="4836" y="30906"/>
                  </a:cubicBezTo>
                  <a:cubicBezTo>
                    <a:pt x="4801" y="30924"/>
                    <a:pt x="4801" y="30938"/>
                    <a:pt x="4801" y="30953"/>
                  </a:cubicBezTo>
                  <a:cubicBezTo>
                    <a:pt x="-12405" y="60742"/>
                    <a:pt x="-2204" y="98835"/>
                    <a:pt x="27575" y="116038"/>
                  </a:cubicBezTo>
                  <a:cubicBezTo>
                    <a:pt x="27610" y="116041"/>
                    <a:pt x="27610" y="116045"/>
                    <a:pt x="27610" y="116049"/>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81F3A12A-DFD4-2E16-C9FA-A295B0A44D81}"/>
                </a:ext>
              </a:extLst>
            </p:cNvPr>
            <p:cNvSpPr/>
            <p:nvPr/>
          </p:nvSpPr>
          <p:spPr>
            <a:xfrm flipH="1">
              <a:off x="11007928" y="2308173"/>
              <a:ext cx="1225036" cy="368293"/>
            </a:xfrm>
            <a:custGeom>
              <a:avLst/>
              <a:gdLst>
                <a:gd name="connsiteX0" fmla="*/ 1225036 w 1225036"/>
                <a:gd name="connsiteY0" fmla="*/ 10345 h 368293"/>
                <a:gd name="connsiteX1" fmla="*/ 605118 w 1225036"/>
                <a:gd name="connsiteY1" fmla="*/ 368294 h 368293"/>
                <a:gd name="connsiteX2" fmla="*/ 0 w 1225036"/>
                <a:gd name="connsiteY2" fmla="*/ 18930 h 368293"/>
                <a:gd name="connsiteX3" fmla="*/ 5963 w 1225036"/>
                <a:gd name="connsiteY3" fmla="*/ 8549 h 368293"/>
                <a:gd name="connsiteX4" fmla="*/ 605118 w 1225036"/>
                <a:gd name="connsiteY4" fmla="*/ 354464 h 368293"/>
                <a:gd name="connsiteX5" fmla="*/ 1219073 w 1225036"/>
                <a:gd name="connsiteY5" fmla="*/ 0 h 368293"/>
                <a:gd name="connsiteX6" fmla="*/ 1225036 w 1225036"/>
                <a:gd name="connsiteY6" fmla="*/ 10345 h 368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5036" h="368293">
                  <a:moveTo>
                    <a:pt x="1225036" y="10345"/>
                  </a:moveTo>
                  <a:lnTo>
                    <a:pt x="605118" y="368294"/>
                  </a:lnTo>
                  <a:lnTo>
                    <a:pt x="0" y="18930"/>
                  </a:lnTo>
                  <a:lnTo>
                    <a:pt x="5963" y="8549"/>
                  </a:lnTo>
                  <a:lnTo>
                    <a:pt x="605118" y="354464"/>
                  </a:lnTo>
                  <a:lnTo>
                    <a:pt x="1219073" y="0"/>
                  </a:lnTo>
                  <a:lnTo>
                    <a:pt x="1225036" y="10345"/>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20F6CDA9-6461-4BAE-2117-6BEB1E9FF2AF}"/>
                </a:ext>
              </a:extLst>
            </p:cNvPr>
            <p:cNvSpPr/>
            <p:nvPr/>
          </p:nvSpPr>
          <p:spPr>
            <a:xfrm flipH="1">
              <a:off x="10980615" y="2282585"/>
              <a:ext cx="63097" cy="63085"/>
            </a:xfrm>
            <a:custGeom>
              <a:avLst/>
              <a:gdLst>
                <a:gd name="connsiteX0" fmla="*/ 12249 w 63097"/>
                <a:gd name="connsiteY0" fmla="*/ 3969 h 63085"/>
                <a:gd name="connsiteX1" fmla="*/ 55319 w 63097"/>
                <a:gd name="connsiteY1" fmla="*/ 15553 h 63085"/>
                <a:gd name="connsiteX2" fmla="*/ 43752 w 63097"/>
                <a:gd name="connsiteY2" fmla="*/ 58626 h 63085"/>
                <a:gd name="connsiteX3" fmla="*/ 682 w 63097"/>
                <a:gd name="connsiteY3" fmla="*/ 47074 h 63085"/>
                <a:gd name="connsiteX4" fmla="*/ 12214 w 63097"/>
                <a:gd name="connsiteY4" fmla="*/ 3987 h 63085"/>
                <a:gd name="connsiteX5" fmla="*/ 12249 w 63097"/>
                <a:gd name="connsiteY5" fmla="*/ 3969 h 6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097" h="63085">
                  <a:moveTo>
                    <a:pt x="12249" y="3969"/>
                  </a:moveTo>
                  <a:cubicBezTo>
                    <a:pt x="27337" y="-4724"/>
                    <a:pt x="46625" y="463"/>
                    <a:pt x="55319" y="15553"/>
                  </a:cubicBezTo>
                  <a:cubicBezTo>
                    <a:pt x="64012" y="30647"/>
                    <a:pt x="58839" y="49933"/>
                    <a:pt x="43752" y="58626"/>
                  </a:cubicBezTo>
                  <a:cubicBezTo>
                    <a:pt x="28665" y="67311"/>
                    <a:pt x="9377" y="62142"/>
                    <a:pt x="682" y="47074"/>
                  </a:cubicBezTo>
                  <a:cubicBezTo>
                    <a:pt x="-8045" y="31991"/>
                    <a:pt x="-2873" y="12701"/>
                    <a:pt x="12214" y="3987"/>
                  </a:cubicBezTo>
                  <a:cubicBezTo>
                    <a:pt x="12214" y="3983"/>
                    <a:pt x="12249" y="3976"/>
                    <a:pt x="12249" y="3969"/>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10DD1C8D-2060-6343-B92E-ABBB73F3E290}"/>
                </a:ext>
              </a:extLst>
            </p:cNvPr>
            <p:cNvSpPr/>
            <p:nvPr/>
          </p:nvSpPr>
          <p:spPr>
            <a:xfrm flipH="1">
              <a:off x="12178423" y="2273508"/>
              <a:ext cx="99085" cy="99085"/>
            </a:xfrm>
            <a:custGeom>
              <a:avLst/>
              <a:gdLst>
                <a:gd name="connsiteX0" fmla="*/ 70871 w 99085"/>
                <a:gd name="connsiteY0" fmla="*/ 6471 h 99085"/>
                <a:gd name="connsiteX1" fmla="*/ 3160 w 99085"/>
                <a:gd name="connsiteY1" fmla="*/ 24406 h 99085"/>
                <a:gd name="connsiteX2" fmla="*/ 21084 w 99085"/>
                <a:gd name="connsiteY2" fmla="*/ 92124 h 99085"/>
                <a:gd name="connsiteX3" fmla="*/ 88795 w 99085"/>
                <a:gd name="connsiteY3" fmla="*/ 74189 h 99085"/>
                <a:gd name="connsiteX4" fmla="*/ 88831 w 99085"/>
                <a:gd name="connsiteY4" fmla="*/ 74145 h 99085"/>
                <a:gd name="connsiteX5" fmla="*/ 70871 w 99085"/>
                <a:gd name="connsiteY5" fmla="*/ 6471 h 9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85" h="99085">
                  <a:moveTo>
                    <a:pt x="70871" y="6471"/>
                  </a:moveTo>
                  <a:cubicBezTo>
                    <a:pt x="47235" y="-7276"/>
                    <a:pt x="16918" y="752"/>
                    <a:pt x="3160" y="24406"/>
                  </a:cubicBezTo>
                  <a:cubicBezTo>
                    <a:pt x="-10598" y="48060"/>
                    <a:pt x="-2552" y="78377"/>
                    <a:pt x="21084" y="92124"/>
                  </a:cubicBezTo>
                  <a:cubicBezTo>
                    <a:pt x="44756" y="105871"/>
                    <a:pt x="75073" y="97842"/>
                    <a:pt x="88795" y="74189"/>
                  </a:cubicBezTo>
                  <a:cubicBezTo>
                    <a:pt x="88831" y="74174"/>
                    <a:pt x="88831" y="74160"/>
                    <a:pt x="88831" y="74145"/>
                  </a:cubicBezTo>
                  <a:cubicBezTo>
                    <a:pt x="102552" y="50495"/>
                    <a:pt x="94506" y="20207"/>
                    <a:pt x="70871" y="6471"/>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4AF73F07-7C35-0E33-9019-D97F796E02F6}"/>
                </a:ext>
              </a:extLst>
            </p:cNvPr>
            <p:cNvSpPr/>
            <p:nvPr/>
          </p:nvSpPr>
          <p:spPr>
            <a:xfrm flipH="1">
              <a:off x="7309507" y="3295665"/>
              <a:ext cx="993852" cy="841404"/>
            </a:xfrm>
            <a:custGeom>
              <a:avLst/>
              <a:gdLst>
                <a:gd name="connsiteX0" fmla="*/ 993851 w 993851"/>
                <a:gd name="connsiteY0" fmla="*/ 277774 h 841404"/>
                <a:gd name="connsiteX1" fmla="*/ 989109 w 993851"/>
                <a:gd name="connsiteY1" fmla="*/ 285964 h 841404"/>
                <a:gd name="connsiteX2" fmla="*/ 512731 w 993851"/>
                <a:gd name="connsiteY2" fmla="*/ 10956 h 841404"/>
                <a:gd name="connsiteX3" fmla="*/ 9447 w 993851"/>
                <a:gd name="connsiteY3" fmla="*/ 301517 h 841404"/>
                <a:gd name="connsiteX4" fmla="*/ 9447 w 993851"/>
                <a:gd name="connsiteY4" fmla="*/ 841404 h 841404"/>
                <a:gd name="connsiteX5" fmla="*/ 0 w 993851"/>
                <a:gd name="connsiteY5" fmla="*/ 841404 h 841404"/>
                <a:gd name="connsiteX6" fmla="*/ 0 w 993851"/>
                <a:gd name="connsiteY6" fmla="*/ 296058 h 841404"/>
                <a:gd name="connsiteX7" fmla="*/ 512731 w 993851"/>
                <a:gd name="connsiteY7" fmla="*/ 0 h 841404"/>
                <a:gd name="connsiteX8" fmla="*/ 993851 w 993851"/>
                <a:gd name="connsiteY8" fmla="*/ 277774 h 841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851" h="841404">
                  <a:moveTo>
                    <a:pt x="993851" y="277774"/>
                  </a:moveTo>
                  <a:lnTo>
                    <a:pt x="989109" y="285964"/>
                  </a:lnTo>
                  <a:lnTo>
                    <a:pt x="512731" y="10956"/>
                  </a:lnTo>
                  <a:lnTo>
                    <a:pt x="9447" y="301517"/>
                  </a:lnTo>
                  <a:lnTo>
                    <a:pt x="9447" y="841404"/>
                  </a:lnTo>
                  <a:lnTo>
                    <a:pt x="0" y="841404"/>
                  </a:lnTo>
                  <a:lnTo>
                    <a:pt x="0" y="296058"/>
                  </a:lnTo>
                  <a:lnTo>
                    <a:pt x="512731" y="0"/>
                  </a:lnTo>
                  <a:lnTo>
                    <a:pt x="993851" y="277774"/>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5" name="Freeform: Shape 34">
              <a:extLst>
                <a:ext uri="{FF2B5EF4-FFF2-40B4-BE49-F238E27FC236}">
                  <a16:creationId xmlns:a16="http://schemas.microsoft.com/office/drawing/2014/main" id="{358DBE9A-B7E8-8FF7-20E2-5FD40107C191}"/>
                </a:ext>
              </a:extLst>
            </p:cNvPr>
            <p:cNvSpPr/>
            <p:nvPr/>
          </p:nvSpPr>
          <p:spPr>
            <a:xfrm flipH="1">
              <a:off x="8252389" y="4088470"/>
              <a:ext cx="92531" cy="92531"/>
            </a:xfrm>
            <a:custGeom>
              <a:avLst/>
              <a:gdLst>
                <a:gd name="connsiteX0" fmla="*/ 88972 w 92532"/>
                <a:gd name="connsiteY0" fmla="*/ 46056 h 92531"/>
                <a:gd name="connsiteX1" fmla="*/ 42670 w 92532"/>
                <a:gd name="connsiteY1" fmla="*/ 92286 h 92531"/>
                <a:gd name="connsiteX2" fmla="*/ -3560 w 92532"/>
                <a:gd name="connsiteY2" fmla="*/ 45984 h 92531"/>
                <a:gd name="connsiteX3" fmla="*/ 42705 w 92532"/>
                <a:gd name="connsiteY3" fmla="*/ -245 h 92531"/>
                <a:gd name="connsiteX4" fmla="*/ 88972 w 92532"/>
                <a:gd name="connsiteY4" fmla="*/ 46020 h 92531"/>
                <a:gd name="connsiteX5" fmla="*/ 88972 w 92532"/>
                <a:gd name="connsiteY5" fmla="*/ 46056 h 9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532" h="92531">
                  <a:moveTo>
                    <a:pt x="88972" y="46056"/>
                  </a:moveTo>
                  <a:cubicBezTo>
                    <a:pt x="88935" y="71596"/>
                    <a:pt x="68209" y="92322"/>
                    <a:pt x="42670" y="92286"/>
                  </a:cubicBezTo>
                  <a:cubicBezTo>
                    <a:pt x="17131" y="92250"/>
                    <a:pt x="-3595" y="71524"/>
                    <a:pt x="-3560" y="45984"/>
                  </a:cubicBezTo>
                  <a:cubicBezTo>
                    <a:pt x="-3523" y="20444"/>
                    <a:pt x="17166" y="-245"/>
                    <a:pt x="42705" y="-245"/>
                  </a:cubicBezTo>
                  <a:cubicBezTo>
                    <a:pt x="68246" y="-245"/>
                    <a:pt x="88972" y="20480"/>
                    <a:pt x="88972" y="46020"/>
                  </a:cubicBezTo>
                  <a:cubicBezTo>
                    <a:pt x="88972" y="46020"/>
                    <a:pt x="88972" y="46056"/>
                    <a:pt x="88972" y="46056"/>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763655A3-CB96-8161-6FA1-954D4AA84366}"/>
                </a:ext>
              </a:extLst>
            </p:cNvPr>
            <p:cNvSpPr/>
            <p:nvPr/>
          </p:nvSpPr>
          <p:spPr>
            <a:xfrm flipH="1">
              <a:off x="7277851" y="3541018"/>
              <a:ext cx="71207" cy="71200"/>
            </a:xfrm>
            <a:custGeom>
              <a:avLst/>
              <a:gdLst>
                <a:gd name="connsiteX0" fmla="*/ 14257 w 71207"/>
                <a:gd name="connsiteY0" fmla="*/ 66193 h 71200"/>
                <a:gd name="connsiteX1" fmla="*/ 62894 w 71207"/>
                <a:gd name="connsiteY1" fmla="*/ 53153 h 71200"/>
                <a:gd name="connsiteX2" fmla="*/ 49818 w 71207"/>
                <a:gd name="connsiteY2" fmla="*/ 4517 h 71200"/>
                <a:gd name="connsiteX3" fmla="*/ 1219 w 71207"/>
                <a:gd name="connsiteY3" fmla="*/ 17556 h 71200"/>
                <a:gd name="connsiteX4" fmla="*/ 14257 w 71207"/>
                <a:gd name="connsiteY4" fmla="*/ 66193 h 71200"/>
                <a:gd name="connsiteX5" fmla="*/ 14257 w 71207"/>
                <a:gd name="connsiteY5" fmla="*/ 66193 h 7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207" h="71200">
                  <a:moveTo>
                    <a:pt x="14257" y="66193"/>
                  </a:moveTo>
                  <a:cubicBezTo>
                    <a:pt x="31283" y="75999"/>
                    <a:pt x="53051" y="70180"/>
                    <a:pt x="62894" y="53153"/>
                  </a:cubicBezTo>
                  <a:cubicBezTo>
                    <a:pt x="72700" y="36127"/>
                    <a:pt x="66844" y="14359"/>
                    <a:pt x="49818" y="4517"/>
                  </a:cubicBezTo>
                  <a:cubicBezTo>
                    <a:pt x="32791" y="-5290"/>
                    <a:pt x="11060" y="530"/>
                    <a:pt x="1219" y="17556"/>
                  </a:cubicBezTo>
                  <a:cubicBezTo>
                    <a:pt x="-8624" y="34582"/>
                    <a:pt x="-2770" y="56350"/>
                    <a:pt x="14257" y="66193"/>
                  </a:cubicBezTo>
                  <a:cubicBezTo>
                    <a:pt x="14257" y="66193"/>
                    <a:pt x="14257" y="66193"/>
                    <a:pt x="14257" y="66193"/>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 name="Freeform: Shape 36">
              <a:extLst>
                <a:ext uri="{FF2B5EF4-FFF2-40B4-BE49-F238E27FC236}">
                  <a16:creationId xmlns:a16="http://schemas.microsoft.com/office/drawing/2014/main" id="{D739E670-DB25-3E61-2308-0C1010E51D0B}"/>
                </a:ext>
              </a:extLst>
            </p:cNvPr>
            <p:cNvSpPr/>
            <p:nvPr/>
          </p:nvSpPr>
          <p:spPr>
            <a:xfrm flipH="1">
              <a:off x="7300743" y="4335423"/>
              <a:ext cx="968060" cy="291064"/>
            </a:xfrm>
            <a:custGeom>
              <a:avLst/>
              <a:gdLst>
                <a:gd name="connsiteX0" fmla="*/ 968060 w 968059"/>
                <a:gd name="connsiteY0" fmla="*/ 8226 h 291064"/>
                <a:gd name="connsiteX1" fmla="*/ 478175 w 968059"/>
                <a:gd name="connsiteY1" fmla="*/ 291065 h 291064"/>
                <a:gd name="connsiteX2" fmla="*/ 0 w 968059"/>
                <a:gd name="connsiteY2" fmla="*/ 14979 h 291064"/>
                <a:gd name="connsiteX3" fmla="*/ 4742 w 968059"/>
                <a:gd name="connsiteY3" fmla="*/ 6789 h 291064"/>
                <a:gd name="connsiteX4" fmla="*/ 478175 w 968059"/>
                <a:gd name="connsiteY4" fmla="*/ 280109 h 291064"/>
                <a:gd name="connsiteX5" fmla="*/ 963319 w 968059"/>
                <a:gd name="connsiteY5" fmla="*/ 0 h 291064"/>
                <a:gd name="connsiteX6" fmla="*/ 968060 w 968059"/>
                <a:gd name="connsiteY6" fmla="*/ 8226 h 29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059" h="291064">
                  <a:moveTo>
                    <a:pt x="968060" y="8226"/>
                  </a:moveTo>
                  <a:lnTo>
                    <a:pt x="478175" y="291065"/>
                  </a:lnTo>
                  <a:lnTo>
                    <a:pt x="0" y="14979"/>
                  </a:lnTo>
                  <a:lnTo>
                    <a:pt x="4742" y="6789"/>
                  </a:lnTo>
                  <a:lnTo>
                    <a:pt x="478175" y="280109"/>
                  </a:lnTo>
                  <a:lnTo>
                    <a:pt x="963319" y="0"/>
                  </a:lnTo>
                  <a:lnTo>
                    <a:pt x="968060" y="8226"/>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A29AD396-3F93-64AE-4682-A181C55C627D}"/>
                </a:ext>
              </a:extLst>
            </p:cNvPr>
            <p:cNvSpPr/>
            <p:nvPr/>
          </p:nvSpPr>
          <p:spPr>
            <a:xfrm flipH="1">
              <a:off x="7279253" y="4315227"/>
              <a:ext cx="49877" cy="49878"/>
            </a:xfrm>
            <a:custGeom>
              <a:avLst/>
              <a:gdLst>
                <a:gd name="connsiteX0" fmla="*/ 8914 w 49877"/>
                <a:gd name="connsiteY0" fmla="*/ 3105 h 49877"/>
                <a:gd name="connsiteX1" fmla="*/ 42967 w 49877"/>
                <a:gd name="connsiteY1" fmla="*/ 12229 h 49877"/>
                <a:gd name="connsiteX2" fmla="*/ 33843 w 49877"/>
                <a:gd name="connsiteY2" fmla="*/ 46282 h 49877"/>
                <a:gd name="connsiteX3" fmla="*/ -210 w 49877"/>
                <a:gd name="connsiteY3" fmla="*/ 37158 h 49877"/>
                <a:gd name="connsiteX4" fmla="*/ -210 w 49877"/>
                <a:gd name="connsiteY4" fmla="*/ 37158 h 49877"/>
                <a:gd name="connsiteX5" fmla="*/ 8914 w 49877"/>
                <a:gd name="connsiteY5" fmla="*/ 3105 h 4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77" h="49877">
                  <a:moveTo>
                    <a:pt x="8914" y="3105"/>
                  </a:moveTo>
                  <a:cubicBezTo>
                    <a:pt x="20839" y="-3792"/>
                    <a:pt x="36070" y="303"/>
                    <a:pt x="42967" y="12229"/>
                  </a:cubicBezTo>
                  <a:cubicBezTo>
                    <a:pt x="49863" y="24154"/>
                    <a:pt x="45768" y="39385"/>
                    <a:pt x="33843" y="46282"/>
                  </a:cubicBezTo>
                  <a:cubicBezTo>
                    <a:pt x="21916" y="53179"/>
                    <a:pt x="6687" y="49084"/>
                    <a:pt x="-210" y="37158"/>
                  </a:cubicBezTo>
                  <a:cubicBezTo>
                    <a:pt x="-210" y="37158"/>
                    <a:pt x="-210" y="37158"/>
                    <a:pt x="-210" y="37158"/>
                  </a:cubicBezTo>
                  <a:cubicBezTo>
                    <a:pt x="-7106" y="25232"/>
                    <a:pt x="-3012" y="10002"/>
                    <a:pt x="8914" y="3105"/>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 name="Freeform: Shape 38">
              <a:extLst>
                <a:ext uri="{FF2B5EF4-FFF2-40B4-BE49-F238E27FC236}">
                  <a16:creationId xmlns:a16="http://schemas.microsoft.com/office/drawing/2014/main" id="{52306BC8-649D-F0ED-5416-31F40FEE0B1C}"/>
                </a:ext>
              </a:extLst>
            </p:cNvPr>
            <p:cNvSpPr/>
            <p:nvPr/>
          </p:nvSpPr>
          <p:spPr>
            <a:xfrm flipH="1">
              <a:off x="8225551" y="4308127"/>
              <a:ext cx="78326" cy="78319"/>
            </a:xfrm>
            <a:custGeom>
              <a:avLst/>
              <a:gdLst>
                <a:gd name="connsiteX0" fmla="*/ 55149 w 78325"/>
                <a:gd name="connsiteY0" fmla="*/ 4995 h 78318"/>
                <a:gd name="connsiteX1" fmla="*/ 1663 w 78325"/>
                <a:gd name="connsiteY1" fmla="*/ 19363 h 78318"/>
                <a:gd name="connsiteX2" fmla="*/ 16068 w 78325"/>
                <a:gd name="connsiteY2" fmla="*/ 72849 h 78318"/>
                <a:gd name="connsiteX3" fmla="*/ 69517 w 78325"/>
                <a:gd name="connsiteY3" fmla="*/ 58481 h 78318"/>
                <a:gd name="connsiteX4" fmla="*/ 55149 w 78325"/>
                <a:gd name="connsiteY4" fmla="*/ 4995 h 78318"/>
                <a:gd name="connsiteX5" fmla="*/ 55149 w 78325"/>
                <a:gd name="connsiteY5" fmla="*/ 4995 h 7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325" h="78318">
                  <a:moveTo>
                    <a:pt x="55149" y="4995"/>
                  </a:moveTo>
                  <a:cubicBezTo>
                    <a:pt x="36399" y="-5817"/>
                    <a:pt x="12476" y="648"/>
                    <a:pt x="1663" y="19363"/>
                  </a:cubicBezTo>
                  <a:cubicBezTo>
                    <a:pt x="-9114" y="38113"/>
                    <a:pt x="-2684" y="62037"/>
                    <a:pt x="16068" y="72849"/>
                  </a:cubicBezTo>
                  <a:cubicBezTo>
                    <a:pt x="34782" y="83625"/>
                    <a:pt x="58706" y="77195"/>
                    <a:pt x="69517" y="58481"/>
                  </a:cubicBezTo>
                  <a:cubicBezTo>
                    <a:pt x="80330" y="39766"/>
                    <a:pt x="73900" y="15807"/>
                    <a:pt x="55149" y="4995"/>
                  </a:cubicBezTo>
                  <a:cubicBezTo>
                    <a:pt x="55149" y="4995"/>
                    <a:pt x="55149" y="4995"/>
                    <a:pt x="55149" y="4995"/>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 name="Freeform: Shape 39">
              <a:extLst>
                <a:ext uri="{FF2B5EF4-FFF2-40B4-BE49-F238E27FC236}">
                  <a16:creationId xmlns:a16="http://schemas.microsoft.com/office/drawing/2014/main" id="{B480E0F3-0B68-F59D-15D4-A597A378EE2A}"/>
                </a:ext>
              </a:extLst>
            </p:cNvPr>
            <p:cNvSpPr/>
            <p:nvPr/>
          </p:nvSpPr>
          <p:spPr>
            <a:xfrm flipH="1">
              <a:off x="7162807" y="3677034"/>
              <a:ext cx="9483" cy="508816"/>
            </a:xfrm>
            <a:custGeom>
              <a:avLst/>
              <a:gdLst>
                <a:gd name="connsiteX0" fmla="*/ 0 w 9483"/>
                <a:gd name="connsiteY0" fmla="*/ 0 h 508815"/>
                <a:gd name="connsiteX1" fmla="*/ 9483 w 9483"/>
                <a:gd name="connsiteY1" fmla="*/ 0 h 508815"/>
                <a:gd name="connsiteX2" fmla="*/ 9483 w 9483"/>
                <a:gd name="connsiteY2" fmla="*/ 508815 h 508815"/>
                <a:gd name="connsiteX3" fmla="*/ 0 w 9483"/>
                <a:gd name="connsiteY3" fmla="*/ 508815 h 508815"/>
              </a:gdLst>
              <a:ahLst/>
              <a:cxnLst>
                <a:cxn ang="0">
                  <a:pos x="connsiteX0" y="connsiteY0"/>
                </a:cxn>
                <a:cxn ang="0">
                  <a:pos x="connsiteX1" y="connsiteY1"/>
                </a:cxn>
                <a:cxn ang="0">
                  <a:pos x="connsiteX2" y="connsiteY2"/>
                </a:cxn>
                <a:cxn ang="0">
                  <a:pos x="connsiteX3" y="connsiteY3"/>
                </a:cxn>
              </a:cxnLst>
              <a:rect l="l" t="t" r="r" b="b"/>
              <a:pathLst>
                <a:path w="9483" h="508815">
                  <a:moveTo>
                    <a:pt x="0" y="0"/>
                  </a:moveTo>
                  <a:lnTo>
                    <a:pt x="9483" y="0"/>
                  </a:lnTo>
                  <a:lnTo>
                    <a:pt x="9483" y="508815"/>
                  </a:lnTo>
                  <a:lnTo>
                    <a:pt x="0" y="508815"/>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5CF9665C-01E3-37FD-754A-015704105D30}"/>
                </a:ext>
              </a:extLst>
            </p:cNvPr>
            <p:cNvSpPr/>
            <p:nvPr/>
          </p:nvSpPr>
          <p:spPr>
            <a:xfrm flipH="1">
              <a:off x="7121248" y="3633032"/>
              <a:ext cx="92603" cy="92603"/>
            </a:xfrm>
            <a:custGeom>
              <a:avLst/>
              <a:gdLst>
                <a:gd name="connsiteX0" fmla="*/ -3560 w 92604"/>
                <a:gd name="connsiteY0" fmla="*/ 46056 h 92603"/>
                <a:gd name="connsiteX1" fmla="*/ 42742 w 92604"/>
                <a:gd name="connsiteY1" fmla="*/ -245 h 92603"/>
                <a:gd name="connsiteX2" fmla="*/ 89044 w 92604"/>
                <a:gd name="connsiteY2" fmla="*/ 46056 h 92603"/>
                <a:gd name="connsiteX3" fmla="*/ 42742 w 92604"/>
                <a:gd name="connsiteY3" fmla="*/ 92358 h 92603"/>
                <a:gd name="connsiteX4" fmla="*/ 42707 w 92604"/>
                <a:gd name="connsiteY4" fmla="*/ 92358 h 92603"/>
                <a:gd name="connsiteX5" fmla="*/ -3560 w 92604"/>
                <a:gd name="connsiteY5" fmla="*/ 46092 h 92603"/>
                <a:gd name="connsiteX6" fmla="*/ -3560 w 92604"/>
                <a:gd name="connsiteY6" fmla="*/ 46056 h 9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604" h="92603">
                  <a:moveTo>
                    <a:pt x="-3560" y="46056"/>
                  </a:moveTo>
                  <a:cubicBezTo>
                    <a:pt x="-3560" y="20481"/>
                    <a:pt x="17166" y="-245"/>
                    <a:pt x="42742" y="-245"/>
                  </a:cubicBezTo>
                  <a:cubicBezTo>
                    <a:pt x="68318" y="-245"/>
                    <a:pt x="89044" y="20481"/>
                    <a:pt x="89044" y="46056"/>
                  </a:cubicBezTo>
                  <a:cubicBezTo>
                    <a:pt x="89044" y="71632"/>
                    <a:pt x="68318" y="92358"/>
                    <a:pt x="42742" y="92358"/>
                  </a:cubicBezTo>
                  <a:cubicBezTo>
                    <a:pt x="42742" y="92358"/>
                    <a:pt x="42707" y="92358"/>
                    <a:pt x="42707" y="92358"/>
                  </a:cubicBezTo>
                  <a:cubicBezTo>
                    <a:pt x="17166" y="92358"/>
                    <a:pt x="-3560" y="71632"/>
                    <a:pt x="-3560" y="46092"/>
                  </a:cubicBezTo>
                  <a:cubicBezTo>
                    <a:pt x="-3560" y="46092"/>
                    <a:pt x="-3560" y="46056"/>
                    <a:pt x="-3560" y="46056"/>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0B7A5C68-9E2A-512F-B5BD-DCE401956AD0}"/>
                </a:ext>
              </a:extLst>
            </p:cNvPr>
            <p:cNvSpPr/>
            <p:nvPr/>
          </p:nvSpPr>
          <p:spPr>
            <a:xfrm flipH="1">
              <a:off x="7131990" y="4148493"/>
              <a:ext cx="71193" cy="71193"/>
            </a:xfrm>
            <a:custGeom>
              <a:avLst/>
              <a:gdLst>
                <a:gd name="connsiteX0" fmla="*/ -3560 w 71193"/>
                <a:gd name="connsiteY0" fmla="*/ 35352 h 71194"/>
                <a:gd name="connsiteX1" fmla="*/ 32038 w 71193"/>
                <a:gd name="connsiteY1" fmla="*/ 70949 h 71194"/>
                <a:gd name="connsiteX2" fmla="*/ 67634 w 71193"/>
                <a:gd name="connsiteY2" fmla="*/ 35352 h 71194"/>
                <a:gd name="connsiteX3" fmla="*/ 32038 w 71193"/>
                <a:gd name="connsiteY3" fmla="*/ -245 h 71194"/>
                <a:gd name="connsiteX4" fmla="*/ -3560 w 71193"/>
                <a:gd name="connsiteY4" fmla="*/ 35352 h 71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93" h="71194">
                  <a:moveTo>
                    <a:pt x="-3560" y="35352"/>
                  </a:moveTo>
                  <a:cubicBezTo>
                    <a:pt x="-3560" y="55000"/>
                    <a:pt x="12388" y="70949"/>
                    <a:pt x="32038" y="70949"/>
                  </a:cubicBezTo>
                  <a:cubicBezTo>
                    <a:pt x="51685" y="70949"/>
                    <a:pt x="67634" y="55000"/>
                    <a:pt x="67634" y="35352"/>
                  </a:cubicBezTo>
                  <a:cubicBezTo>
                    <a:pt x="67634" y="15703"/>
                    <a:pt x="51685" y="-245"/>
                    <a:pt x="32038" y="-245"/>
                  </a:cubicBezTo>
                  <a:cubicBezTo>
                    <a:pt x="12388" y="-245"/>
                    <a:pt x="-3560" y="15703"/>
                    <a:pt x="-3560" y="35352"/>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0FBD09EF-0092-34F6-B7E8-65B71631C32C}"/>
                </a:ext>
              </a:extLst>
            </p:cNvPr>
            <p:cNvSpPr/>
            <p:nvPr/>
          </p:nvSpPr>
          <p:spPr>
            <a:xfrm flipH="1">
              <a:off x="7783230" y="1311806"/>
              <a:ext cx="525913" cy="916692"/>
            </a:xfrm>
            <a:custGeom>
              <a:avLst/>
              <a:gdLst>
                <a:gd name="connsiteX0" fmla="*/ 525914 w 525913"/>
                <a:gd name="connsiteY0" fmla="*/ 907821 h 916693"/>
                <a:gd name="connsiteX1" fmla="*/ 520813 w 525913"/>
                <a:gd name="connsiteY1" fmla="*/ 916694 h 916693"/>
                <a:gd name="connsiteX2" fmla="*/ 0 w 525913"/>
                <a:gd name="connsiteY2" fmla="*/ 616002 h 916693"/>
                <a:gd name="connsiteX3" fmla="*/ 0 w 525913"/>
                <a:gd name="connsiteY3" fmla="*/ 0 h 916693"/>
                <a:gd name="connsiteX4" fmla="*/ 10237 w 525913"/>
                <a:gd name="connsiteY4" fmla="*/ 0 h 916693"/>
                <a:gd name="connsiteX5" fmla="*/ 10237 w 525913"/>
                <a:gd name="connsiteY5" fmla="*/ 610111 h 916693"/>
                <a:gd name="connsiteX6" fmla="*/ 525914 w 525913"/>
                <a:gd name="connsiteY6" fmla="*/ 907821 h 91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913" h="916693">
                  <a:moveTo>
                    <a:pt x="525914" y="907821"/>
                  </a:moveTo>
                  <a:lnTo>
                    <a:pt x="520813" y="916694"/>
                  </a:lnTo>
                  <a:lnTo>
                    <a:pt x="0" y="616002"/>
                  </a:lnTo>
                  <a:lnTo>
                    <a:pt x="0" y="0"/>
                  </a:lnTo>
                  <a:lnTo>
                    <a:pt x="10237" y="0"/>
                  </a:lnTo>
                  <a:lnTo>
                    <a:pt x="10237" y="610111"/>
                  </a:lnTo>
                  <a:lnTo>
                    <a:pt x="525914" y="907821"/>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Shape 43">
              <a:extLst>
                <a:ext uri="{FF2B5EF4-FFF2-40B4-BE49-F238E27FC236}">
                  <a16:creationId xmlns:a16="http://schemas.microsoft.com/office/drawing/2014/main" id="{00B170F7-5463-2C9F-AB0B-D3DDDAFF08D0}"/>
                </a:ext>
              </a:extLst>
            </p:cNvPr>
            <p:cNvSpPr/>
            <p:nvPr/>
          </p:nvSpPr>
          <p:spPr>
            <a:xfrm flipH="1">
              <a:off x="7748901" y="2184533"/>
              <a:ext cx="77098" cy="77098"/>
            </a:xfrm>
            <a:custGeom>
              <a:avLst/>
              <a:gdLst>
                <a:gd name="connsiteX0" fmla="*/ 54261 w 77099"/>
                <a:gd name="connsiteY0" fmla="*/ 4927 h 77098"/>
                <a:gd name="connsiteX1" fmla="*/ 68379 w 77099"/>
                <a:gd name="connsiteY1" fmla="*/ 57579 h 77098"/>
                <a:gd name="connsiteX2" fmla="*/ 15718 w 77099"/>
                <a:gd name="connsiteY2" fmla="*/ 71682 h 77098"/>
                <a:gd name="connsiteX3" fmla="*/ 1601 w 77099"/>
                <a:gd name="connsiteY3" fmla="*/ 19044 h 77098"/>
                <a:gd name="connsiteX4" fmla="*/ 54261 w 77099"/>
                <a:gd name="connsiteY4" fmla="*/ 4920 h 77098"/>
                <a:gd name="connsiteX5" fmla="*/ 54261 w 77099"/>
                <a:gd name="connsiteY5" fmla="*/ 4927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9" h="77098">
                  <a:moveTo>
                    <a:pt x="54261" y="4927"/>
                  </a:moveTo>
                  <a:cubicBezTo>
                    <a:pt x="72688" y="15570"/>
                    <a:pt x="79011" y="39145"/>
                    <a:pt x="68379" y="57579"/>
                  </a:cubicBezTo>
                  <a:cubicBezTo>
                    <a:pt x="57709" y="76014"/>
                    <a:pt x="34145" y="82325"/>
                    <a:pt x="15718" y="71682"/>
                  </a:cubicBezTo>
                  <a:cubicBezTo>
                    <a:pt x="-2708" y="61038"/>
                    <a:pt x="-9031" y="37478"/>
                    <a:pt x="1601" y="19044"/>
                  </a:cubicBezTo>
                  <a:cubicBezTo>
                    <a:pt x="12233" y="606"/>
                    <a:pt x="35797" y="-5720"/>
                    <a:pt x="54261" y="4920"/>
                  </a:cubicBezTo>
                  <a:cubicBezTo>
                    <a:pt x="54261" y="4923"/>
                    <a:pt x="54261" y="4923"/>
                    <a:pt x="54261" y="4927"/>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C369E419-C8EC-877C-BC3F-0DDF8CEAB592}"/>
                </a:ext>
              </a:extLst>
            </p:cNvPr>
            <p:cNvSpPr/>
            <p:nvPr/>
          </p:nvSpPr>
          <p:spPr>
            <a:xfrm flipH="1">
              <a:off x="8280909" y="1289823"/>
              <a:ext cx="46267" cy="46265"/>
            </a:xfrm>
            <a:custGeom>
              <a:avLst/>
              <a:gdLst>
                <a:gd name="connsiteX0" fmla="*/ 42707 w 46267"/>
                <a:gd name="connsiteY0" fmla="*/ 22887 h 46265"/>
                <a:gd name="connsiteX1" fmla="*/ 19572 w 46267"/>
                <a:gd name="connsiteY1" fmla="*/ -245 h 46265"/>
                <a:gd name="connsiteX2" fmla="*/ -3560 w 46267"/>
                <a:gd name="connsiteY2" fmla="*/ 22887 h 46265"/>
                <a:gd name="connsiteX3" fmla="*/ 19572 w 46267"/>
                <a:gd name="connsiteY3" fmla="*/ 46020 h 46265"/>
                <a:gd name="connsiteX4" fmla="*/ 42707 w 46267"/>
                <a:gd name="connsiteY4" fmla="*/ 22887 h 4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67" h="46265">
                  <a:moveTo>
                    <a:pt x="42707" y="22887"/>
                  </a:moveTo>
                  <a:cubicBezTo>
                    <a:pt x="42707" y="10110"/>
                    <a:pt x="32360" y="-245"/>
                    <a:pt x="19572" y="-245"/>
                  </a:cubicBezTo>
                  <a:cubicBezTo>
                    <a:pt x="6786" y="-245"/>
                    <a:pt x="-3560" y="10110"/>
                    <a:pt x="-3560" y="22887"/>
                  </a:cubicBezTo>
                  <a:cubicBezTo>
                    <a:pt x="-3560" y="35664"/>
                    <a:pt x="6786" y="46020"/>
                    <a:pt x="19572" y="46020"/>
                  </a:cubicBezTo>
                  <a:cubicBezTo>
                    <a:pt x="32360" y="46020"/>
                    <a:pt x="42707" y="35664"/>
                    <a:pt x="42707" y="22887"/>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6DFE5FEA-2F4F-7033-4032-9641A12F3B9C}"/>
                </a:ext>
              </a:extLst>
            </p:cNvPr>
            <p:cNvSpPr/>
            <p:nvPr/>
          </p:nvSpPr>
          <p:spPr>
            <a:xfrm flipH="1">
              <a:off x="7476971" y="2361443"/>
              <a:ext cx="557667" cy="1120182"/>
            </a:xfrm>
            <a:custGeom>
              <a:avLst/>
              <a:gdLst>
                <a:gd name="connsiteX0" fmla="*/ 557667 w 557667"/>
                <a:gd name="connsiteY0" fmla="*/ 318975 h 1120183"/>
                <a:gd name="connsiteX1" fmla="*/ 557667 w 557667"/>
                <a:gd name="connsiteY1" fmla="*/ 959942 h 1120183"/>
                <a:gd name="connsiteX2" fmla="*/ 280109 w 557667"/>
                <a:gd name="connsiteY2" fmla="*/ 1120184 h 1120183"/>
                <a:gd name="connsiteX3" fmla="*/ 274972 w 557667"/>
                <a:gd name="connsiteY3" fmla="*/ 1111276 h 1120183"/>
                <a:gd name="connsiteX4" fmla="*/ 547394 w 557667"/>
                <a:gd name="connsiteY4" fmla="*/ 954015 h 1120183"/>
                <a:gd name="connsiteX5" fmla="*/ 547394 w 557667"/>
                <a:gd name="connsiteY5" fmla="*/ 324902 h 1120183"/>
                <a:gd name="connsiteX6" fmla="*/ 0 w 557667"/>
                <a:gd name="connsiteY6" fmla="*/ 8872 h 1120183"/>
                <a:gd name="connsiteX7" fmla="*/ 5136 w 557667"/>
                <a:gd name="connsiteY7" fmla="*/ 0 h 1120183"/>
                <a:gd name="connsiteX8" fmla="*/ 557667 w 557667"/>
                <a:gd name="connsiteY8" fmla="*/ 318975 h 112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67" h="1120183">
                  <a:moveTo>
                    <a:pt x="557667" y="318975"/>
                  </a:moveTo>
                  <a:lnTo>
                    <a:pt x="557667" y="959942"/>
                  </a:lnTo>
                  <a:lnTo>
                    <a:pt x="280109" y="1120184"/>
                  </a:lnTo>
                  <a:lnTo>
                    <a:pt x="274972" y="1111276"/>
                  </a:lnTo>
                  <a:lnTo>
                    <a:pt x="547394" y="954015"/>
                  </a:lnTo>
                  <a:lnTo>
                    <a:pt x="547394" y="324902"/>
                  </a:lnTo>
                  <a:lnTo>
                    <a:pt x="0" y="8872"/>
                  </a:lnTo>
                  <a:lnTo>
                    <a:pt x="5136" y="0"/>
                  </a:lnTo>
                  <a:lnTo>
                    <a:pt x="557667" y="318975"/>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EF8A057D-0D5E-FDAB-8831-E1C891FDAD2F}"/>
                </a:ext>
              </a:extLst>
            </p:cNvPr>
            <p:cNvSpPr/>
            <p:nvPr/>
          </p:nvSpPr>
          <p:spPr>
            <a:xfrm flipH="1">
              <a:off x="11192381" y="201824"/>
              <a:ext cx="525948" cy="1236817"/>
            </a:xfrm>
            <a:custGeom>
              <a:avLst/>
              <a:gdLst>
                <a:gd name="connsiteX0" fmla="*/ 525949 w 525949"/>
                <a:gd name="connsiteY0" fmla="*/ 300691 h 1236817"/>
                <a:gd name="connsiteX1" fmla="*/ 525949 w 525949"/>
                <a:gd name="connsiteY1" fmla="*/ 941623 h 1236817"/>
                <a:gd name="connsiteX2" fmla="*/ 14656 w 525949"/>
                <a:gd name="connsiteY2" fmla="*/ 1236818 h 1236817"/>
                <a:gd name="connsiteX3" fmla="*/ 9519 w 525949"/>
                <a:gd name="connsiteY3" fmla="*/ 1227946 h 1236817"/>
                <a:gd name="connsiteX4" fmla="*/ 515676 w 525949"/>
                <a:gd name="connsiteY4" fmla="*/ 935696 h 1236817"/>
                <a:gd name="connsiteX5" fmla="*/ 515676 w 525949"/>
                <a:gd name="connsiteY5" fmla="*/ 306582 h 1236817"/>
                <a:gd name="connsiteX6" fmla="*/ 0 w 525949"/>
                <a:gd name="connsiteY6" fmla="*/ 8872 h 1236817"/>
                <a:gd name="connsiteX7" fmla="*/ 5137 w 525949"/>
                <a:gd name="connsiteY7" fmla="*/ 0 h 1236817"/>
                <a:gd name="connsiteX8" fmla="*/ 525949 w 525949"/>
                <a:gd name="connsiteY8" fmla="*/ 300691 h 123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949" h="1236817">
                  <a:moveTo>
                    <a:pt x="525949" y="300691"/>
                  </a:moveTo>
                  <a:lnTo>
                    <a:pt x="525949" y="941623"/>
                  </a:lnTo>
                  <a:lnTo>
                    <a:pt x="14656" y="1236818"/>
                  </a:lnTo>
                  <a:lnTo>
                    <a:pt x="9519" y="1227946"/>
                  </a:lnTo>
                  <a:lnTo>
                    <a:pt x="515676" y="935696"/>
                  </a:lnTo>
                  <a:lnTo>
                    <a:pt x="515676" y="306582"/>
                  </a:lnTo>
                  <a:lnTo>
                    <a:pt x="0" y="8872"/>
                  </a:lnTo>
                  <a:lnTo>
                    <a:pt x="5137" y="0"/>
                  </a:lnTo>
                  <a:lnTo>
                    <a:pt x="525949" y="300691"/>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Shape 47">
              <a:extLst>
                <a:ext uri="{FF2B5EF4-FFF2-40B4-BE49-F238E27FC236}">
                  <a16:creationId xmlns:a16="http://schemas.microsoft.com/office/drawing/2014/main" id="{77B2E31F-42DB-4572-B144-95FF949757C7}"/>
                </a:ext>
              </a:extLst>
            </p:cNvPr>
            <p:cNvSpPr/>
            <p:nvPr/>
          </p:nvSpPr>
          <p:spPr>
            <a:xfrm flipH="1">
              <a:off x="11675560" y="168656"/>
              <a:ext cx="77098" cy="77098"/>
            </a:xfrm>
            <a:custGeom>
              <a:avLst/>
              <a:gdLst>
                <a:gd name="connsiteX0" fmla="*/ 15719 w 77099"/>
                <a:gd name="connsiteY0" fmla="*/ 71681 h 77098"/>
                <a:gd name="connsiteX1" fmla="*/ 1601 w 77099"/>
                <a:gd name="connsiteY1" fmla="*/ 19028 h 77098"/>
                <a:gd name="connsiteX2" fmla="*/ 54261 w 77099"/>
                <a:gd name="connsiteY2" fmla="*/ 4926 h 77098"/>
                <a:gd name="connsiteX3" fmla="*/ 68378 w 77099"/>
                <a:gd name="connsiteY3" fmla="*/ 57564 h 77098"/>
                <a:gd name="connsiteX4" fmla="*/ 15719 w 77099"/>
                <a:gd name="connsiteY4" fmla="*/ 71688 h 77098"/>
                <a:gd name="connsiteX5" fmla="*/ 15719 w 77099"/>
                <a:gd name="connsiteY5" fmla="*/ 71681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9" h="77098">
                  <a:moveTo>
                    <a:pt x="15719" y="71681"/>
                  </a:moveTo>
                  <a:cubicBezTo>
                    <a:pt x="-2709" y="61038"/>
                    <a:pt x="-9031" y="37463"/>
                    <a:pt x="1601" y="19028"/>
                  </a:cubicBezTo>
                  <a:cubicBezTo>
                    <a:pt x="12269" y="594"/>
                    <a:pt x="35834" y="-5717"/>
                    <a:pt x="54261" y="4926"/>
                  </a:cubicBezTo>
                  <a:cubicBezTo>
                    <a:pt x="72688" y="15569"/>
                    <a:pt x="79010" y="39130"/>
                    <a:pt x="68378" y="57564"/>
                  </a:cubicBezTo>
                  <a:cubicBezTo>
                    <a:pt x="57746" y="76002"/>
                    <a:pt x="34181" y="82328"/>
                    <a:pt x="15719" y="71688"/>
                  </a:cubicBezTo>
                  <a:cubicBezTo>
                    <a:pt x="15719" y="71684"/>
                    <a:pt x="15719" y="71684"/>
                    <a:pt x="15719" y="71681"/>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3F324F82-E8AD-3184-5C94-B485B77013C8}"/>
                </a:ext>
              </a:extLst>
            </p:cNvPr>
            <p:cNvSpPr/>
            <p:nvPr/>
          </p:nvSpPr>
          <p:spPr>
            <a:xfrm rot="3532801" flipH="1">
              <a:off x="11654171" y="1382671"/>
              <a:ext cx="100218" cy="100218"/>
            </a:xfrm>
            <a:custGeom>
              <a:avLst/>
              <a:gdLst>
                <a:gd name="connsiteX0" fmla="*/ 96658 w 100218"/>
                <a:gd name="connsiteY0" fmla="*/ 49864 h 100218"/>
                <a:gd name="connsiteX1" fmla="*/ 46549 w 100218"/>
                <a:gd name="connsiteY1" fmla="*/ 99973 h 100218"/>
                <a:gd name="connsiteX2" fmla="*/ -3560 w 100218"/>
                <a:gd name="connsiteY2" fmla="*/ 49864 h 100218"/>
                <a:gd name="connsiteX3" fmla="*/ 46549 w 100218"/>
                <a:gd name="connsiteY3" fmla="*/ -245 h 100218"/>
                <a:gd name="connsiteX4" fmla="*/ 96658 w 100218"/>
                <a:gd name="connsiteY4" fmla="*/ 49864 h 100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8" h="100218">
                  <a:moveTo>
                    <a:pt x="96658" y="49864"/>
                  </a:moveTo>
                  <a:cubicBezTo>
                    <a:pt x="96658" y="77538"/>
                    <a:pt x="74223" y="99973"/>
                    <a:pt x="46549" y="99973"/>
                  </a:cubicBezTo>
                  <a:cubicBezTo>
                    <a:pt x="18875" y="99973"/>
                    <a:pt x="-3560" y="77539"/>
                    <a:pt x="-3560" y="49864"/>
                  </a:cubicBezTo>
                  <a:cubicBezTo>
                    <a:pt x="-3560" y="22189"/>
                    <a:pt x="18875" y="-245"/>
                    <a:pt x="46549" y="-245"/>
                  </a:cubicBezTo>
                  <a:cubicBezTo>
                    <a:pt x="74223" y="-245"/>
                    <a:pt x="96658" y="22189"/>
                    <a:pt x="96658" y="49864"/>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3E8EDF46-388D-6FAE-F4BC-8322B0A504D7}"/>
                </a:ext>
              </a:extLst>
            </p:cNvPr>
            <p:cNvSpPr/>
            <p:nvPr/>
          </p:nvSpPr>
          <p:spPr>
            <a:xfrm rot="1800001" flipH="1">
              <a:off x="10879968" y="4193776"/>
              <a:ext cx="635039" cy="10236"/>
            </a:xfrm>
            <a:custGeom>
              <a:avLst/>
              <a:gdLst>
                <a:gd name="connsiteX0" fmla="*/ -3561 w 635039"/>
                <a:gd name="connsiteY0" fmla="*/ -245 h 10237"/>
                <a:gd name="connsiteX1" fmla="*/ 631479 w 635039"/>
                <a:gd name="connsiteY1" fmla="*/ -245 h 10237"/>
                <a:gd name="connsiteX2" fmla="*/ 631479 w 635039"/>
                <a:gd name="connsiteY2" fmla="*/ 9992 h 10237"/>
                <a:gd name="connsiteX3" fmla="*/ -3561 w 635039"/>
                <a:gd name="connsiteY3" fmla="*/ 9992 h 10237"/>
              </a:gdLst>
              <a:ahLst/>
              <a:cxnLst>
                <a:cxn ang="0">
                  <a:pos x="connsiteX0" y="connsiteY0"/>
                </a:cxn>
                <a:cxn ang="0">
                  <a:pos x="connsiteX1" y="connsiteY1"/>
                </a:cxn>
                <a:cxn ang="0">
                  <a:pos x="connsiteX2" y="connsiteY2"/>
                </a:cxn>
                <a:cxn ang="0">
                  <a:pos x="connsiteX3" y="connsiteY3"/>
                </a:cxn>
              </a:cxnLst>
              <a:rect l="l" t="t" r="r" b="b"/>
              <a:pathLst>
                <a:path w="635039" h="10237">
                  <a:moveTo>
                    <a:pt x="-3561" y="-245"/>
                  </a:moveTo>
                  <a:lnTo>
                    <a:pt x="631479" y="-245"/>
                  </a:lnTo>
                  <a:lnTo>
                    <a:pt x="631479" y="9992"/>
                  </a:lnTo>
                  <a:lnTo>
                    <a:pt x="-3561" y="9992"/>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1" name="Freeform: Shape 50">
              <a:extLst>
                <a:ext uri="{FF2B5EF4-FFF2-40B4-BE49-F238E27FC236}">
                  <a16:creationId xmlns:a16="http://schemas.microsoft.com/office/drawing/2014/main" id="{86E7DB3E-8CA6-3089-07A1-9E9BDAA3BF23}"/>
                </a:ext>
              </a:extLst>
            </p:cNvPr>
            <p:cNvSpPr/>
            <p:nvPr/>
          </p:nvSpPr>
          <p:spPr>
            <a:xfrm rot="1800001" flipH="1">
              <a:off x="7908062" y="4901723"/>
              <a:ext cx="635039" cy="10236"/>
            </a:xfrm>
            <a:custGeom>
              <a:avLst/>
              <a:gdLst>
                <a:gd name="connsiteX0" fmla="*/ -3560 w 635039"/>
                <a:gd name="connsiteY0" fmla="*/ -246 h 10237"/>
                <a:gd name="connsiteX1" fmla="*/ 631480 w 635039"/>
                <a:gd name="connsiteY1" fmla="*/ -246 h 10237"/>
                <a:gd name="connsiteX2" fmla="*/ 631480 w 635039"/>
                <a:gd name="connsiteY2" fmla="*/ 9992 h 10237"/>
                <a:gd name="connsiteX3" fmla="*/ -3560 w 635039"/>
                <a:gd name="connsiteY3" fmla="*/ 9992 h 10237"/>
              </a:gdLst>
              <a:ahLst/>
              <a:cxnLst>
                <a:cxn ang="0">
                  <a:pos x="connsiteX0" y="connsiteY0"/>
                </a:cxn>
                <a:cxn ang="0">
                  <a:pos x="connsiteX1" y="connsiteY1"/>
                </a:cxn>
                <a:cxn ang="0">
                  <a:pos x="connsiteX2" y="connsiteY2"/>
                </a:cxn>
                <a:cxn ang="0">
                  <a:pos x="connsiteX3" y="connsiteY3"/>
                </a:cxn>
              </a:cxnLst>
              <a:rect l="l" t="t" r="r" b="b"/>
              <a:pathLst>
                <a:path w="635039" h="10237">
                  <a:moveTo>
                    <a:pt x="-3560" y="-246"/>
                  </a:moveTo>
                  <a:lnTo>
                    <a:pt x="631480" y="-246"/>
                  </a:lnTo>
                  <a:lnTo>
                    <a:pt x="631480" y="9992"/>
                  </a:lnTo>
                  <a:lnTo>
                    <a:pt x="-3560" y="9992"/>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786BD15-F1B1-54E3-58CE-CD4D3019C203}"/>
                </a:ext>
              </a:extLst>
            </p:cNvPr>
            <p:cNvSpPr/>
            <p:nvPr/>
          </p:nvSpPr>
          <p:spPr>
            <a:xfrm rot="1800001" flipH="1">
              <a:off x="7307815" y="1312474"/>
              <a:ext cx="569125" cy="10236"/>
            </a:xfrm>
            <a:custGeom>
              <a:avLst/>
              <a:gdLst>
                <a:gd name="connsiteX0" fmla="*/ -3559 w 569125"/>
                <a:gd name="connsiteY0" fmla="*/ -245 h 10237"/>
                <a:gd name="connsiteX1" fmla="*/ 565566 w 569125"/>
                <a:gd name="connsiteY1" fmla="*/ -245 h 10237"/>
                <a:gd name="connsiteX2" fmla="*/ 565566 w 569125"/>
                <a:gd name="connsiteY2" fmla="*/ 9992 h 10237"/>
                <a:gd name="connsiteX3" fmla="*/ -3559 w 569125"/>
                <a:gd name="connsiteY3" fmla="*/ 9992 h 10237"/>
              </a:gdLst>
              <a:ahLst/>
              <a:cxnLst>
                <a:cxn ang="0">
                  <a:pos x="connsiteX0" y="connsiteY0"/>
                </a:cxn>
                <a:cxn ang="0">
                  <a:pos x="connsiteX1" y="connsiteY1"/>
                </a:cxn>
                <a:cxn ang="0">
                  <a:pos x="connsiteX2" y="connsiteY2"/>
                </a:cxn>
                <a:cxn ang="0">
                  <a:pos x="connsiteX3" y="connsiteY3"/>
                </a:cxn>
              </a:cxnLst>
              <a:rect l="l" t="t" r="r" b="b"/>
              <a:pathLst>
                <a:path w="569125" h="10237">
                  <a:moveTo>
                    <a:pt x="-3559" y="-245"/>
                  </a:moveTo>
                  <a:lnTo>
                    <a:pt x="565566" y="-245"/>
                  </a:lnTo>
                  <a:lnTo>
                    <a:pt x="565566" y="9992"/>
                  </a:lnTo>
                  <a:lnTo>
                    <a:pt x="-3559" y="9992"/>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E64AA71D-E169-D2B1-DC98-260C27F39EA4}"/>
                </a:ext>
              </a:extLst>
            </p:cNvPr>
            <p:cNvSpPr/>
            <p:nvPr/>
          </p:nvSpPr>
          <p:spPr>
            <a:xfrm flipH="1">
              <a:off x="7798607" y="1420338"/>
              <a:ext cx="77105" cy="77096"/>
            </a:xfrm>
            <a:custGeom>
              <a:avLst/>
              <a:gdLst>
                <a:gd name="connsiteX0" fmla="*/ 54260 w 77105"/>
                <a:gd name="connsiteY0" fmla="*/ 71689 h 77097"/>
                <a:gd name="connsiteX1" fmla="*/ 1600 w 77105"/>
                <a:gd name="connsiteY1" fmla="*/ 57565 h 77097"/>
                <a:gd name="connsiteX2" fmla="*/ 15753 w 77105"/>
                <a:gd name="connsiteY2" fmla="*/ 4919 h 77097"/>
                <a:gd name="connsiteX3" fmla="*/ 68376 w 77105"/>
                <a:gd name="connsiteY3" fmla="*/ 19029 h 77097"/>
                <a:gd name="connsiteX4" fmla="*/ 54260 w 77105"/>
                <a:gd name="connsiteY4" fmla="*/ 71682 h 77097"/>
                <a:gd name="connsiteX5" fmla="*/ 54260 w 77105"/>
                <a:gd name="connsiteY5" fmla="*/ 71689 h 77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05" h="77097">
                  <a:moveTo>
                    <a:pt x="54260" y="71689"/>
                  </a:moveTo>
                  <a:cubicBezTo>
                    <a:pt x="35832" y="82325"/>
                    <a:pt x="12269" y="76003"/>
                    <a:pt x="1600" y="57565"/>
                  </a:cubicBezTo>
                  <a:cubicBezTo>
                    <a:pt x="-9032" y="39127"/>
                    <a:pt x="-2711" y="15556"/>
                    <a:pt x="15753" y="4919"/>
                  </a:cubicBezTo>
                  <a:cubicBezTo>
                    <a:pt x="34179" y="-5717"/>
                    <a:pt x="57744" y="602"/>
                    <a:pt x="68376" y="19029"/>
                  </a:cubicBezTo>
                  <a:cubicBezTo>
                    <a:pt x="79008" y="37464"/>
                    <a:pt x="72722" y="61035"/>
                    <a:pt x="54260" y="71682"/>
                  </a:cubicBezTo>
                  <a:cubicBezTo>
                    <a:pt x="54260" y="71685"/>
                    <a:pt x="54260" y="71685"/>
                    <a:pt x="54260" y="71689"/>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4" name="Freeform: Shape 53">
              <a:extLst>
                <a:ext uri="{FF2B5EF4-FFF2-40B4-BE49-F238E27FC236}">
                  <a16:creationId xmlns:a16="http://schemas.microsoft.com/office/drawing/2014/main" id="{1201D7AA-63ED-9950-408F-40A74E55C7ED}"/>
                </a:ext>
              </a:extLst>
            </p:cNvPr>
            <p:cNvSpPr/>
            <p:nvPr/>
          </p:nvSpPr>
          <p:spPr>
            <a:xfrm flipH="1">
              <a:off x="7316287" y="1145251"/>
              <a:ext cx="61635" cy="61649"/>
            </a:xfrm>
            <a:custGeom>
              <a:avLst/>
              <a:gdLst>
                <a:gd name="connsiteX0" fmla="*/ 42691 w 61636"/>
                <a:gd name="connsiteY0" fmla="*/ 57255 h 61649"/>
                <a:gd name="connsiteX1" fmla="*/ 53934 w 61636"/>
                <a:gd name="connsiteY1" fmla="*/ 15142 h 61649"/>
                <a:gd name="connsiteX2" fmla="*/ 11836 w 61636"/>
                <a:gd name="connsiteY2" fmla="*/ 3906 h 61649"/>
                <a:gd name="connsiteX3" fmla="*/ 556 w 61636"/>
                <a:gd name="connsiteY3" fmla="*/ 45976 h 61649"/>
                <a:gd name="connsiteX4" fmla="*/ 42656 w 61636"/>
                <a:gd name="connsiteY4" fmla="*/ 57276 h 61649"/>
                <a:gd name="connsiteX5" fmla="*/ 42691 w 61636"/>
                <a:gd name="connsiteY5" fmla="*/ 57255 h 6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36" h="61649">
                  <a:moveTo>
                    <a:pt x="42691" y="57255"/>
                  </a:moveTo>
                  <a:cubicBezTo>
                    <a:pt x="57419" y="48731"/>
                    <a:pt x="62448" y="29876"/>
                    <a:pt x="53934" y="15142"/>
                  </a:cubicBezTo>
                  <a:cubicBezTo>
                    <a:pt x="45420" y="410"/>
                    <a:pt x="26562" y="-4622"/>
                    <a:pt x="11836" y="3906"/>
                  </a:cubicBezTo>
                  <a:cubicBezTo>
                    <a:pt x="-2892" y="12419"/>
                    <a:pt x="-7920" y="31245"/>
                    <a:pt x="556" y="45976"/>
                  </a:cubicBezTo>
                  <a:cubicBezTo>
                    <a:pt x="9070" y="60721"/>
                    <a:pt x="27892" y="65782"/>
                    <a:pt x="42656" y="57276"/>
                  </a:cubicBezTo>
                  <a:cubicBezTo>
                    <a:pt x="42656" y="57269"/>
                    <a:pt x="42691" y="57262"/>
                    <a:pt x="42691" y="57255"/>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AA8E2C37-08B8-CAC4-4A09-4000ECCD00E7}"/>
                </a:ext>
              </a:extLst>
            </p:cNvPr>
            <p:cNvSpPr/>
            <p:nvPr/>
          </p:nvSpPr>
          <p:spPr>
            <a:xfrm flipH="1">
              <a:off x="10978186" y="1002064"/>
              <a:ext cx="525913" cy="916692"/>
            </a:xfrm>
            <a:custGeom>
              <a:avLst/>
              <a:gdLst>
                <a:gd name="connsiteX0" fmla="*/ 525913 w 525913"/>
                <a:gd name="connsiteY0" fmla="*/ 907821 h 916693"/>
                <a:gd name="connsiteX1" fmla="*/ 520813 w 525913"/>
                <a:gd name="connsiteY1" fmla="*/ 916694 h 916693"/>
                <a:gd name="connsiteX2" fmla="*/ 0 w 525913"/>
                <a:gd name="connsiteY2" fmla="*/ 616038 h 916693"/>
                <a:gd name="connsiteX3" fmla="*/ 0 w 525913"/>
                <a:gd name="connsiteY3" fmla="*/ 0 h 916693"/>
                <a:gd name="connsiteX4" fmla="*/ 10273 w 525913"/>
                <a:gd name="connsiteY4" fmla="*/ 0 h 916693"/>
                <a:gd name="connsiteX5" fmla="*/ 10273 w 525913"/>
                <a:gd name="connsiteY5" fmla="*/ 610111 h 916693"/>
                <a:gd name="connsiteX6" fmla="*/ 525913 w 525913"/>
                <a:gd name="connsiteY6" fmla="*/ 907821 h 91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913" h="916693">
                  <a:moveTo>
                    <a:pt x="525913" y="907821"/>
                  </a:moveTo>
                  <a:lnTo>
                    <a:pt x="520813" y="916694"/>
                  </a:lnTo>
                  <a:lnTo>
                    <a:pt x="0" y="616038"/>
                  </a:lnTo>
                  <a:lnTo>
                    <a:pt x="0" y="0"/>
                  </a:lnTo>
                  <a:lnTo>
                    <a:pt x="10273" y="0"/>
                  </a:lnTo>
                  <a:lnTo>
                    <a:pt x="10273" y="610111"/>
                  </a:lnTo>
                  <a:lnTo>
                    <a:pt x="525913" y="907821"/>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F0264545-D0E7-BF0C-E506-121412A52D7E}"/>
                </a:ext>
              </a:extLst>
            </p:cNvPr>
            <p:cNvSpPr/>
            <p:nvPr/>
          </p:nvSpPr>
          <p:spPr>
            <a:xfrm flipH="1">
              <a:off x="10943976" y="1874791"/>
              <a:ext cx="77112" cy="77124"/>
            </a:xfrm>
            <a:custGeom>
              <a:avLst/>
              <a:gdLst>
                <a:gd name="connsiteX0" fmla="*/ 54286 w 77113"/>
                <a:gd name="connsiteY0" fmla="*/ 4962 h 77125"/>
                <a:gd name="connsiteX1" fmla="*/ 68367 w 77113"/>
                <a:gd name="connsiteY1" fmla="*/ 57622 h 77125"/>
                <a:gd name="connsiteX2" fmla="*/ 15706 w 77113"/>
                <a:gd name="connsiteY2" fmla="*/ 71699 h 77125"/>
                <a:gd name="connsiteX3" fmla="*/ 1626 w 77113"/>
                <a:gd name="connsiteY3" fmla="*/ 19043 h 77125"/>
                <a:gd name="connsiteX4" fmla="*/ 54142 w 77113"/>
                <a:gd name="connsiteY4" fmla="*/ 4890 h 77125"/>
                <a:gd name="connsiteX5" fmla="*/ 54286 w 77113"/>
                <a:gd name="connsiteY5" fmla="*/ 4962 h 7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13" h="77125">
                  <a:moveTo>
                    <a:pt x="54286" y="4962"/>
                  </a:moveTo>
                  <a:cubicBezTo>
                    <a:pt x="72713" y="15616"/>
                    <a:pt x="79036" y="39191"/>
                    <a:pt x="68367" y="57622"/>
                  </a:cubicBezTo>
                  <a:cubicBezTo>
                    <a:pt x="57699" y="76049"/>
                    <a:pt x="34135" y="82353"/>
                    <a:pt x="15706" y="71699"/>
                  </a:cubicBezTo>
                  <a:cubicBezTo>
                    <a:pt x="-2720" y="61045"/>
                    <a:pt x="-9042" y="37470"/>
                    <a:pt x="1626" y="19043"/>
                  </a:cubicBezTo>
                  <a:cubicBezTo>
                    <a:pt x="12223" y="626"/>
                    <a:pt x="35750" y="-5710"/>
                    <a:pt x="54142" y="4890"/>
                  </a:cubicBezTo>
                  <a:cubicBezTo>
                    <a:pt x="54214" y="4912"/>
                    <a:pt x="54251" y="4937"/>
                    <a:pt x="54286" y="4962"/>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603951EF-DF63-9E74-A57B-4BBE1EA0F698}"/>
                </a:ext>
              </a:extLst>
            </p:cNvPr>
            <p:cNvSpPr/>
            <p:nvPr/>
          </p:nvSpPr>
          <p:spPr>
            <a:xfrm flipH="1">
              <a:off x="11475865" y="980080"/>
              <a:ext cx="46267" cy="46265"/>
            </a:xfrm>
            <a:custGeom>
              <a:avLst/>
              <a:gdLst>
                <a:gd name="connsiteX0" fmla="*/ 42706 w 46266"/>
                <a:gd name="connsiteY0" fmla="*/ 22887 h 46265"/>
                <a:gd name="connsiteX1" fmla="*/ 19573 w 46266"/>
                <a:gd name="connsiteY1" fmla="*/ -245 h 46265"/>
                <a:gd name="connsiteX2" fmla="*/ -3560 w 46266"/>
                <a:gd name="connsiteY2" fmla="*/ 22887 h 46265"/>
                <a:gd name="connsiteX3" fmla="*/ 19573 w 46266"/>
                <a:gd name="connsiteY3" fmla="*/ 46020 h 46265"/>
                <a:gd name="connsiteX4" fmla="*/ 42706 w 46266"/>
                <a:gd name="connsiteY4" fmla="*/ 22887 h 4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66" h="46265">
                  <a:moveTo>
                    <a:pt x="42706" y="22887"/>
                  </a:moveTo>
                  <a:cubicBezTo>
                    <a:pt x="42706" y="10111"/>
                    <a:pt x="32360" y="-245"/>
                    <a:pt x="19573" y="-245"/>
                  </a:cubicBezTo>
                  <a:cubicBezTo>
                    <a:pt x="6785" y="-245"/>
                    <a:pt x="-3560" y="10111"/>
                    <a:pt x="-3560" y="22887"/>
                  </a:cubicBezTo>
                  <a:cubicBezTo>
                    <a:pt x="-3560" y="35664"/>
                    <a:pt x="6785" y="46020"/>
                    <a:pt x="19573" y="46020"/>
                  </a:cubicBezTo>
                  <a:cubicBezTo>
                    <a:pt x="32360" y="46020"/>
                    <a:pt x="42706" y="35664"/>
                    <a:pt x="42706" y="22887"/>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5636D3B5-CC4A-BF45-50B8-4A098DA18690}"/>
                </a:ext>
              </a:extLst>
            </p:cNvPr>
            <p:cNvSpPr/>
            <p:nvPr/>
          </p:nvSpPr>
          <p:spPr>
            <a:xfrm flipH="1">
              <a:off x="10169326" y="676478"/>
              <a:ext cx="525948" cy="1236818"/>
            </a:xfrm>
            <a:custGeom>
              <a:avLst/>
              <a:gdLst>
                <a:gd name="connsiteX0" fmla="*/ 525949 w 525949"/>
                <a:gd name="connsiteY0" fmla="*/ 300655 h 1236818"/>
                <a:gd name="connsiteX1" fmla="*/ 525949 w 525949"/>
                <a:gd name="connsiteY1" fmla="*/ 941623 h 1236818"/>
                <a:gd name="connsiteX2" fmla="*/ 14656 w 525949"/>
                <a:gd name="connsiteY2" fmla="*/ 1236818 h 1236818"/>
                <a:gd name="connsiteX3" fmla="*/ 9519 w 525949"/>
                <a:gd name="connsiteY3" fmla="*/ 1227910 h 1236818"/>
                <a:gd name="connsiteX4" fmla="*/ 515676 w 525949"/>
                <a:gd name="connsiteY4" fmla="*/ 935696 h 1236818"/>
                <a:gd name="connsiteX5" fmla="*/ 515676 w 525949"/>
                <a:gd name="connsiteY5" fmla="*/ 306582 h 1236818"/>
                <a:gd name="connsiteX6" fmla="*/ 0 w 525949"/>
                <a:gd name="connsiteY6" fmla="*/ 8872 h 1236818"/>
                <a:gd name="connsiteX7" fmla="*/ 5137 w 525949"/>
                <a:gd name="connsiteY7" fmla="*/ 0 h 1236818"/>
                <a:gd name="connsiteX8" fmla="*/ 525949 w 525949"/>
                <a:gd name="connsiteY8" fmla="*/ 300655 h 123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949" h="1236818">
                  <a:moveTo>
                    <a:pt x="525949" y="300655"/>
                  </a:moveTo>
                  <a:lnTo>
                    <a:pt x="525949" y="941623"/>
                  </a:lnTo>
                  <a:lnTo>
                    <a:pt x="14656" y="1236818"/>
                  </a:lnTo>
                  <a:lnTo>
                    <a:pt x="9519" y="1227910"/>
                  </a:lnTo>
                  <a:lnTo>
                    <a:pt x="515676" y="935696"/>
                  </a:lnTo>
                  <a:lnTo>
                    <a:pt x="515676" y="306582"/>
                  </a:lnTo>
                  <a:lnTo>
                    <a:pt x="0" y="8872"/>
                  </a:lnTo>
                  <a:lnTo>
                    <a:pt x="5137" y="0"/>
                  </a:lnTo>
                  <a:lnTo>
                    <a:pt x="525949" y="300655"/>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81729DD0-4DCD-1BA6-308C-33346A176C28}"/>
                </a:ext>
              </a:extLst>
            </p:cNvPr>
            <p:cNvSpPr/>
            <p:nvPr/>
          </p:nvSpPr>
          <p:spPr>
            <a:xfrm flipH="1">
              <a:off x="10652506" y="643311"/>
              <a:ext cx="77098" cy="77098"/>
            </a:xfrm>
            <a:custGeom>
              <a:avLst/>
              <a:gdLst>
                <a:gd name="connsiteX0" fmla="*/ 15719 w 77098"/>
                <a:gd name="connsiteY0" fmla="*/ 71681 h 77098"/>
                <a:gd name="connsiteX1" fmla="*/ 1601 w 77098"/>
                <a:gd name="connsiteY1" fmla="*/ 19028 h 77098"/>
                <a:gd name="connsiteX2" fmla="*/ 54261 w 77098"/>
                <a:gd name="connsiteY2" fmla="*/ 4926 h 77098"/>
                <a:gd name="connsiteX3" fmla="*/ 68377 w 77098"/>
                <a:gd name="connsiteY3" fmla="*/ 57564 h 77098"/>
                <a:gd name="connsiteX4" fmla="*/ 15719 w 77098"/>
                <a:gd name="connsiteY4" fmla="*/ 71688 h 77098"/>
                <a:gd name="connsiteX5" fmla="*/ 15719 w 77098"/>
                <a:gd name="connsiteY5" fmla="*/ 71681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8" h="77098">
                  <a:moveTo>
                    <a:pt x="15719" y="71681"/>
                  </a:moveTo>
                  <a:cubicBezTo>
                    <a:pt x="-2710" y="61038"/>
                    <a:pt x="-9031" y="37463"/>
                    <a:pt x="1601" y="19028"/>
                  </a:cubicBezTo>
                  <a:cubicBezTo>
                    <a:pt x="12271" y="594"/>
                    <a:pt x="35833" y="-5717"/>
                    <a:pt x="54261" y="4926"/>
                  </a:cubicBezTo>
                  <a:cubicBezTo>
                    <a:pt x="72688" y="15569"/>
                    <a:pt x="79010" y="39130"/>
                    <a:pt x="68377" y="57564"/>
                  </a:cubicBezTo>
                  <a:cubicBezTo>
                    <a:pt x="57745" y="76002"/>
                    <a:pt x="34181" y="82328"/>
                    <a:pt x="15719" y="71688"/>
                  </a:cubicBezTo>
                  <a:cubicBezTo>
                    <a:pt x="15719" y="71684"/>
                    <a:pt x="15719" y="71684"/>
                    <a:pt x="15719" y="71681"/>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93C98BDE-E00A-EFB9-553C-0C03206E1AF0}"/>
                </a:ext>
              </a:extLst>
            </p:cNvPr>
            <p:cNvSpPr/>
            <p:nvPr/>
          </p:nvSpPr>
          <p:spPr>
            <a:xfrm flipH="1">
              <a:off x="10630944" y="1857471"/>
              <a:ext cx="100238" cy="100248"/>
            </a:xfrm>
            <a:custGeom>
              <a:avLst/>
              <a:gdLst>
                <a:gd name="connsiteX0" fmla="*/ 21534 w 100237"/>
                <a:gd name="connsiteY0" fmla="*/ 6477 h 100248"/>
                <a:gd name="connsiteX1" fmla="*/ 3144 w 100237"/>
                <a:gd name="connsiteY1" fmla="*/ 74916 h 100248"/>
                <a:gd name="connsiteX2" fmla="*/ 71607 w 100237"/>
                <a:gd name="connsiteY2" fmla="*/ 93293 h 100248"/>
                <a:gd name="connsiteX3" fmla="*/ 89964 w 100237"/>
                <a:gd name="connsiteY3" fmla="*/ 24854 h 100248"/>
                <a:gd name="connsiteX4" fmla="*/ 89964 w 100237"/>
                <a:gd name="connsiteY4" fmla="*/ 24832 h 100248"/>
                <a:gd name="connsiteX5" fmla="*/ 21571 w 100237"/>
                <a:gd name="connsiteY5" fmla="*/ 6452 h 100248"/>
                <a:gd name="connsiteX6" fmla="*/ 21534 w 100237"/>
                <a:gd name="connsiteY6" fmla="*/ 6477 h 100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237" h="100248">
                  <a:moveTo>
                    <a:pt x="21534" y="6477"/>
                  </a:moveTo>
                  <a:cubicBezTo>
                    <a:pt x="-2425" y="20303"/>
                    <a:pt x="-10686" y="50943"/>
                    <a:pt x="3144" y="74916"/>
                  </a:cubicBezTo>
                  <a:cubicBezTo>
                    <a:pt x="16972" y="98893"/>
                    <a:pt x="47613" y="107119"/>
                    <a:pt x="71607" y="93293"/>
                  </a:cubicBezTo>
                  <a:cubicBezTo>
                    <a:pt x="95568" y="79471"/>
                    <a:pt x="103794" y="48827"/>
                    <a:pt x="89964" y="24854"/>
                  </a:cubicBezTo>
                  <a:cubicBezTo>
                    <a:pt x="89964" y="24846"/>
                    <a:pt x="89964" y="24839"/>
                    <a:pt x="89964" y="24832"/>
                  </a:cubicBezTo>
                  <a:cubicBezTo>
                    <a:pt x="76169" y="873"/>
                    <a:pt x="45530" y="-7356"/>
                    <a:pt x="21571" y="6452"/>
                  </a:cubicBezTo>
                  <a:cubicBezTo>
                    <a:pt x="21571" y="6462"/>
                    <a:pt x="21534" y="6470"/>
                    <a:pt x="21534" y="6477"/>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E689557E-36AB-CA10-12A8-09E847360468}"/>
                </a:ext>
              </a:extLst>
            </p:cNvPr>
            <p:cNvSpPr/>
            <p:nvPr/>
          </p:nvSpPr>
          <p:spPr>
            <a:xfrm rot="1800001" flipH="1">
              <a:off x="10836207" y="717950"/>
              <a:ext cx="569125" cy="10236"/>
            </a:xfrm>
            <a:custGeom>
              <a:avLst/>
              <a:gdLst>
                <a:gd name="connsiteX0" fmla="*/ -3560 w 569125"/>
                <a:gd name="connsiteY0" fmla="*/ -245 h 10237"/>
                <a:gd name="connsiteX1" fmla="*/ 565566 w 569125"/>
                <a:gd name="connsiteY1" fmla="*/ -245 h 10237"/>
                <a:gd name="connsiteX2" fmla="*/ 565566 w 569125"/>
                <a:gd name="connsiteY2" fmla="*/ 9992 h 10237"/>
                <a:gd name="connsiteX3" fmla="*/ -3560 w 569125"/>
                <a:gd name="connsiteY3" fmla="*/ 9992 h 10237"/>
              </a:gdLst>
              <a:ahLst/>
              <a:cxnLst>
                <a:cxn ang="0">
                  <a:pos x="connsiteX0" y="connsiteY0"/>
                </a:cxn>
                <a:cxn ang="0">
                  <a:pos x="connsiteX1" y="connsiteY1"/>
                </a:cxn>
                <a:cxn ang="0">
                  <a:pos x="connsiteX2" y="connsiteY2"/>
                </a:cxn>
                <a:cxn ang="0">
                  <a:pos x="connsiteX3" y="connsiteY3"/>
                </a:cxn>
              </a:cxnLst>
              <a:rect l="l" t="t" r="r" b="b"/>
              <a:pathLst>
                <a:path w="569125" h="10237">
                  <a:moveTo>
                    <a:pt x="-3560" y="-245"/>
                  </a:moveTo>
                  <a:lnTo>
                    <a:pt x="565566" y="-245"/>
                  </a:lnTo>
                  <a:lnTo>
                    <a:pt x="565566" y="9992"/>
                  </a:lnTo>
                  <a:lnTo>
                    <a:pt x="-3560" y="9992"/>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8F64D51D-9844-0C95-EE41-5F56CE3EAD24}"/>
                </a:ext>
              </a:extLst>
            </p:cNvPr>
            <p:cNvSpPr/>
            <p:nvPr/>
          </p:nvSpPr>
          <p:spPr>
            <a:xfrm flipH="1">
              <a:off x="11326987" y="825824"/>
              <a:ext cx="77098" cy="77098"/>
            </a:xfrm>
            <a:custGeom>
              <a:avLst/>
              <a:gdLst>
                <a:gd name="connsiteX0" fmla="*/ 54261 w 77098"/>
                <a:gd name="connsiteY0" fmla="*/ 71680 h 77098"/>
                <a:gd name="connsiteX1" fmla="*/ 1601 w 77098"/>
                <a:gd name="connsiteY1" fmla="*/ 57581 h 77098"/>
                <a:gd name="connsiteX2" fmla="*/ 15719 w 77098"/>
                <a:gd name="connsiteY2" fmla="*/ 4928 h 77098"/>
                <a:gd name="connsiteX3" fmla="*/ 68377 w 77098"/>
                <a:gd name="connsiteY3" fmla="*/ 19027 h 77098"/>
                <a:gd name="connsiteX4" fmla="*/ 68377 w 77098"/>
                <a:gd name="connsiteY4" fmla="*/ 19056 h 77098"/>
                <a:gd name="connsiteX5" fmla="*/ 54261 w 77098"/>
                <a:gd name="connsiteY5" fmla="*/ 71680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8" h="77098">
                  <a:moveTo>
                    <a:pt x="54261" y="71680"/>
                  </a:moveTo>
                  <a:cubicBezTo>
                    <a:pt x="35835" y="82327"/>
                    <a:pt x="12271" y="76012"/>
                    <a:pt x="1601" y="57581"/>
                  </a:cubicBezTo>
                  <a:cubicBezTo>
                    <a:pt x="-9031" y="39146"/>
                    <a:pt x="-2710" y="15572"/>
                    <a:pt x="15719" y="4928"/>
                  </a:cubicBezTo>
                  <a:cubicBezTo>
                    <a:pt x="34146" y="-5718"/>
                    <a:pt x="57710" y="593"/>
                    <a:pt x="68377" y="19027"/>
                  </a:cubicBezTo>
                  <a:cubicBezTo>
                    <a:pt x="68377" y="19038"/>
                    <a:pt x="68377" y="19045"/>
                    <a:pt x="68377" y="19056"/>
                  </a:cubicBezTo>
                  <a:cubicBezTo>
                    <a:pt x="79010" y="37487"/>
                    <a:pt x="72688" y="61040"/>
                    <a:pt x="54261" y="71680"/>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3" name="Freeform: Shape 62">
              <a:extLst>
                <a:ext uri="{FF2B5EF4-FFF2-40B4-BE49-F238E27FC236}">
                  <a16:creationId xmlns:a16="http://schemas.microsoft.com/office/drawing/2014/main" id="{E67F0C37-8236-BF95-807F-937988620DC8}"/>
                </a:ext>
              </a:extLst>
            </p:cNvPr>
            <p:cNvSpPr/>
            <p:nvPr/>
          </p:nvSpPr>
          <p:spPr>
            <a:xfrm flipH="1">
              <a:off x="10844845" y="550751"/>
              <a:ext cx="61642" cy="61635"/>
            </a:xfrm>
            <a:custGeom>
              <a:avLst/>
              <a:gdLst>
                <a:gd name="connsiteX0" fmla="*/ 42671 w 61643"/>
                <a:gd name="connsiteY0" fmla="*/ 57270 h 61635"/>
                <a:gd name="connsiteX1" fmla="*/ 53950 w 61643"/>
                <a:gd name="connsiteY1" fmla="*/ 15171 h 61635"/>
                <a:gd name="connsiteX2" fmla="*/ 11851 w 61643"/>
                <a:gd name="connsiteY2" fmla="*/ 3888 h 61635"/>
                <a:gd name="connsiteX3" fmla="*/ 573 w 61643"/>
                <a:gd name="connsiteY3" fmla="*/ 45987 h 61635"/>
                <a:gd name="connsiteX4" fmla="*/ 573 w 61643"/>
                <a:gd name="connsiteY4" fmla="*/ 45991 h 61635"/>
                <a:gd name="connsiteX5" fmla="*/ 42671 w 61643"/>
                <a:gd name="connsiteY5" fmla="*/ 57270 h 61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43" h="61635">
                  <a:moveTo>
                    <a:pt x="42671" y="57270"/>
                  </a:moveTo>
                  <a:cubicBezTo>
                    <a:pt x="57399" y="48760"/>
                    <a:pt x="62464" y="29909"/>
                    <a:pt x="53950" y="15171"/>
                  </a:cubicBezTo>
                  <a:cubicBezTo>
                    <a:pt x="45437" y="429"/>
                    <a:pt x="26578" y="-4622"/>
                    <a:pt x="11851" y="3888"/>
                  </a:cubicBezTo>
                  <a:cubicBezTo>
                    <a:pt x="-2875" y="12398"/>
                    <a:pt x="-7941" y="31245"/>
                    <a:pt x="573" y="45987"/>
                  </a:cubicBezTo>
                  <a:cubicBezTo>
                    <a:pt x="573" y="45991"/>
                    <a:pt x="573" y="45991"/>
                    <a:pt x="573" y="45991"/>
                  </a:cubicBezTo>
                  <a:cubicBezTo>
                    <a:pt x="9085" y="60714"/>
                    <a:pt x="27943" y="65758"/>
                    <a:pt x="42671" y="57270"/>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BAEDC3EF-7D5B-CD92-CBF0-0954BFFD6B57}"/>
                </a:ext>
              </a:extLst>
            </p:cNvPr>
            <p:cNvSpPr/>
            <p:nvPr/>
          </p:nvSpPr>
          <p:spPr>
            <a:xfrm flipH="1">
              <a:off x="10810436" y="2957509"/>
              <a:ext cx="1110161" cy="958434"/>
            </a:xfrm>
            <a:custGeom>
              <a:avLst/>
              <a:gdLst>
                <a:gd name="connsiteX0" fmla="*/ 1110162 w 1110161"/>
                <a:gd name="connsiteY0" fmla="*/ 255755 h 958433"/>
                <a:gd name="connsiteX1" fmla="*/ 1110162 w 1110161"/>
                <a:gd name="connsiteY1" fmla="*/ 637986 h 958433"/>
                <a:gd name="connsiteX2" fmla="*/ 555081 w 1110161"/>
                <a:gd name="connsiteY2" fmla="*/ 958433 h 958433"/>
                <a:gd name="connsiteX3" fmla="*/ 0 w 1110161"/>
                <a:gd name="connsiteY3" fmla="*/ 637986 h 958433"/>
                <a:gd name="connsiteX4" fmla="*/ 0 w 1110161"/>
                <a:gd name="connsiteY4" fmla="*/ 0 h 958433"/>
                <a:gd name="connsiteX5" fmla="*/ 10273 w 1110161"/>
                <a:gd name="connsiteY5" fmla="*/ 0 h 958433"/>
                <a:gd name="connsiteX6" fmla="*/ 10273 w 1110161"/>
                <a:gd name="connsiteY6" fmla="*/ 632059 h 958433"/>
                <a:gd name="connsiteX7" fmla="*/ 555081 w 1110161"/>
                <a:gd name="connsiteY7" fmla="*/ 946616 h 958433"/>
                <a:gd name="connsiteX8" fmla="*/ 1099889 w 1110161"/>
                <a:gd name="connsiteY8" fmla="*/ 632059 h 958433"/>
                <a:gd name="connsiteX9" fmla="*/ 1099889 w 1110161"/>
                <a:gd name="connsiteY9" fmla="*/ 255755 h 958433"/>
                <a:gd name="connsiteX10" fmla="*/ 1110162 w 1110161"/>
                <a:gd name="connsiteY10" fmla="*/ 255755 h 958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61" h="958433">
                  <a:moveTo>
                    <a:pt x="1110162" y="255755"/>
                  </a:moveTo>
                  <a:lnTo>
                    <a:pt x="1110162" y="637986"/>
                  </a:lnTo>
                  <a:lnTo>
                    <a:pt x="555081" y="958433"/>
                  </a:lnTo>
                  <a:lnTo>
                    <a:pt x="0" y="637986"/>
                  </a:lnTo>
                  <a:lnTo>
                    <a:pt x="0" y="0"/>
                  </a:lnTo>
                  <a:lnTo>
                    <a:pt x="10273" y="0"/>
                  </a:lnTo>
                  <a:lnTo>
                    <a:pt x="10273" y="632059"/>
                  </a:lnTo>
                  <a:lnTo>
                    <a:pt x="555081" y="946616"/>
                  </a:lnTo>
                  <a:lnTo>
                    <a:pt x="1099889" y="632059"/>
                  </a:lnTo>
                  <a:lnTo>
                    <a:pt x="1099889" y="255755"/>
                  </a:lnTo>
                  <a:lnTo>
                    <a:pt x="1110162" y="255755"/>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5" name="Freeform: Shape 64">
              <a:extLst>
                <a:ext uri="{FF2B5EF4-FFF2-40B4-BE49-F238E27FC236}">
                  <a16:creationId xmlns:a16="http://schemas.microsoft.com/office/drawing/2014/main" id="{275E05B3-C297-C2EC-5B02-6F4D121F6FCB}"/>
                </a:ext>
              </a:extLst>
            </p:cNvPr>
            <p:cNvSpPr/>
            <p:nvPr/>
          </p:nvSpPr>
          <p:spPr>
            <a:xfrm flipH="1">
              <a:off x="5491460" y="2037475"/>
              <a:ext cx="1794663" cy="1549434"/>
            </a:xfrm>
            <a:custGeom>
              <a:avLst/>
              <a:gdLst>
                <a:gd name="connsiteX0" fmla="*/ 1794664 w 1794664"/>
                <a:gd name="connsiteY0" fmla="*/ 502242 h 1549434"/>
                <a:gd name="connsiteX1" fmla="*/ 1794664 w 1794664"/>
                <a:gd name="connsiteY1" fmla="*/ 1031352 h 1549434"/>
                <a:gd name="connsiteX2" fmla="*/ 1790498 w 1794664"/>
                <a:gd name="connsiteY2" fmla="*/ 1033723 h 1549434"/>
                <a:gd name="connsiteX3" fmla="*/ 897332 w 1794664"/>
                <a:gd name="connsiteY3" fmla="*/ 1549435 h 1549434"/>
                <a:gd name="connsiteX4" fmla="*/ 893202 w 1794664"/>
                <a:gd name="connsiteY4" fmla="*/ 1547028 h 1549434"/>
                <a:gd name="connsiteX5" fmla="*/ 0 w 1794664"/>
                <a:gd name="connsiteY5" fmla="*/ 1031352 h 1549434"/>
                <a:gd name="connsiteX6" fmla="*/ 0 w 1794664"/>
                <a:gd name="connsiteY6" fmla="*/ 0 h 1549434"/>
                <a:gd name="connsiteX7" fmla="*/ 16595 w 1794664"/>
                <a:gd name="connsiteY7" fmla="*/ 0 h 1549434"/>
                <a:gd name="connsiteX8" fmla="*/ 16595 w 1794664"/>
                <a:gd name="connsiteY8" fmla="*/ 1021797 h 1549434"/>
                <a:gd name="connsiteX9" fmla="*/ 897332 w 1794664"/>
                <a:gd name="connsiteY9" fmla="*/ 1530289 h 1549434"/>
                <a:gd name="connsiteX10" fmla="*/ 1778069 w 1794664"/>
                <a:gd name="connsiteY10" fmla="*/ 1021797 h 1549434"/>
                <a:gd name="connsiteX11" fmla="*/ 1778069 w 1794664"/>
                <a:gd name="connsiteY11" fmla="*/ 502242 h 1549434"/>
                <a:gd name="connsiteX12" fmla="*/ 1794664 w 1794664"/>
                <a:gd name="connsiteY12" fmla="*/ 502242 h 154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4664" h="1549434">
                  <a:moveTo>
                    <a:pt x="1794664" y="502242"/>
                  </a:moveTo>
                  <a:lnTo>
                    <a:pt x="1794664" y="1031352"/>
                  </a:lnTo>
                  <a:lnTo>
                    <a:pt x="1790498" y="1033723"/>
                  </a:lnTo>
                  <a:lnTo>
                    <a:pt x="897332" y="1549435"/>
                  </a:lnTo>
                  <a:lnTo>
                    <a:pt x="893202" y="1547028"/>
                  </a:lnTo>
                  <a:lnTo>
                    <a:pt x="0" y="1031352"/>
                  </a:lnTo>
                  <a:lnTo>
                    <a:pt x="0" y="0"/>
                  </a:lnTo>
                  <a:lnTo>
                    <a:pt x="16595" y="0"/>
                  </a:lnTo>
                  <a:lnTo>
                    <a:pt x="16595" y="1021797"/>
                  </a:lnTo>
                  <a:lnTo>
                    <a:pt x="897332" y="1530289"/>
                  </a:lnTo>
                  <a:lnTo>
                    <a:pt x="1778069" y="1021797"/>
                  </a:lnTo>
                  <a:lnTo>
                    <a:pt x="1778069" y="502242"/>
                  </a:lnTo>
                  <a:lnTo>
                    <a:pt x="1794664" y="502242"/>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FC3BE24D-761B-6A37-7444-4A66D0DDE739}"/>
                </a:ext>
              </a:extLst>
            </p:cNvPr>
            <p:cNvSpPr/>
            <p:nvPr/>
          </p:nvSpPr>
          <p:spPr>
            <a:xfrm flipH="1">
              <a:off x="5406327" y="2450993"/>
              <a:ext cx="186787" cy="186787"/>
            </a:xfrm>
            <a:custGeom>
              <a:avLst/>
              <a:gdLst>
                <a:gd name="connsiteX0" fmla="*/ -3560 w 186787"/>
                <a:gd name="connsiteY0" fmla="*/ 93148 h 186787"/>
                <a:gd name="connsiteX1" fmla="*/ 89833 w 186787"/>
                <a:gd name="connsiteY1" fmla="*/ -245 h 186787"/>
                <a:gd name="connsiteX2" fmla="*/ 183227 w 186787"/>
                <a:gd name="connsiteY2" fmla="*/ 93148 h 186787"/>
                <a:gd name="connsiteX3" fmla="*/ 89833 w 186787"/>
                <a:gd name="connsiteY3" fmla="*/ 186542 h 186787"/>
                <a:gd name="connsiteX4" fmla="*/ -3560 w 186787"/>
                <a:gd name="connsiteY4" fmla="*/ 93148 h 186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787" h="186787">
                  <a:moveTo>
                    <a:pt x="-3560" y="93148"/>
                  </a:moveTo>
                  <a:cubicBezTo>
                    <a:pt x="-3560" y="41570"/>
                    <a:pt x="38252" y="-245"/>
                    <a:pt x="89833" y="-245"/>
                  </a:cubicBezTo>
                  <a:cubicBezTo>
                    <a:pt x="141415" y="-245"/>
                    <a:pt x="183227" y="41570"/>
                    <a:pt x="183227" y="93148"/>
                  </a:cubicBezTo>
                  <a:cubicBezTo>
                    <a:pt x="183227" y="144727"/>
                    <a:pt x="141415" y="186542"/>
                    <a:pt x="89833" y="186542"/>
                  </a:cubicBezTo>
                  <a:cubicBezTo>
                    <a:pt x="38252" y="186542"/>
                    <a:pt x="-3560" y="144727"/>
                    <a:pt x="-3560" y="93148"/>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DF638DE3-ABA7-79B9-A178-DE4C0FBB36AA}"/>
                </a:ext>
              </a:extLst>
            </p:cNvPr>
            <p:cNvSpPr/>
            <p:nvPr/>
          </p:nvSpPr>
          <p:spPr>
            <a:xfrm flipH="1">
              <a:off x="7932443" y="3728904"/>
              <a:ext cx="1281898" cy="1047552"/>
            </a:xfrm>
            <a:custGeom>
              <a:avLst/>
              <a:gdLst>
                <a:gd name="connsiteX0" fmla="*/ 1281898 w 1281898"/>
                <a:gd name="connsiteY0" fmla="*/ 0 h 1047552"/>
                <a:gd name="connsiteX1" fmla="*/ 1281898 w 1281898"/>
                <a:gd name="connsiteY1" fmla="*/ 677498 h 1047552"/>
                <a:gd name="connsiteX2" fmla="*/ 1278917 w 1281898"/>
                <a:gd name="connsiteY2" fmla="*/ 679222 h 1047552"/>
                <a:gd name="connsiteX3" fmla="*/ 640967 w 1281898"/>
                <a:gd name="connsiteY3" fmla="*/ 1047552 h 1047552"/>
                <a:gd name="connsiteX4" fmla="*/ 637986 w 1281898"/>
                <a:gd name="connsiteY4" fmla="*/ 1045864 h 1047552"/>
                <a:gd name="connsiteX5" fmla="*/ 0 w 1281898"/>
                <a:gd name="connsiteY5" fmla="*/ 677498 h 1047552"/>
                <a:gd name="connsiteX6" fmla="*/ 0 w 1281898"/>
                <a:gd name="connsiteY6" fmla="*/ 278421 h 1047552"/>
                <a:gd name="connsiteX7" fmla="*/ 11854 w 1281898"/>
                <a:gd name="connsiteY7" fmla="*/ 278421 h 1047552"/>
                <a:gd name="connsiteX8" fmla="*/ 11854 w 1281898"/>
                <a:gd name="connsiteY8" fmla="*/ 670673 h 1047552"/>
                <a:gd name="connsiteX9" fmla="*/ 640967 w 1281898"/>
                <a:gd name="connsiteY9" fmla="*/ 1033902 h 1047552"/>
                <a:gd name="connsiteX10" fmla="*/ 1270045 w 1281898"/>
                <a:gd name="connsiteY10" fmla="*/ 670673 h 1047552"/>
                <a:gd name="connsiteX11" fmla="*/ 1270045 w 1281898"/>
                <a:gd name="connsiteY11" fmla="*/ 0 h 1047552"/>
                <a:gd name="connsiteX12" fmla="*/ 1281898 w 1281898"/>
                <a:gd name="connsiteY12" fmla="*/ 0 h 1047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1898" h="1047552">
                  <a:moveTo>
                    <a:pt x="1281898" y="0"/>
                  </a:moveTo>
                  <a:lnTo>
                    <a:pt x="1281898" y="677498"/>
                  </a:lnTo>
                  <a:lnTo>
                    <a:pt x="1278917" y="679222"/>
                  </a:lnTo>
                  <a:lnTo>
                    <a:pt x="640967" y="1047552"/>
                  </a:lnTo>
                  <a:lnTo>
                    <a:pt x="637986" y="1045864"/>
                  </a:lnTo>
                  <a:lnTo>
                    <a:pt x="0" y="677498"/>
                  </a:lnTo>
                  <a:lnTo>
                    <a:pt x="0" y="278421"/>
                  </a:lnTo>
                  <a:lnTo>
                    <a:pt x="11854" y="278421"/>
                  </a:lnTo>
                  <a:lnTo>
                    <a:pt x="11854" y="670673"/>
                  </a:lnTo>
                  <a:lnTo>
                    <a:pt x="640967" y="1033902"/>
                  </a:lnTo>
                  <a:lnTo>
                    <a:pt x="1270045" y="670673"/>
                  </a:lnTo>
                  <a:lnTo>
                    <a:pt x="1270045" y="0"/>
                  </a:lnTo>
                  <a:lnTo>
                    <a:pt x="1281898" y="0"/>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Shape 67">
              <a:extLst>
                <a:ext uri="{FF2B5EF4-FFF2-40B4-BE49-F238E27FC236}">
                  <a16:creationId xmlns:a16="http://schemas.microsoft.com/office/drawing/2014/main" id="{7F24C9B7-FB29-9B98-9BB1-F3704926BBC5}"/>
                </a:ext>
              </a:extLst>
            </p:cNvPr>
            <p:cNvSpPr/>
            <p:nvPr/>
          </p:nvSpPr>
          <p:spPr>
            <a:xfrm flipH="1">
              <a:off x="9163944" y="3965045"/>
              <a:ext cx="89012" cy="89012"/>
            </a:xfrm>
            <a:custGeom>
              <a:avLst/>
              <a:gdLst>
                <a:gd name="connsiteX0" fmla="*/ 85452 w 89012"/>
                <a:gd name="connsiteY0" fmla="*/ 44260 h 89011"/>
                <a:gd name="connsiteX1" fmla="*/ 40946 w 89012"/>
                <a:gd name="connsiteY1" fmla="*/ -245 h 89011"/>
                <a:gd name="connsiteX2" fmla="*/ -3560 w 89012"/>
                <a:gd name="connsiteY2" fmla="*/ 44260 h 89011"/>
                <a:gd name="connsiteX3" fmla="*/ 40946 w 89012"/>
                <a:gd name="connsiteY3" fmla="*/ 88766 h 89011"/>
                <a:gd name="connsiteX4" fmla="*/ 40981 w 89012"/>
                <a:gd name="connsiteY4" fmla="*/ 88766 h 89011"/>
                <a:gd name="connsiteX5" fmla="*/ 85452 w 89012"/>
                <a:gd name="connsiteY5" fmla="*/ 44260 h 8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012" h="89011">
                  <a:moveTo>
                    <a:pt x="85452" y="44260"/>
                  </a:moveTo>
                  <a:cubicBezTo>
                    <a:pt x="85452" y="19691"/>
                    <a:pt x="65515" y="-245"/>
                    <a:pt x="40946" y="-245"/>
                  </a:cubicBezTo>
                  <a:cubicBezTo>
                    <a:pt x="16377" y="-245"/>
                    <a:pt x="-3560" y="19691"/>
                    <a:pt x="-3560" y="44260"/>
                  </a:cubicBezTo>
                  <a:cubicBezTo>
                    <a:pt x="-3560" y="68830"/>
                    <a:pt x="16377" y="88766"/>
                    <a:pt x="40946" y="88766"/>
                  </a:cubicBezTo>
                  <a:cubicBezTo>
                    <a:pt x="40946" y="88766"/>
                    <a:pt x="40981" y="88766"/>
                    <a:pt x="40981" y="88766"/>
                  </a:cubicBezTo>
                  <a:cubicBezTo>
                    <a:pt x="65552" y="88730"/>
                    <a:pt x="85452" y="68830"/>
                    <a:pt x="85452" y="44260"/>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Freeform: Shape 68">
              <a:extLst>
                <a:ext uri="{FF2B5EF4-FFF2-40B4-BE49-F238E27FC236}">
                  <a16:creationId xmlns:a16="http://schemas.microsoft.com/office/drawing/2014/main" id="{92B7E53D-A526-1A2A-D3B2-B929DF99581E}"/>
                </a:ext>
              </a:extLst>
            </p:cNvPr>
            <p:cNvSpPr/>
            <p:nvPr/>
          </p:nvSpPr>
          <p:spPr>
            <a:xfrm rot="339000" flipH="1">
              <a:off x="7876291" y="3671367"/>
              <a:ext cx="124571" cy="124571"/>
            </a:xfrm>
            <a:custGeom>
              <a:avLst/>
              <a:gdLst>
                <a:gd name="connsiteX0" fmla="*/ 121012 w 124572"/>
                <a:gd name="connsiteY0" fmla="*/ 62041 h 124572"/>
                <a:gd name="connsiteX1" fmla="*/ 58726 w 124572"/>
                <a:gd name="connsiteY1" fmla="*/ 124327 h 124572"/>
                <a:gd name="connsiteX2" fmla="*/ -3559 w 124572"/>
                <a:gd name="connsiteY2" fmla="*/ 62041 h 124572"/>
                <a:gd name="connsiteX3" fmla="*/ 58726 w 124572"/>
                <a:gd name="connsiteY3" fmla="*/ -245 h 124572"/>
                <a:gd name="connsiteX4" fmla="*/ 121012 w 124572"/>
                <a:gd name="connsiteY4" fmla="*/ 62041 h 124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72" h="124572">
                  <a:moveTo>
                    <a:pt x="121012" y="62041"/>
                  </a:moveTo>
                  <a:cubicBezTo>
                    <a:pt x="121012" y="96441"/>
                    <a:pt x="93126" y="124327"/>
                    <a:pt x="58726" y="124327"/>
                  </a:cubicBezTo>
                  <a:cubicBezTo>
                    <a:pt x="24327" y="124327"/>
                    <a:pt x="-3559" y="96441"/>
                    <a:pt x="-3559" y="62041"/>
                  </a:cubicBezTo>
                  <a:cubicBezTo>
                    <a:pt x="-3559" y="27641"/>
                    <a:pt x="24327" y="-245"/>
                    <a:pt x="58726" y="-245"/>
                  </a:cubicBezTo>
                  <a:cubicBezTo>
                    <a:pt x="93126" y="-245"/>
                    <a:pt x="121012" y="27642"/>
                    <a:pt x="121012" y="62041"/>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D4A66B95-F3F4-B952-C71F-1AA49A9AD19F}"/>
                </a:ext>
              </a:extLst>
            </p:cNvPr>
            <p:cNvSpPr/>
            <p:nvPr/>
          </p:nvSpPr>
          <p:spPr>
            <a:xfrm flipH="1">
              <a:off x="9929555" y="661176"/>
              <a:ext cx="786050" cy="327883"/>
            </a:xfrm>
            <a:custGeom>
              <a:avLst/>
              <a:gdLst>
                <a:gd name="connsiteX0" fmla="*/ 786050 w 786050"/>
                <a:gd name="connsiteY0" fmla="*/ 134846 h 327883"/>
                <a:gd name="connsiteX1" fmla="*/ 780914 w 786050"/>
                <a:gd name="connsiteY1" fmla="*/ 143718 h 327883"/>
                <a:gd name="connsiteX2" fmla="*/ 552530 w 786050"/>
                <a:gd name="connsiteY2" fmla="*/ 11854 h 327883"/>
                <a:gd name="connsiteX3" fmla="*/ 5137 w 786050"/>
                <a:gd name="connsiteY3" fmla="*/ 327883 h 327883"/>
                <a:gd name="connsiteX4" fmla="*/ 0 w 786050"/>
                <a:gd name="connsiteY4" fmla="*/ 319011 h 327883"/>
                <a:gd name="connsiteX5" fmla="*/ 552530 w 786050"/>
                <a:gd name="connsiteY5" fmla="*/ 0 h 327883"/>
                <a:gd name="connsiteX6" fmla="*/ 786050 w 786050"/>
                <a:gd name="connsiteY6" fmla="*/ 134846 h 32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050" h="327883">
                  <a:moveTo>
                    <a:pt x="786050" y="134846"/>
                  </a:moveTo>
                  <a:lnTo>
                    <a:pt x="780914" y="143718"/>
                  </a:lnTo>
                  <a:lnTo>
                    <a:pt x="552530" y="11854"/>
                  </a:lnTo>
                  <a:lnTo>
                    <a:pt x="5137" y="327883"/>
                  </a:lnTo>
                  <a:lnTo>
                    <a:pt x="0" y="319011"/>
                  </a:lnTo>
                  <a:lnTo>
                    <a:pt x="552530" y="0"/>
                  </a:lnTo>
                  <a:lnTo>
                    <a:pt x="786050" y="134846"/>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1" name="Freeform: Shape 70">
              <a:extLst>
                <a:ext uri="{FF2B5EF4-FFF2-40B4-BE49-F238E27FC236}">
                  <a16:creationId xmlns:a16="http://schemas.microsoft.com/office/drawing/2014/main" id="{FA62D9D2-3BB1-FBD9-3297-79387699E234}"/>
                </a:ext>
              </a:extLst>
            </p:cNvPr>
            <p:cNvSpPr/>
            <p:nvPr/>
          </p:nvSpPr>
          <p:spPr>
            <a:xfrm flipH="1">
              <a:off x="8942602" y="2013192"/>
              <a:ext cx="1110126" cy="910838"/>
            </a:xfrm>
            <a:custGeom>
              <a:avLst/>
              <a:gdLst>
                <a:gd name="connsiteX0" fmla="*/ 1110126 w 1110125"/>
                <a:gd name="connsiteY0" fmla="*/ 320448 h 910838"/>
                <a:gd name="connsiteX1" fmla="*/ 1110126 w 1110125"/>
                <a:gd name="connsiteY1" fmla="*/ 910839 h 910838"/>
                <a:gd name="connsiteX2" fmla="*/ 1099889 w 1110125"/>
                <a:gd name="connsiteY2" fmla="*/ 910839 h 910838"/>
                <a:gd name="connsiteX3" fmla="*/ 1099889 w 1110125"/>
                <a:gd name="connsiteY3" fmla="*/ 326375 h 910838"/>
                <a:gd name="connsiteX4" fmla="*/ 555081 w 1110125"/>
                <a:gd name="connsiteY4" fmla="*/ 11818 h 910838"/>
                <a:gd name="connsiteX5" fmla="*/ 10237 w 1110125"/>
                <a:gd name="connsiteY5" fmla="*/ 326375 h 910838"/>
                <a:gd name="connsiteX6" fmla="*/ 10237 w 1110125"/>
                <a:gd name="connsiteY6" fmla="*/ 611620 h 910838"/>
                <a:gd name="connsiteX7" fmla="*/ 0 w 1110125"/>
                <a:gd name="connsiteY7" fmla="*/ 611620 h 910838"/>
                <a:gd name="connsiteX8" fmla="*/ 0 w 1110125"/>
                <a:gd name="connsiteY8" fmla="*/ 320448 h 910838"/>
                <a:gd name="connsiteX9" fmla="*/ 555081 w 1110125"/>
                <a:gd name="connsiteY9" fmla="*/ 0 h 910838"/>
                <a:gd name="connsiteX10" fmla="*/ 1110126 w 1110125"/>
                <a:gd name="connsiteY10" fmla="*/ 320448 h 9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25" h="910838">
                  <a:moveTo>
                    <a:pt x="1110126" y="320448"/>
                  </a:moveTo>
                  <a:lnTo>
                    <a:pt x="1110126" y="910839"/>
                  </a:lnTo>
                  <a:lnTo>
                    <a:pt x="1099889" y="910839"/>
                  </a:lnTo>
                  <a:lnTo>
                    <a:pt x="1099889" y="326375"/>
                  </a:lnTo>
                  <a:lnTo>
                    <a:pt x="555081" y="11818"/>
                  </a:lnTo>
                  <a:lnTo>
                    <a:pt x="10237" y="326375"/>
                  </a:lnTo>
                  <a:lnTo>
                    <a:pt x="10237" y="611620"/>
                  </a:lnTo>
                  <a:lnTo>
                    <a:pt x="0" y="611620"/>
                  </a:lnTo>
                  <a:lnTo>
                    <a:pt x="0" y="320448"/>
                  </a:lnTo>
                  <a:lnTo>
                    <a:pt x="555081" y="0"/>
                  </a:lnTo>
                  <a:lnTo>
                    <a:pt x="1110126" y="320448"/>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2" name="Freeform: Shape 71">
              <a:extLst>
                <a:ext uri="{FF2B5EF4-FFF2-40B4-BE49-F238E27FC236}">
                  <a16:creationId xmlns:a16="http://schemas.microsoft.com/office/drawing/2014/main" id="{33ADF1B0-7C5E-7D54-31A4-606793AE6265}"/>
                </a:ext>
              </a:extLst>
            </p:cNvPr>
            <p:cNvSpPr/>
            <p:nvPr/>
          </p:nvSpPr>
          <p:spPr>
            <a:xfrm flipH="1">
              <a:off x="10016808" y="2592449"/>
              <a:ext cx="61640" cy="61639"/>
            </a:xfrm>
            <a:custGeom>
              <a:avLst/>
              <a:gdLst>
                <a:gd name="connsiteX0" fmla="*/ 58080 w 61640"/>
                <a:gd name="connsiteY0" fmla="*/ 30574 h 61639"/>
                <a:gd name="connsiteX1" fmla="*/ 27260 w 61640"/>
                <a:gd name="connsiteY1" fmla="*/ 61394 h 61639"/>
                <a:gd name="connsiteX2" fmla="*/ -3560 w 61640"/>
                <a:gd name="connsiteY2" fmla="*/ 30574 h 61639"/>
                <a:gd name="connsiteX3" fmla="*/ 27260 w 61640"/>
                <a:gd name="connsiteY3" fmla="*/ -245 h 61639"/>
                <a:gd name="connsiteX4" fmla="*/ 58080 w 61640"/>
                <a:gd name="connsiteY4" fmla="*/ 30574 h 6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40" h="61639">
                  <a:moveTo>
                    <a:pt x="58080" y="30574"/>
                  </a:moveTo>
                  <a:cubicBezTo>
                    <a:pt x="58080" y="47597"/>
                    <a:pt x="44287" y="61394"/>
                    <a:pt x="27260" y="61394"/>
                  </a:cubicBezTo>
                  <a:cubicBezTo>
                    <a:pt x="10235" y="61394"/>
                    <a:pt x="-3560" y="47597"/>
                    <a:pt x="-3560" y="30574"/>
                  </a:cubicBezTo>
                  <a:cubicBezTo>
                    <a:pt x="-3560" y="13552"/>
                    <a:pt x="10235" y="-245"/>
                    <a:pt x="27260" y="-245"/>
                  </a:cubicBezTo>
                  <a:cubicBezTo>
                    <a:pt x="44287" y="-224"/>
                    <a:pt x="58045" y="13562"/>
                    <a:pt x="58080" y="30574"/>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3" name="Freeform: Shape 72">
              <a:extLst>
                <a:ext uri="{FF2B5EF4-FFF2-40B4-BE49-F238E27FC236}">
                  <a16:creationId xmlns:a16="http://schemas.microsoft.com/office/drawing/2014/main" id="{1EBCDD35-8280-2BAE-555D-8364F96D7123}"/>
                </a:ext>
              </a:extLst>
            </p:cNvPr>
            <p:cNvSpPr/>
            <p:nvPr/>
          </p:nvSpPr>
          <p:spPr>
            <a:xfrm flipH="1">
              <a:off x="8897269" y="2871407"/>
              <a:ext cx="100579" cy="100579"/>
            </a:xfrm>
            <a:custGeom>
              <a:avLst/>
              <a:gdLst>
                <a:gd name="connsiteX0" fmla="*/ -3560 w 100578"/>
                <a:gd name="connsiteY0" fmla="*/ 49864 h 100578"/>
                <a:gd name="connsiteX1" fmla="*/ 46550 w 100578"/>
                <a:gd name="connsiteY1" fmla="*/ 100332 h 100578"/>
                <a:gd name="connsiteX2" fmla="*/ 97018 w 100578"/>
                <a:gd name="connsiteY2" fmla="*/ 50223 h 100578"/>
                <a:gd name="connsiteX3" fmla="*/ 46910 w 100578"/>
                <a:gd name="connsiteY3" fmla="*/ -245 h 100578"/>
                <a:gd name="connsiteX4" fmla="*/ 46729 w 100578"/>
                <a:gd name="connsiteY4" fmla="*/ -245 h 100578"/>
                <a:gd name="connsiteX5" fmla="*/ -3560 w 100578"/>
                <a:gd name="connsiteY5" fmla="*/ 49864 h 10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78" h="100578">
                  <a:moveTo>
                    <a:pt x="-3560" y="49864"/>
                  </a:moveTo>
                  <a:cubicBezTo>
                    <a:pt x="-3667" y="77630"/>
                    <a:pt x="18784" y="100224"/>
                    <a:pt x="46550" y="100332"/>
                  </a:cubicBezTo>
                  <a:cubicBezTo>
                    <a:pt x="74317" y="100440"/>
                    <a:pt x="96911" y="77990"/>
                    <a:pt x="97018" y="50223"/>
                  </a:cubicBezTo>
                  <a:cubicBezTo>
                    <a:pt x="97127" y="22456"/>
                    <a:pt x="74676" y="-145"/>
                    <a:pt x="46910" y="-245"/>
                  </a:cubicBezTo>
                  <a:cubicBezTo>
                    <a:pt x="46838" y="-245"/>
                    <a:pt x="46801" y="-245"/>
                    <a:pt x="46729" y="-245"/>
                  </a:cubicBezTo>
                  <a:cubicBezTo>
                    <a:pt x="19034" y="-245"/>
                    <a:pt x="-3451" y="22169"/>
                    <a:pt x="-3560" y="49864"/>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4" name="Freeform: Shape 73">
              <a:extLst>
                <a:ext uri="{FF2B5EF4-FFF2-40B4-BE49-F238E27FC236}">
                  <a16:creationId xmlns:a16="http://schemas.microsoft.com/office/drawing/2014/main" id="{A2893F50-BD4F-A42C-066D-CA35D7FDE649}"/>
                </a:ext>
              </a:extLst>
            </p:cNvPr>
            <p:cNvSpPr/>
            <p:nvPr/>
          </p:nvSpPr>
          <p:spPr>
            <a:xfrm flipH="1">
              <a:off x="9379612" y="2867815"/>
              <a:ext cx="738491" cy="300403"/>
            </a:xfrm>
            <a:custGeom>
              <a:avLst/>
              <a:gdLst>
                <a:gd name="connsiteX0" fmla="*/ 738491 w 738491"/>
                <a:gd name="connsiteY0" fmla="*/ 134846 h 300403"/>
                <a:gd name="connsiteX1" fmla="*/ 733355 w 738491"/>
                <a:gd name="connsiteY1" fmla="*/ 143718 h 300403"/>
                <a:gd name="connsiteX2" fmla="*/ 504936 w 738491"/>
                <a:gd name="connsiteY2" fmla="*/ 11818 h 300403"/>
                <a:gd name="connsiteX3" fmla="*/ 5137 w 738491"/>
                <a:gd name="connsiteY3" fmla="*/ 300404 h 300403"/>
                <a:gd name="connsiteX4" fmla="*/ 0 w 738491"/>
                <a:gd name="connsiteY4" fmla="*/ 291532 h 300403"/>
                <a:gd name="connsiteX5" fmla="*/ 504936 w 738491"/>
                <a:gd name="connsiteY5" fmla="*/ 0 h 300403"/>
                <a:gd name="connsiteX6" fmla="*/ 738491 w 738491"/>
                <a:gd name="connsiteY6" fmla="*/ 134846 h 30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491" h="300403">
                  <a:moveTo>
                    <a:pt x="738491" y="134846"/>
                  </a:moveTo>
                  <a:lnTo>
                    <a:pt x="733355" y="143718"/>
                  </a:lnTo>
                  <a:lnTo>
                    <a:pt x="504936" y="11818"/>
                  </a:lnTo>
                  <a:lnTo>
                    <a:pt x="5137" y="300404"/>
                  </a:lnTo>
                  <a:lnTo>
                    <a:pt x="0" y="291532"/>
                  </a:lnTo>
                  <a:lnTo>
                    <a:pt x="504936" y="0"/>
                  </a:lnTo>
                  <a:lnTo>
                    <a:pt x="738491" y="134846"/>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5" name="Freeform: Shape 74">
              <a:extLst>
                <a:ext uri="{FF2B5EF4-FFF2-40B4-BE49-F238E27FC236}">
                  <a16:creationId xmlns:a16="http://schemas.microsoft.com/office/drawing/2014/main" id="{3A9BB60B-F7AE-9B0F-6B9C-1D53E9500885}"/>
                </a:ext>
              </a:extLst>
            </p:cNvPr>
            <p:cNvSpPr/>
            <p:nvPr/>
          </p:nvSpPr>
          <p:spPr>
            <a:xfrm flipH="1">
              <a:off x="10055225" y="3104527"/>
              <a:ext cx="115603" cy="115608"/>
            </a:xfrm>
            <a:custGeom>
              <a:avLst/>
              <a:gdLst>
                <a:gd name="connsiteX0" fmla="*/ 83110 w 115603"/>
                <a:gd name="connsiteY0" fmla="*/ 107629 h 115608"/>
                <a:gd name="connsiteX1" fmla="*/ 4157 w 115603"/>
                <a:gd name="connsiteY1" fmla="*/ 86436 h 115608"/>
                <a:gd name="connsiteX2" fmla="*/ 25386 w 115603"/>
                <a:gd name="connsiteY2" fmla="*/ 7483 h 115608"/>
                <a:gd name="connsiteX3" fmla="*/ 104268 w 115603"/>
                <a:gd name="connsiteY3" fmla="*/ 28604 h 115608"/>
                <a:gd name="connsiteX4" fmla="*/ 83147 w 115603"/>
                <a:gd name="connsiteY4" fmla="*/ 107629 h 115608"/>
                <a:gd name="connsiteX5" fmla="*/ 83110 w 115603"/>
                <a:gd name="connsiteY5" fmla="*/ 107629 h 11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603" h="115608">
                  <a:moveTo>
                    <a:pt x="83110" y="107629"/>
                  </a:moveTo>
                  <a:cubicBezTo>
                    <a:pt x="55450" y="123578"/>
                    <a:pt x="20105" y="114059"/>
                    <a:pt x="4157" y="86436"/>
                  </a:cubicBezTo>
                  <a:cubicBezTo>
                    <a:pt x="-11757" y="58777"/>
                    <a:pt x="-2273" y="23431"/>
                    <a:pt x="25386" y="7483"/>
                  </a:cubicBezTo>
                  <a:cubicBezTo>
                    <a:pt x="53009" y="-8430"/>
                    <a:pt x="88282" y="1017"/>
                    <a:pt x="104268" y="28604"/>
                  </a:cubicBezTo>
                  <a:cubicBezTo>
                    <a:pt x="120251" y="56263"/>
                    <a:pt x="110805" y="91645"/>
                    <a:pt x="83147" y="107629"/>
                  </a:cubicBezTo>
                  <a:cubicBezTo>
                    <a:pt x="83110" y="107629"/>
                    <a:pt x="83110" y="107629"/>
                    <a:pt x="83110" y="107629"/>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6" name="Freeform: Shape 75">
              <a:extLst>
                <a:ext uri="{FF2B5EF4-FFF2-40B4-BE49-F238E27FC236}">
                  <a16:creationId xmlns:a16="http://schemas.microsoft.com/office/drawing/2014/main" id="{722C7FE9-830C-BA09-1A31-0DC01CD8FAF2}"/>
                </a:ext>
              </a:extLst>
            </p:cNvPr>
            <p:cNvSpPr/>
            <p:nvPr/>
          </p:nvSpPr>
          <p:spPr>
            <a:xfrm flipH="1">
              <a:off x="6802453" y="2364747"/>
              <a:ext cx="1368970" cy="409171"/>
            </a:xfrm>
            <a:custGeom>
              <a:avLst/>
              <a:gdLst>
                <a:gd name="connsiteX0" fmla="*/ 1368970 w 1368969"/>
                <a:gd name="connsiteY0" fmla="*/ 392792 h 409171"/>
                <a:gd name="connsiteX1" fmla="*/ 1362289 w 1368969"/>
                <a:gd name="connsiteY1" fmla="*/ 404394 h 409171"/>
                <a:gd name="connsiteX2" fmla="*/ 688634 w 1368969"/>
                <a:gd name="connsiteY2" fmla="*/ 15446 h 409171"/>
                <a:gd name="connsiteX3" fmla="*/ 6717 w 1368969"/>
                <a:gd name="connsiteY3" fmla="*/ 409172 h 409171"/>
                <a:gd name="connsiteX4" fmla="*/ 0 w 1368969"/>
                <a:gd name="connsiteY4" fmla="*/ 397569 h 409171"/>
                <a:gd name="connsiteX5" fmla="*/ 688634 w 1368969"/>
                <a:gd name="connsiteY5" fmla="*/ 0 h 409171"/>
                <a:gd name="connsiteX6" fmla="*/ 1368970 w 1368969"/>
                <a:gd name="connsiteY6" fmla="*/ 392792 h 409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8969" h="409171">
                  <a:moveTo>
                    <a:pt x="1368970" y="392792"/>
                  </a:moveTo>
                  <a:lnTo>
                    <a:pt x="1362289" y="404394"/>
                  </a:lnTo>
                  <a:lnTo>
                    <a:pt x="688634" y="15446"/>
                  </a:lnTo>
                  <a:lnTo>
                    <a:pt x="6717" y="409172"/>
                  </a:lnTo>
                  <a:lnTo>
                    <a:pt x="0" y="397569"/>
                  </a:lnTo>
                  <a:lnTo>
                    <a:pt x="688634" y="0"/>
                  </a:lnTo>
                  <a:lnTo>
                    <a:pt x="1368970" y="392792"/>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2A6EFD84-A880-7745-75DE-2C3E4FBCAC43}"/>
                </a:ext>
              </a:extLst>
            </p:cNvPr>
            <p:cNvSpPr/>
            <p:nvPr/>
          </p:nvSpPr>
          <p:spPr>
            <a:xfrm flipH="1">
              <a:off x="8126062" y="2726833"/>
              <a:ext cx="80559" cy="80548"/>
            </a:xfrm>
            <a:custGeom>
              <a:avLst/>
              <a:gdLst>
                <a:gd name="connsiteX0" fmla="*/ 56854 w 80559"/>
                <a:gd name="connsiteY0" fmla="*/ 74893 h 80548"/>
                <a:gd name="connsiteX1" fmla="*/ 1859 w 80559"/>
                <a:gd name="connsiteY1" fmla="*/ 60177 h 80548"/>
                <a:gd name="connsiteX2" fmla="*/ 16550 w 80559"/>
                <a:gd name="connsiteY2" fmla="*/ 5164 h 80548"/>
                <a:gd name="connsiteX3" fmla="*/ 71580 w 80559"/>
                <a:gd name="connsiteY3" fmla="*/ 19881 h 80548"/>
                <a:gd name="connsiteX4" fmla="*/ 71580 w 80559"/>
                <a:gd name="connsiteY4" fmla="*/ 19899 h 80548"/>
                <a:gd name="connsiteX5" fmla="*/ 56889 w 80559"/>
                <a:gd name="connsiteY5" fmla="*/ 74868 h 80548"/>
                <a:gd name="connsiteX6" fmla="*/ 56854 w 80559"/>
                <a:gd name="connsiteY6" fmla="*/ 74893 h 8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559" h="80548">
                  <a:moveTo>
                    <a:pt x="56854" y="74893"/>
                  </a:moveTo>
                  <a:cubicBezTo>
                    <a:pt x="37599" y="86021"/>
                    <a:pt x="12958" y="79430"/>
                    <a:pt x="1859" y="60177"/>
                  </a:cubicBezTo>
                  <a:cubicBezTo>
                    <a:pt x="-9276" y="40920"/>
                    <a:pt x="-2703" y="16292"/>
                    <a:pt x="16550" y="5164"/>
                  </a:cubicBezTo>
                  <a:cubicBezTo>
                    <a:pt x="35803" y="-5964"/>
                    <a:pt x="60446" y="627"/>
                    <a:pt x="71580" y="19881"/>
                  </a:cubicBezTo>
                  <a:cubicBezTo>
                    <a:pt x="71580" y="19888"/>
                    <a:pt x="71580" y="19895"/>
                    <a:pt x="71580" y="19899"/>
                  </a:cubicBezTo>
                  <a:cubicBezTo>
                    <a:pt x="82716" y="39131"/>
                    <a:pt x="76142" y="63744"/>
                    <a:pt x="56889" y="74868"/>
                  </a:cubicBezTo>
                  <a:cubicBezTo>
                    <a:pt x="56889" y="74875"/>
                    <a:pt x="56854" y="74886"/>
                    <a:pt x="56854" y="74893"/>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8" name="Freeform: Shape 77">
              <a:extLst>
                <a:ext uri="{FF2B5EF4-FFF2-40B4-BE49-F238E27FC236}">
                  <a16:creationId xmlns:a16="http://schemas.microsoft.com/office/drawing/2014/main" id="{5FFDF7A7-8C86-FDFC-A1B2-A0CB1651DC83}"/>
                </a:ext>
              </a:extLst>
            </p:cNvPr>
            <p:cNvSpPr/>
            <p:nvPr/>
          </p:nvSpPr>
          <p:spPr>
            <a:xfrm flipH="1">
              <a:off x="6757760" y="2711800"/>
              <a:ext cx="100593" cy="100594"/>
            </a:xfrm>
            <a:custGeom>
              <a:avLst/>
              <a:gdLst>
                <a:gd name="connsiteX0" fmla="*/ 21627 w 100593"/>
                <a:gd name="connsiteY0" fmla="*/ 93626 h 100594"/>
                <a:gd name="connsiteX1" fmla="*/ 90308 w 100593"/>
                <a:gd name="connsiteY1" fmla="*/ 75156 h 100594"/>
                <a:gd name="connsiteX2" fmla="*/ 71844 w 100593"/>
                <a:gd name="connsiteY2" fmla="*/ 6479 h 100594"/>
                <a:gd name="connsiteX3" fmla="*/ 3201 w 100593"/>
                <a:gd name="connsiteY3" fmla="*/ 24874 h 100594"/>
                <a:gd name="connsiteX4" fmla="*/ 21556 w 100593"/>
                <a:gd name="connsiteY4" fmla="*/ 93583 h 100594"/>
                <a:gd name="connsiteX5" fmla="*/ 21627 w 100593"/>
                <a:gd name="connsiteY5" fmla="*/ 93626 h 10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93" h="100594">
                  <a:moveTo>
                    <a:pt x="21627" y="93626"/>
                  </a:moveTo>
                  <a:cubicBezTo>
                    <a:pt x="45695" y="107491"/>
                    <a:pt x="76443" y="99222"/>
                    <a:pt x="90308" y="75156"/>
                  </a:cubicBezTo>
                  <a:cubicBezTo>
                    <a:pt x="104173" y="51092"/>
                    <a:pt x="95912" y="20344"/>
                    <a:pt x="71844" y="6479"/>
                  </a:cubicBezTo>
                  <a:cubicBezTo>
                    <a:pt x="47814" y="-7372"/>
                    <a:pt x="17102" y="861"/>
                    <a:pt x="3201" y="24874"/>
                  </a:cubicBezTo>
                  <a:cubicBezTo>
                    <a:pt x="-10701" y="48915"/>
                    <a:pt x="-2475" y="79678"/>
                    <a:pt x="21556" y="93583"/>
                  </a:cubicBezTo>
                  <a:cubicBezTo>
                    <a:pt x="21592" y="93597"/>
                    <a:pt x="21592" y="93612"/>
                    <a:pt x="21627" y="93626"/>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9" name="Freeform: Shape 78">
              <a:extLst>
                <a:ext uri="{FF2B5EF4-FFF2-40B4-BE49-F238E27FC236}">
                  <a16:creationId xmlns:a16="http://schemas.microsoft.com/office/drawing/2014/main" id="{89D74955-E97E-453D-6ED3-4D6679577F18}"/>
                </a:ext>
              </a:extLst>
            </p:cNvPr>
            <p:cNvSpPr/>
            <p:nvPr/>
          </p:nvSpPr>
          <p:spPr>
            <a:xfrm flipH="1">
              <a:off x="12406999" y="1251998"/>
              <a:ext cx="516431" cy="1096368"/>
            </a:xfrm>
            <a:custGeom>
              <a:avLst/>
              <a:gdLst>
                <a:gd name="connsiteX0" fmla="*/ 516430 w 516430"/>
                <a:gd name="connsiteY0" fmla="*/ 295195 h 1096368"/>
                <a:gd name="connsiteX1" fmla="*/ 516430 w 516430"/>
                <a:gd name="connsiteY1" fmla="*/ 936127 h 1096368"/>
                <a:gd name="connsiteX2" fmla="*/ 238872 w 516430"/>
                <a:gd name="connsiteY2" fmla="*/ 1096369 h 1096368"/>
                <a:gd name="connsiteX3" fmla="*/ 233771 w 516430"/>
                <a:gd name="connsiteY3" fmla="*/ 1087496 h 1096368"/>
                <a:gd name="connsiteX4" fmla="*/ 506157 w 516430"/>
                <a:gd name="connsiteY4" fmla="*/ 930200 h 1096368"/>
                <a:gd name="connsiteX5" fmla="*/ 506157 w 516430"/>
                <a:gd name="connsiteY5" fmla="*/ 301086 h 1096368"/>
                <a:gd name="connsiteX6" fmla="*/ 0 w 516430"/>
                <a:gd name="connsiteY6" fmla="*/ 8872 h 1096368"/>
                <a:gd name="connsiteX7" fmla="*/ 5137 w 516430"/>
                <a:gd name="connsiteY7" fmla="*/ 0 h 1096368"/>
                <a:gd name="connsiteX8" fmla="*/ 516430 w 516430"/>
                <a:gd name="connsiteY8" fmla="*/ 295195 h 109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430" h="1096368">
                  <a:moveTo>
                    <a:pt x="516430" y="295195"/>
                  </a:moveTo>
                  <a:lnTo>
                    <a:pt x="516430" y="936127"/>
                  </a:lnTo>
                  <a:lnTo>
                    <a:pt x="238872" y="1096369"/>
                  </a:lnTo>
                  <a:lnTo>
                    <a:pt x="233771" y="1087496"/>
                  </a:lnTo>
                  <a:lnTo>
                    <a:pt x="506157" y="930200"/>
                  </a:lnTo>
                  <a:lnTo>
                    <a:pt x="506157" y="301086"/>
                  </a:lnTo>
                  <a:lnTo>
                    <a:pt x="0" y="8872"/>
                  </a:lnTo>
                  <a:lnTo>
                    <a:pt x="5137" y="0"/>
                  </a:lnTo>
                  <a:lnTo>
                    <a:pt x="516430" y="295195"/>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0" name="Freeform: Shape 79">
              <a:extLst>
                <a:ext uri="{FF2B5EF4-FFF2-40B4-BE49-F238E27FC236}">
                  <a16:creationId xmlns:a16="http://schemas.microsoft.com/office/drawing/2014/main" id="{668D91C1-2BCE-2260-9D1A-EF4424DCB141}"/>
                </a:ext>
              </a:extLst>
            </p:cNvPr>
            <p:cNvSpPr/>
            <p:nvPr/>
          </p:nvSpPr>
          <p:spPr>
            <a:xfrm flipH="1">
              <a:off x="12868619" y="1207540"/>
              <a:ext cx="100220" cy="100169"/>
            </a:xfrm>
            <a:custGeom>
              <a:avLst/>
              <a:gdLst>
                <a:gd name="connsiteX0" fmla="*/ 21519 w 100221"/>
                <a:gd name="connsiteY0" fmla="*/ 93281 h 100169"/>
                <a:gd name="connsiteX1" fmla="*/ 3128 w 100221"/>
                <a:gd name="connsiteY1" fmla="*/ 24841 h 100169"/>
                <a:gd name="connsiteX2" fmla="*/ 71593 w 100221"/>
                <a:gd name="connsiteY2" fmla="*/ 6464 h 100169"/>
                <a:gd name="connsiteX3" fmla="*/ 89948 w 100221"/>
                <a:gd name="connsiteY3" fmla="*/ 74904 h 100169"/>
                <a:gd name="connsiteX4" fmla="*/ 89948 w 100221"/>
                <a:gd name="connsiteY4" fmla="*/ 74926 h 100169"/>
                <a:gd name="connsiteX5" fmla="*/ 21519 w 100221"/>
                <a:gd name="connsiteY5" fmla="*/ 93281 h 10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21" h="100169">
                  <a:moveTo>
                    <a:pt x="21519" y="93281"/>
                  </a:moveTo>
                  <a:cubicBezTo>
                    <a:pt x="-2440" y="79455"/>
                    <a:pt x="-10666" y="48815"/>
                    <a:pt x="3128" y="24841"/>
                  </a:cubicBezTo>
                  <a:cubicBezTo>
                    <a:pt x="16958" y="864"/>
                    <a:pt x="47597" y="-7361"/>
                    <a:pt x="71593" y="6464"/>
                  </a:cubicBezTo>
                  <a:cubicBezTo>
                    <a:pt x="95552" y="20287"/>
                    <a:pt x="103777" y="50931"/>
                    <a:pt x="89948" y="74904"/>
                  </a:cubicBezTo>
                  <a:cubicBezTo>
                    <a:pt x="89948" y="74911"/>
                    <a:pt x="89948" y="74918"/>
                    <a:pt x="89948" y="74926"/>
                  </a:cubicBezTo>
                  <a:cubicBezTo>
                    <a:pt x="76047" y="98798"/>
                    <a:pt x="45514" y="106995"/>
                    <a:pt x="21519" y="93281"/>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1" name="Freeform: Shape 80">
              <a:extLst>
                <a:ext uri="{FF2B5EF4-FFF2-40B4-BE49-F238E27FC236}">
                  <a16:creationId xmlns:a16="http://schemas.microsoft.com/office/drawing/2014/main" id="{C2319268-5C89-C1FC-9B57-6FAB0B8A1E13}"/>
                </a:ext>
              </a:extLst>
            </p:cNvPr>
            <p:cNvSpPr/>
            <p:nvPr/>
          </p:nvSpPr>
          <p:spPr>
            <a:xfrm flipH="1">
              <a:off x="8559832" y="2943679"/>
              <a:ext cx="1953432" cy="1077331"/>
            </a:xfrm>
            <a:custGeom>
              <a:avLst/>
              <a:gdLst>
                <a:gd name="connsiteX0" fmla="*/ 1953434 w 1953433"/>
                <a:gd name="connsiteY0" fmla="*/ 531373 h 1077330"/>
                <a:gd name="connsiteX1" fmla="*/ 1007824 w 1953433"/>
                <a:gd name="connsiteY1" fmla="*/ 1077331 h 1077330"/>
                <a:gd name="connsiteX2" fmla="*/ 1003154 w 1953433"/>
                <a:gd name="connsiteY2" fmla="*/ 1074636 h 1077330"/>
                <a:gd name="connsiteX3" fmla="*/ 0 w 1953433"/>
                <a:gd name="connsiteY3" fmla="*/ 495453 h 1077330"/>
                <a:gd name="connsiteX4" fmla="*/ 0 w 1953433"/>
                <a:gd name="connsiteY4" fmla="*/ 0 h 1077330"/>
                <a:gd name="connsiteX5" fmla="*/ 18607 w 1953433"/>
                <a:gd name="connsiteY5" fmla="*/ 0 h 1077330"/>
                <a:gd name="connsiteX6" fmla="*/ 18607 w 1953433"/>
                <a:gd name="connsiteY6" fmla="*/ 484713 h 1077330"/>
                <a:gd name="connsiteX7" fmla="*/ 1007824 w 1953433"/>
                <a:gd name="connsiteY7" fmla="*/ 1055850 h 1077330"/>
                <a:gd name="connsiteX8" fmla="*/ 1944130 w 1953433"/>
                <a:gd name="connsiteY8" fmla="*/ 515281 h 1077330"/>
                <a:gd name="connsiteX9" fmla="*/ 1953434 w 1953433"/>
                <a:gd name="connsiteY9" fmla="*/ 531373 h 107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3433" h="1077330">
                  <a:moveTo>
                    <a:pt x="1953434" y="531373"/>
                  </a:moveTo>
                  <a:lnTo>
                    <a:pt x="1007824" y="1077331"/>
                  </a:lnTo>
                  <a:lnTo>
                    <a:pt x="1003154" y="1074636"/>
                  </a:lnTo>
                  <a:lnTo>
                    <a:pt x="0" y="495453"/>
                  </a:lnTo>
                  <a:lnTo>
                    <a:pt x="0" y="0"/>
                  </a:lnTo>
                  <a:lnTo>
                    <a:pt x="18607" y="0"/>
                  </a:lnTo>
                  <a:lnTo>
                    <a:pt x="18607" y="484713"/>
                  </a:lnTo>
                  <a:lnTo>
                    <a:pt x="1007824" y="1055850"/>
                  </a:lnTo>
                  <a:lnTo>
                    <a:pt x="1944130" y="515281"/>
                  </a:lnTo>
                  <a:lnTo>
                    <a:pt x="1953434" y="531373"/>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2" name="Freeform: Shape 81">
              <a:extLst>
                <a:ext uri="{FF2B5EF4-FFF2-40B4-BE49-F238E27FC236}">
                  <a16:creationId xmlns:a16="http://schemas.microsoft.com/office/drawing/2014/main" id="{8F768745-1B65-45C3-4404-6DE89AD62CDB}"/>
                </a:ext>
              </a:extLst>
            </p:cNvPr>
            <p:cNvSpPr/>
            <p:nvPr/>
          </p:nvSpPr>
          <p:spPr>
            <a:xfrm flipH="1">
              <a:off x="8497532" y="3398742"/>
              <a:ext cx="139952" cy="139975"/>
            </a:xfrm>
            <a:custGeom>
              <a:avLst/>
              <a:gdLst>
                <a:gd name="connsiteX0" fmla="*/ 31417 w 139952"/>
                <a:gd name="connsiteY0" fmla="*/ 9145 h 139975"/>
                <a:gd name="connsiteX1" fmla="*/ 127001 w 139952"/>
                <a:gd name="connsiteY1" fmla="*/ 34756 h 139975"/>
                <a:gd name="connsiteX2" fmla="*/ 101391 w 139952"/>
                <a:gd name="connsiteY2" fmla="*/ 130341 h 139975"/>
                <a:gd name="connsiteX3" fmla="*/ 5806 w 139952"/>
                <a:gd name="connsiteY3" fmla="*/ 104729 h 139975"/>
                <a:gd name="connsiteX4" fmla="*/ 5806 w 139952"/>
                <a:gd name="connsiteY4" fmla="*/ 104729 h 139975"/>
                <a:gd name="connsiteX5" fmla="*/ 31417 w 139952"/>
                <a:gd name="connsiteY5" fmla="*/ 9145 h 13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952" h="139975">
                  <a:moveTo>
                    <a:pt x="31417" y="9145"/>
                  </a:moveTo>
                  <a:cubicBezTo>
                    <a:pt x="64895" y="-10181"/>
                    <a:pt x="107677" y="1278"/>
                    <a:pt x="127001" y="34756"/>
                  </a:cubicBezTo>
                  <a:cubicBezTo>
                    <a:pt x="146328" y="68234"/>
                    <a:pt x="134868" y="111015"/>
                    <a:pt x="101391" y="130341"/>
                  </a:cubicBezTo>
                  <a:cubicBezTo>
                    <a:pt x="67913" y="149666"/>
                    <a:pt x="25131" y="138207"/>
                    <a:pt x="5806" y="104729"/>
                  </a:cubicBezTo>
                  <a:cubicBezTo>
                    <a:pt x="5806" y="104729"/>
                    <a:pt x="5806" y="104729"/>
                    <a:pt x="5806" y="104729"/>
                  </a:cubicBezTo>
                  <a:cubicBezTo>
                    <a:pt x="-13483" y="71251"/>
                    <a:pt x="-2025" y="28506"/>
                    <a:pt x="31417" y="9145"/>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3" name="Freeform: Shape 82">
              <a:extLst>
                <a:ext uri="{FF2B5EF4-FFF2-40B4-BE49-F238E27FC236}">
                  <a16:creationId xmlns:a16="http://schemas.microsoft.com/office/drawing/2014/main" id="{4EF54510-20B6-5D6E-DD62-A17A92E05A46}"/>
                </a:ext>
              </a:extLst>
            </p:cNvPr>
            <p:cNvSpPr/>
            <p:nvPr/>
          </p:nvSpPr>
          <p:spPr>
            <a:xfrm flipH="1">
              <a:off x="10413013" y="2857219"/>
              <a:ext cx="181973" cy="181973"/>
            </a:xfrm>
            <a:custGeom>
              <a:avLst/>
              <a:gdLst>
                <a:gd name="connsiteX0" fmla="*/ 178414 w 181974"/>
                <a:gd name="connsiteY0" fmla="*/ 90741 h 181973"/>
                <a:gd name="connsiteX1" fmla="*/ 87427 w 181974"/>
                <a:gd name="connsiteY1" fmla="*/ -245 h 181973"/>
                <a:gd name="connsiteX2" fmla="*/ -3560 w 181974"/>
                <a:gd name="connsiteY2" fmla="*/ 90741 h 181973"/>
                <a:gd name="connsiteX3" fmla="*/ 87427 w 181974"/>
                <a:gd name="connsiteY3" fmla="*/ 181728 h 181973"/>
                <a:gd name="connsiteX4" fmla="*/ 178414 w 181974"/>
                <a:gd name="connsiteY4" fmla="*/ 90741 h 1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974" h="181973">
                  <a:moveTo>
                    <a:pt x="178414" y="90741"/>
                  </a:moveTo>
                  <a:cubicBezTo>
                    <a:pt x="178414" y="40489"/>
                    <a:pt x="137679" y="-245"/>
                    <a:pt x="87427" y="-245"/>
                  </a:cubicBezTo>
                  <a:cubicBezTo>
                    <a:pt x="37173" y="-245"/>
                    <a:pt x="-3560" y="40489"/>
                    <a:pt x="-3560" y="90741"/>
                  </a:cubicBezTo>
                  <a:cubicBezTo>
                    <a:pt x="-3560" y="140994"/>
                    <a:pt x="37173" y="181728"/>
                    <a:pt x="87427" y="181728"/>
                  </a:cubicBezTo>
                  <a:cubicBezTo>
                    <a:pt x="137679" y="181728"/>
                    <a:pt x="178414" y="140994"/>
                    <a:pt x="178414" y="90741"/>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4" name="Freeform: Shape 83">
              <a:extLst>
                <a:ext uri="{FF2B5EF4-FFF2-40B4-BE49-F238E27FC236}">
                  <a16:creationId xmlns:a16="http://schemas.microsoft.com/office/drawing/2014/main" id="{E2DEEEC7-6AFA-DAF7-3B5B-916AECA3A78F}"/>
                </a:ext>
              </a:extLst>
            </p:cNvPr>
            <p:cNvSpPr/>
            <p:nvPr/>
          </p:nvSpPr>
          <p:spPr>
            <a:xfrm rot="1800001" flipH="1">
              <a:off x="10049439" y="1967586"/>
              <a:ext cx="450191" cy="18605"/>
            </a:xfrm>
            <a:custGeom>
              <a:avLst/>
              <a:gdLst>
                <a:gd name="connsiteX0" fmla="*/ -3561 w 450192"/>
                <a:gd name="connsiteY0" fmla="*/ -245 h 18606"/>
                <a:gd name="connsiteX1" fmla="*/ 446632 w 450192"/>
                <a:gd name="connsiteY1" fmla="*/ -245 h 18606"/>
                <a:gd name="connsiteX2" fmla="*/ 446632 w 450192"/>
                <a:gd name="connsiteY2" fmla="*/ 18361 h 18606"/>
                <a:gd name="connsiteX3" fmla="*/ -3561 w 450192"/>
                <a:gd name="connsiteY3" fmla="*/ 18361 h 18606"/>
              </a:gdLst>
              <a:ahLst/>
              <a:cxnLst>
                <a:cxn ang="0">
                  <a:pos x="connsiteX0" y="connsiteY0"/>
                </a:cxn>
                <a:cxn ang="0">
                  <a:pos x="connsiteX1" y="connsiteY1"/>
                </a:cxn>
                <a:cxn ang="0">
                  <a:pos x="connsiteX2" y="connsiteY2"/>
                </a:cxn>
                <a:cxn ang="0">
                  <a:pos x="connsiteX3" y="connsiteY3"/>
                </a:cxn>
              </a:cxnLst>
              <a:rect l="l" t="t" r="r" b="b"/>
              <a:pathLst>
                <a:path w="450192" h="18606">
                  <a:moveTo>
                    <a:pt x="-3561" y="-245"/>
                  </a:moveTo>
                  <a:lnTo>
                    <a:pt x="446632" y="-245"/>
                  </a:lnTo>
                  <a:lnTo>
                    <a:pt x="446632" y="18361"/>
                  </a:lnTo>
                  <a:lnTo>
                    <a:pt x="-3561" y="18361"/>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5" name="Freeform: Shape 84">
              <a:extLst>
                <a:ext uri="{FF2B5EF4-FFF2-40B4-BE49-F238E27FC236}">
                  <a16:creationId xmlns:a16="http://schemas.microsoft.com/office/drawing/2014/main" id="{1F0ADD39-8192-AB89-1CAD-05CD1A781385}"/>
                </a:ext>
              </a:extLst>
            </p:cNvPr>
            <p:cNvSpPr/>
            <p:nvPr/>
          </p:nvSpPr>
          <p:spPr>
            <a:xfrm flipH="1">
              <a:off x="9992546" y="1775740"/>
              <a:ext cx="181935" cy="181931"/>
            </a:xfrm>
            <a:custGeom>
              <a:avLst/>
              <a:gdLst>
                <a:gd name="connsiteX0" fmla="*/ 41933 w 181935"/>
                <a:gd name="connsiteY0" fmla="*/ 11948 h 181931"/>
                <a:gd name="connsiteX1" fmla="*/ 166181 w 181935"/>
                <a:gd name="connsiteY1" fmla="*/ 45254 h 181931"/>
                <a:gd name="connsiteX2" fmla="*/ 132848 w 181935"/>
                <a:gd name="connsiteY2" fmla="*/ 169493 h 181931"/>
                <a:gd name="connsiteX3" fmla="*/ 8634 w 181935"/>
                <a:gd name="connsiteY3" fmla="*/ 136198 h 181931"/>
                <a:gd name="connsiteX4" fmla="*/ 41933 w 181935"/>
                <a:gd name="connsiteY4" fmla="*/ 11956 h 181931"/>
                <a:gd name="connsiteX5" fmla="*/ 41933 w 181935"/>
                <a:gd name="connsiteY5" fmla="*/ 11948 h 18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35" h="181931">
                  <a:moveTo>
                    <a:pt x="41933" y="11948"/>
                  </a:moveTo>
                  <a:cubicBezTo>
                    <a:pt x="85432" y="-13160"/>
                    <a:pt x="141074" y="1751"/>
                    <a:pt x="166181" y="45254"/>
                  </a:cubicBezTo>
                  <a:cubicBezTo>
                    <a:pt x="191291" y="88757"/>
                    <a:pt x="176384" y="144381"/>
                    <a:pt x="132848" y="169493"/>
                  </a:cubicBezTo>
                  <a:cubicBezTo>
                    <a:pt x="89349" y="194598"/>
                    <a:pt x="33744" y="179694"/>
                    <a:pt x="8634" y="136198"/>
                  </a:cubicBezTo>
                  <a:cubicBezTo>
                    <a:pt x="-16473" y="92698"/>
                    <a:pt x="-1567" y="37071"/>
                    <a:pt x="41933" y="11956"/>
                  </a:cubicBezTo>
                  <a:cubicBezTo>
                    <a:pt x="41933" y="11952"/>
                    <a:pt x="41933" y="11952"/>
                    <a:pt x="41933" y="11948"/>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6" name="Freeform: Shape 85">
              <a:extLst>
                <a:ext uri="{FF2B5EF4-FFF2-40B4-BE49-F238E27FC236}">
                  <a16:creationId xmlns:a16="http://schemas.microsoft.com/office/drawing/2014/main" id="{5D1FEB9E-1E99-1776-9FC9-856547E86F36}"/>
                </a:ext>
              </a:extLst>
            </p:cNvPr>
            <p:cNvSpPr/>
            <p:nvPr/>
          </p:nvSpPr>
          <p:spPr>
            <a:xfrm flipH="1">
              <a:off x="10425548" y="2046449"/>
              <a:ext cx="83984" cy="83996"/>
            </a:xfrm>
            <a:custGeom>
              <a:avLst/>
              <a:gdLst>
                <a:gd name="connsiteX0" fmla="*/ 17348 w 83985"/>
                <a:gd name="connsiteY0" fmla="*/ 5436 h 83996"/>
                <a:gd name="connsiteX1" fmla="*/ 2119 w 83985"/>
                <a:gd name="connsiteY1" fmla="*/ 62830 h 83996"/>
                <a:gd name="connsiteX2" fmla="*/ 59520 w 83985"/>
                <a:gd name="connsiteY2" fmla="*/ 78071 h 83996"/>
                <a:gd name="connsiteX3" fmla="*/ 74821 w 83985"/>
                <a:gd name="connsiteY3" fmla="*/ 20810 h 83996"/>
                <a:gd name="connsiteX4" fmla="*/ 17492 w 83985"/>
                <a:gd name="connsiteY4" fmla="*/ 5357 h 83996"/>
                <a:gd name="connsiteX5" fmla="*/ 17348 w 83985"/>
                <a:gd name="connsiteY5" fmla="*/ 5436 h 83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985" h="83996">
                  <a:moveTo>
                    <a:pt x="17348" y="5436"/>
                  </a:moveTo>
                  <a:cubicBezTo>
                    <a:pt x="-2696" y="17078"/>
                    <a:pt x="-9520" y="42775"/>
                    <a:pt x="2119" y="62830"/>
                  </a:cubicBezTo>
                  <a:cubicBezTo>
                    <a:pt x="13756" y="82888"/>
                    <a:pt x="39439" y="89713"/>
                    <a:pt x="59520" y="78071"/>
                  </a:cubicBezTo>
                  <a:cubicBezTo>
                    <a:pt x="79527" y="66461"/>
                    <a:pt x="86352" y="40857"/>
                    <a:pt x="74821" y="20810"/>
                  </a:cubicBezTo>
                  <a:cubicBezTo>
                    <a:pt x="63256" y="709"/>
                    <a:pt x="37571" y="-6209"/>
                    <a:pt x="17492" y="5357"/>
                  </a:cubicBezTo>
                  <a:cubicBezTo>
                    <a:pt x="17420" y="5386"/>
                    <a:pt x="17385" y="5411"/>
                    <a:pt x="17348" y="5436"/>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7" name="Freeform: Shape 86">
              <a:extLst>
                <a:ext uri="{FF2B5EF4-FFF2-40B4-BE49-F238E27FC236}">
                  <a16:creationId xmlns:a16="http://schemas.microsoft.com/office/drawing/2014/main" id="{432D1259-30E6-EFD2-A964-BCC46FD75F7A}"/>
                </a:ext>
              </a:extLst>
            </p:cNvPr>
            <p:cNvSpPr/>
            <p:nvPr/>
          </p:nvSpPr>
          <p:spPr>
            <a:xfrm flipH="1">
              <a:off x="8497618" y="1451180"/>
              <a:ext cx="937635" cy="1990647"/>
            </a:xfrm>
            <a:custGeom>
              <a:avLst/>
              <a:gdLst>
                <a:gd name="connsiteX0" fmla="*/ 937635 w 937635"/>
                <a:gd name="connsiteY0" fmla="*/ 535971 h 1990647"/>
                <a:gd name="connsiteX1" fmla="*/ 937635 w 937635"/>
                <a:gd name="connsiteY1" fmla="*/ 1699727 h 1990647"/>
                <a:gd name="connsiteX2" fmla="*/ 433705 w 937635"/>
                <a:gd name="connsiteY2" fmla="*/ 1990648 h 1990647"/>
                <a:gd name="connsiteX3" fmla="*/ 424402 w 937635"/>
                <a:gd name="connsiteY3" fmla="*/ 1974519 h 1990647"/>
                <a:gd name="connsiteX4" fmla="*/ 919028 w 937635"/>
                <a:gd name="connsiteY4" fmla="*/ 1688986 h 1990647"/>
                <a:gd name="connsiteX5" fmla="*/ 919028 w 937635"/>
                <a:gd name="connsiteY5" fmla="*/ 546711 h 1990647"/>
                <a:gd name="connsiteX6" fmla="*/ 0 w 937635"/>
                <a:gd name="connsiteY6" fmla="*/ 16092 h 1990647"/>
                <a:gd name="connsiteX7" fmla="*/ 9304 w 937635"/>
                <a:gd name="connsiteY7" fmla="*/ 0 h 1990647"/>
                <a:gd name="connsiteX8" fmla="*/ 937635 w 937635"/>
                <a:gd name="connsiteY8" fmla="*/ 535971 h 199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7635" h="1990647">
                  <a:moveTo>
                    <a:pt x="937635" y="535971"/>
                  </a:moveTo>
                  <a:lnTo>
                    <a:pt x="937635" y="1699727"/>
                  </a:lnTo>
                  <a:lnTo>
                    <a:pt x="433705" y="1990648"/>
                  </a:lnTo>
                  <a:lnTo>
                    <a:pt x="424402" y="1974519"/>
                  </a:lnTo>
                  <a:lnTo>
                    <a:pt x="919028" y="1688986"/>
                  </a:lnTo>
                  <a:lnTo>
                    <a:pt x="919028" y="546711"/>
                  </a:lnTo>
                  <a:lnTo>
                    <a:pt x="0" y="16092"/>
                  </a:lnTo>
                  <a:lnTo>
                    <a:pt x="9304" y="0"/>
                  </a:lnTo>
                  <a:lnTo>
                    <a:pt x="937635" y="535971"/>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8" name="Freeform: Shape 87">
              <a:extLst>
                <a:ext uri="{FF2B5EF4-FFF2-40B4-BE49-F238E27FC236}">
                  <a16:creationId xmlns:a16="http://schemas.microsoft.com/office/drawing/2014/main" id="{4399FFC2-1522-CC26-4881-2F3A37741EE2}"/>
                </a:ext>
              </a:extLst>
            </p:cNvPr>
            <p:cNvSpPr/>
            <p:nvPr/>
          </p:nvSpPr>
          <p:spPr>
            <a:xfrm flipH="1">
              <a:off x="9335713" y="1370548"/>
              <a:ext cx="181921" cy="181931"/>
            </a:xfrm>
            <a:custGeom>
              <a:avLst/>
              <a:gdLst>
                <a:gd name="connsiteX0" fmla="*/ 41895 w 181921"/>
                <a:gd name="connsiteY0" fmla="*/ 169469 h 181932"/>
                <a:gd name="connsiteX1" fmla="*/ 8669 w 181921"/>
                <a:gd name="connsiteY1" fmla="*/ 45216 h 181932"/>
                <a:gd name="connsiteX2" fmla="*/ 132918 w 181921"/>
                <a:gd name="connsiteY2" fmla="*/ 11971 h 181932"/>
                <a:gd name="connsiteX3" fmla="*/ 166181 w 181921"/>
                <a:gd name="connsiteY3" fmla="*/ 136170 h 181932"/>
                <a:gd name="connsiteX4" fmla="*/ 41967 w 181921"/>
                <a:gd name="connsiteY4" fmla="*/ 169501 h 181932"/>
                <a:gd name="connsiteX5" fmla="*/ 41895 w 181921"/>
                <a:gd name="connsiteY5" fmla="*/ 169469 h 18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21" h="181932">
                  <a:moveTo>
                    <a:pt x="41895" y="169469"/>
                  </a:moveTo>
                  <a:cubicBezTo>
                    <a:pt x="-1604" y="144339"/>
                    <a:pt x="-16476" y="88708"/>
                    <a:pt x="8669" y="45216"/>
                  </a:cubicBezTo>
                  <a:cubicBezTo>
                    <a:pt x="33776" y="1723"/>
                    <a:pt x="89418" y="-13159"/>
                    <a:pt x="132918" y="11971"/>
                  </a:cubicBezTo>
                  <a:cubicBezTo>
                    <a:pt x="176382" y="37090"/>
                    <a:pt x="191254" y="92681"/>
                    <a:pt x="166181" y="136170"/>
                  </a:cubicBezTo>
                  <a:cubicBezTo>
                    <a:pt x="141072" y="179681"/>
                    <a:pt x="85467" y="194602"/>
                    <a:pt x="41967" y="169501"/>
                  </a:cubicBezTo>
                  <a:cubicBezTo>
                    <a:pt x="41930" y="169490"/>
                    <a:pt x="41895" y="169479"/>
                    <a:pt x="41895" y="169469"/>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Shape 88">
              <a:extLst>
                <a:ext uri="{FF2B5EF4-FFF2-40B4-BE49-F238E27FC236}">
                  <a16:creationId xmlns:a16="http://schemas.microsoft.com/office/drawing/2014/main" id="{B6B06226-626D-662D-BA31-E1674537B8AD}"/>
                </a:ext>
              </a:extLst>
            </p:cNvPr>
            <p:cNvSpPr/>
            <p:nvPr/>
          </p:nvSpPr>
          <p:spPr>
            <a:xfrm flipH="1">
              <a:off x="12186017" y="325320"/>
              <a:ext cx="1131964" cy="928761"/>
            </a:xfrm>
            <a:custGeom>
              <a:avLst/>
              <a:gdLst>
                <a:gd name="connsiteX0" fmla="*/ 1131966 w 1131965"/>
                <a:gd name="connsiteY0" fmla="*/ 326770 h 928762"/>
                <a:gd name="connsiteX1" fmla="*/ 1131966 w 1131965"/>
                <a:gd name="connsiteY1" fmla="*/ 928763 h 928762"/>
                <a:gd name="connsiteX2" fmla="*/ 1121513 w 1131965"/>
                <a:gd name="connsiteY2" fmla="*/ 928763 h 928762"/>
                <a:gd name="connsiteX3" fmla="*/ 1121513 w 1131965"/>
                <a:gd name="connsiteY3" fmla="*/ 332804 h 928762"/>
                <a:gd name="connsiteX4" fmla="*/ 565965 w 1131965"/>
                <a:gd name="connsiteY4" fmla="*/ 12069 h 928762"/>
                <a:gd name="connsiteX5" fmla="*/ 10453 w 1131965"/>
                <a:gd name="connsiteY5" fmla="*/ 332804 h 928762"/>
                <a:gd name="connsiteX6" fmla="*/ 10453 w 1131965"/>
                <a:gd name="connsiteY6" fmla="*/ 623689 h 928762"/>
                <a:gd name="connsiteX7" fmla="*/ 0 w 1131965"/>
                <a:gd name="connsiteY7" fmla="*/ 623689 h 928762"/>
                <a:gd name="connsiteX8" fmla="*/ 0 w 1131965"/>
                <a:gd name="connsiteY8" fmla="*/ 326770 h 928762"/>
                <a:gd name="connsiteX9" fmla="*/ 565965 w 1131965"/>
                <a:gd name="connsiteY9" fmla="*/ 0 h 928762"/>
                <a:gd name="connsiteX10" fmla="*/ 1131966 w 1131965"/>
                <a:gd name="connsiteY10" fmla="*/ 326770 h 92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1965" h="928762">
                  <a:moveTo>
                    <a:pt x="1131966" y="326770"/>
                  </a:moveTo>
                  <a:lnTo>
                    <a:pt x="1131966" y="928763"/>
                  </a:lnTo>
                  <a:lnTo>
                    <a:pt x="1121513" y="928763"/>
                  </a:lnTo>
                  <a:lnTo>
                    <a:pt x="1121513" y="332804"/>
                  </a:lnTo>
                  <a:lnTo>
                    <a:pt x="565965" y="12069"/>
                  </a:lnTo>
                  <a:lnTo>
                    <a:pt x="10453" y="332804"/>
                  </a:lnTo>
                  <a:lnTo>
                    <a:pt x="10453" y="623689"/>
                  </a:lnTo>
                  <a:lnTo>
                    <a:pt x="0" y="623689"/>
                  </a:lnTo>
                  <a:lnTo>
                    <a:pt x="0" y="326770"/>
                  </a:lnTo>
                  <a:lnTo>
                    <a:pt x="565965" y="0"/>
                  </a:lnTo>
                  <a:lnTo>
                    <a:pt x="1131966" y="326770"/>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0" name="Freeform: Shape 89">
              <a:extLst>
                <a:ext uri="{FF2B5EF4-FFF2-40B4-BE49-F238E27FC236}">
                  <a16:creationId xmlns:a16="http://schemas.microsoft.com/office/drawing/2014/main" id="{11D4F044-1889-1F91-DED6-A9EF2CE53129}"/>
                </a:ext>
              </a:extLst>
            </p:cNvPr>
            <p:cNvSpPr/>
            <p:nvPr/>
          </p:nvSpPr>
          <p:spPr>
            <a:xfrm flipH="1">
              <a:off x="13281342" y="915997"/>
              <a:ext cx="62861" cy="62861"/>
            </a:xfrm>
            <a:custGeom>
              <a:avLst/>
              <a:gdLst>
                <a:gd name="connsiteX0" fmla="*/ 59301 w 62861"/>
                <a:gd name="connsiteY0" fmla="*/ 31185 h 62861"/>
                <a:gd name="connsiteX1" fmla="*/ 27870 w 62861"/>
                <a:gd name="connsiteY1" fmla="*/ 62616 h 62861"/>
                <a:gd name="connsiteX2" fmla="*/ -3560 w 62861"/>
                <a:gd name="connsiteY2" fmla="*/ 31185 h 62861"/>
                <a:gd name="connsiteX3" fmla="*/ 27870 w 62861"/>
                <a:gd name="connsiteY3" fmla="*/ -245 h 62861"/>
                <a:gd name="connsiteX4" fmla="*/ 59301 w 62861"/>
                <a:gd name="connsiteY4" fmla="*/ 31185 h 6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61" h="62861">
                  <a:moveTo>
                    <a:pt x="59301" y="31185"/>
                  </a:moveTo>
                  <a:cubicBezTo>
                    <a:pt x="59301" y="48542"/>
                    <a:pt x="45220" y="62616"/>
                    <a:pt x="27870" y="62616"/>
                  </a:cubicBezTo>
                  <a:cubicBezTo>
                    <a:pt x="10521" y="62616"/>
                    <a:pt x="-3560" y="48542"/>
                    <a:pt x="-3560" y="31185"/>
                  </a:cubicBezTo>
                  <a:cubicBezTo>
                    <a:pt x="-3560" y="13828"/>
                    <a:pt x="10521" y="-245"/>
                    <a:pt x="27870" y="-245"/>
                  </a:cubicBezTo>
                  <a:cubicBezTo>
                    <a:pt x="45220" y="-245"/>
                    <a:pt x="59301" y="13828"/>
                    <a:pt x="59301" y="31185"/>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1" name="Freeform: Shape 90">
              <a:extLst>
                <a:ext uri="{FF2B5EF4-FFF2-40B4-BE49-F238E27FC236}">
                  <a16:creationId xmlns:a16="http://schemas.microsoft.com/office/drawing/2014/main" id="{96B07196-5AB5-84D1-0BB6-937FC75FBC9E}"/>
                </a:ext>
              </a:extLst>
            </p:cNvPr>
            <p:cNvSpPr/>
            <p:nvPr/>
          </p:nvSpPr>
          <p:spPr>
            <a:xfrm flipH="1">
              <a:off x="12140182" y="1200453"/>
              <a:ext cx="102158" cy="102158"/>
            </a:xfrm>
            <a:custGeom>
              <a:avLst/>
              <a:gdLst>
                <a:gd name="connsiteX0" fmla="*/ -3560 w 102158"/>
                <a:gd name="connsiteY0" fmla="*/ 50834 h 102158"/>
                <a:gd name="connsiteX1" fmla="*/ 47519 w 102158"/>
                <a:gd name="connsiteY1" fmla="*/ 101913 h 102158"/>
                <a:gd name="connsiteX2" fmla="*/ 98599 w 102158"/>
                <a:gd name="connsiteY2" fmla="*/ 50834 h 102158"/>
                <a:gd name="connsiteX3" fmla="*/ 47519 w 102158"/>
                <a:gd name="connsiteY3" fmla="*/ -245 h 102158"/>
                <a:gd name="connsiteX4" fmla="*/ -3560 w 102158"/>
                <a:gd name="connsiteY4" fmla="*/ 50834 h 10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58" h="102158">
                  <a:moveTo>
                    <a:pt x="-3560" y="50834"/>
                  </a:moveTo>
                  <a:cubicBezTo>
                    <a:pt x="-3560" y="79046"/>
                    <a:pt x="19322" y="101913"/>
                    <a:pt x="47519" y="101913"/>
                  </a:cubicBezTo>
                  <a:cubicBezTo>
                    <a:pt x="75717" y="101913"/>
                    <a:pt x="98599" y="79042"/>
                    <a:pt x="98599" y="50834"/>
                  </a:cubicBezTo>
                  <a:cubicBezTo>
                    <a:pt x="98599" y="22625"/>
                    <a:pt x="75717" y="-245"/>
                    <a:pt x="47519" y="-245"/>
                  </a:cubicBezTo>
                  <a:cubicBezTo>
                    <a:pt x="19322" y="-245"/>
                    <a:pt x="-3560" y="22625"/>
                    <a:pt x="-3560" y="50834"/>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Shape 91">
              <a:extLst>
                <a:ext uri="{FF2B5EF4-FFF2-40B4-BE49-F238E27FC236}">
                  <a16:creationId xmlns:a16="http://schemas.microsoft.com/office/drawing/2014/main" id="{0C717ADA-1427-784C-0F0C-A287E4A76494}"/>
                </a:ext>
              </a:extLst>
            </p:cNvPr>
            <p:cNvSpPr/>
            <p:nvPr/>
          </p:nvSpPr>
          <p:spPr>
            <a:xfrm flipH="1">
              <a:off x="5993989" y="4546563"/>
              <a:ext cx="880735" cy="556985"/>
            </a:xfrm>
            <a:custGeom>
              <a:avLst/>
              <a:gdLst>
                <a:gd name="connsiteX0" fmla="*/ 880737 w 880736"/>
                <a:gd name="connsiteY0" fmla="*/ 326770 h 556984"/>
                <a:gd name="connsiteX1" fmla="*/ 880737 w 880736"/>
                <a:gd name="connsiteY1" fmla="*/ 556985 h 556984"/>
                <a:gd name="connsiteX2" fmla="*/ 870284 w 880736"/>
                <a:gd name="connsiteY2" fmla="*/ 556985 h 556984"/>
                <a:gd name="connsiteX3" fmla="*/ 870284 w 880736"/>
                <a:gd name="connsiteY3" fmla="*/ 332804 h 556984"/>
                <a:gd name="connsiteX4" fmla="*/ 314736 w 880736"/>
                <a:gd name="connsiteY4" fmla="*/ 12069 h 556984"/>
                <a:gd name="connsiteX5" fmla="*/ 5208 w 880736"/>
                <a:gd name="connsiteY5" fmla="*/ 190774 h 556984"/>
                <a:gd name="connsiteX6" fmla="*/ 0 w 880736"/>
                <a:gd name="connsiteY6" fmla="*/ 181722 h 556984"/>
                <a:gd name="connsiteX7" fmla="*/ 314736 w 880736"/>
                <a:gd name="connsiteY7" fmla="*/ 0 h 556984"/>
                <a:gd name="connsiteX8" fmla="*/ 880737 w 880736"/>
                <a:gd name="connsiteY8" fmla="*/ 326770 h 556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0736" h="556984">
                  <a:moveTo>
                    <a:pt x="880737" y="326770"/>
                  </a:moveTo>
                  <a:lnTo>
                    <a:pt x="880737" y="556985"/>
                  </a:lnTo>
                  <a:lnTo>
                    <a:pt x="870284" y="556985"/>
                  </a:lnTo>
                  <a:lnTo>
                    <a:pt x="870284" y="332804"/>
                  </a:lnTo>
                  <a:lnTo>
                    <a:pt x="314736" y="12069"/>
                  </a:lnTo>
                  <a:lnTo>
                    <a:pt x="5208" y="190774"/>
                  </a:lnTo>
                  <a:lnTo>
                    <a:pt x="0" y="181722"/>
                  </a:lnTo>
                  <a:lnTo>
                    <a:pt x="314736" y="0"/>
                  </a:lnTo>
                  <a:lnTo>
                    <a:pt x="880737" y="326770"/>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3" name="Freeform: Shape 92">
              <a:extLst>
                <a:ext uri="{FF2B5EF4-FFF2-40B4-BE49-F238E27FC236}">
                  <a16:creationId xmlns:a16="http://schemas.microsoft.com/office/drawing/2014/main" id="{3D65E2A9-F3EC-6328-06ED-A55AADEA8274}"/>
                </a:ext>
              </a:extLst>
            </p:cNvPr>
            <p:cNvSpPr/>
            <p:nvPr/>
          </p:nvSpPr>
          <p:spPr>
            <a:xfrm flipH="1">
              <a:off x="6822925" y="4684459"/>
              <a:ext cx="94275" cy="94277"/>
            </a:xfrm>
            <a:custGeom>
              <a:avLst/>
              <a:gdLst>
                <a:gd name="connsiteX0" fmla="*/ 67114 w 94275"/>
                <a:gd name="connsiteY0" fmla="*/ 87728 h 94277"/>
                <a:gd name="connsiteX1" fmla="*/ 2745 w 94275"/>
                <a:gd name="connsiteY1" fmla="*/ 70414 h 94277"/>
                <a:gd name="connsiteX2" fmla="*/ 20058 w 94275"/>
                <a:gd name="connsiteY2" fmla="*/ 6044 h 94277"/>
                <a:gd name="connsiteX3" fmla="*/ 84392 w 94275"/>
                <a:gd name="connsiteY3" fmla="*/ 23322 h 94277"/>
                <a:gd name="connsiteX4" fmla="*/ 67149 w 94275"/>
                <a:gd name="connsiteY4" fmla="*/ 87692 h 94277"/>
                <a:gd name="connsiteX5" fmla="*/ 67114 w 94275"/>
                <a:gd name="connsiteY5" fmla="*/ 87728 h 9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275" h="94277">
                  <a:moveTo>
                    <a:pt x="67114" y="87728"/>
                  </a:moveTo>
                  <a:cubicBezTo>
                    <a:pt x="44555" y="100731"/>
                    <a:pt x="15747" y="92973"/>
                    <a:pt x="2745" y="70414"/>
                  </a:cubicBezTo>
                  <a:cubicBezTo>
                    <a:pt x="-10259" y="47892"/>
                    <a:pt x="-2500" y="19048"/>
                    <a:pt x="20058" y="6044"/>
                  </a:cubicBezTo>
                  <a:cubicBezTo>
                    <a:pt x="42580" y="-6923"/>
                    <a:pt x="71388" y="800"/>
                    <a:pt x="84392" y="23322"/>
                  </a:cubicBezTo>
                  <a:cubicBezTo>
                    <a:pt x="97396" y="45845"/>
                    <a:pt x="89708" y="74689"/>
                    <a:pt x="67149" y="87692"/>
                  </a:cubicBezTo>
                  <a:cubicBezTo>
                    <a:pt x="67149" y="87728"/>
                    <a:pt x="67114" y="87728"/>
                    <a:pt x="67114" y="87728"/>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4" name="Freeform: Shape 93">
              <a:extLst>
                <a:ext uri="{FF2B5EF4-FFF2-40B4-BE49-F238E27FC236}">
                  <a16:creationId xmlns:a16="http://schemas.microsoft.com/office/drawing/2014/main" id="{7A721007-7670-8C68-94B7-38C85AFD0DAC}"/>
                </a:ext>
              </a:extLst>
            </p:cNvPr>
            <p:cNvSpPr/>
            <p:nvPr/>
          </p:nvSpPr>
          <p:spPr>
            <a:xfrm flipH="1">
              <a:off x="5963817" y="5066407"/>
              <a:ext cx="70761" cy="70763"/>
            </a:xfrm>
            <a:custGeom>
              <a:avLst/>
              <a:gdLst>
                <a:gd name="connsiteX0" fmla="*/ -3560 w 70762"/>
                <a:gd name="connsiteY0" fmla="*/ 35100 h 70763"/>
                <a:gd name="connsiteX1" fmla="*/ 31785 w 70762"/>
                <a:gd name="connsiteY1" fmla="*/ 70518 h 70763"/>
                <a:gd name="connsiteX2" fmla="*/ 67202 w 70762"/>
                <a:gd name="connsiteY2" fmla="*/ 35172 h 70763"/>
                <a:gd name="connsiteX3" fmla="*/ 31857 w 70762"/>
                <a:gd name="connsiteY3" fmla="*/ -245 h 70763"/>
                <a:gd name="connsiteX4" fmla="*/ 31785 w 70762"/>
                <a:gd name="connsiteY4" fmla="*/ -245 h 70763"/>
                <a:gd name="connsiteX5" fmla="*/ -3560 w 70762"/>
                <a:gd name="connsiteY5" fmla="*/ 35100 h 7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762" h="70763">
                  <a:moveTo>
                    <a:pt x="-3560" y="35100"/>
                  </a:moveTo>
                  <a:cubicBezTo>
                    <a:pt x="-3597" y="54641"/>
                    <a:pt x="12245" y="70482"/>
                    <a:pt x="31785" y="70518"/>
                  </a:cubicBezTo>
                  <a:cubicBezTo>
                    <a:pt x="51326" y="70554"/>
                    <a:pt x="67167" y="54713"/>
                    <a:pt x="67202" y="35172"/>
                  </a:cubicBezTo>
                  <a:cubicBezTo>
                    <a:pt x="67239" y="15631"/>
                    <a:pt x="51398" y="-210"/>
                    <a:pt x="31857" y="-245"/>
                  </a:cubicBezTo>
                  <a:cubicBezTo>
                    <a:pt x="31822" y="-245"/>
                    <a:pt x="31822" y="-245"/>
                    <a:pt x="31785" y="-245"/>
                  </a:cubicBezTo>
                  <a:cubicBezTo>
                    <a:pt x="12280" y="-210"/>
                    <a:pt x="-3525" y="15595"/>
                    <a:pt x="-3560" y="35100"/>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5" name="Freeform: Shape 94">
              <a:extLst>
                <a:ext uri="{FF2B5EF4-FFF2-40B4-BE49-F238E27FC236}">
                  <a16:creationId xmlns:a16="http://schemas.microsoft.com/office/drawing/2014/main" id="{A7CB9B75-246F-F193-7977-12088E3E4704}"/>
                </a:ext>
              </a:extLst>
            </p:cNvPr>
            <p:cNvSpPr/>
            <p:nvPr/>
          </p:nvSpPr>
          <p:spPr>
            <a:xfrm flipH="1">
              <a:off x="6009110" y="3600415"/>
              <a:ext cx="568623" cy="975783"/>
            </a:xfrm>
            <a:custGeom>
              <a:avLst/>
              <a:gdLst>
                <a:gd name="connsiteX0" fmla="*/ 568623 w 568623"/>
                <a:gd name="connsiteY0" fmla="*/ 966767 h 975783"/>
                <a:gd name="connsiteX1" fmla="*/ 563378 w 568623"/>
                <a:gd name="connsiteY1" fmla="*/ 975783 h 975783"/>
                <a:gd name="connsiteX2" fmla="*/ 0 w 568623"/>
                <a:gd name="connsiteY2" fmla="*/ 650522 h 975783"/>
                <a:gd name="connsiteX3" fmla="*/ 0 w 568623"/>
                <a:gd name="connsiteY3" fmla="*/ 0 h 975783"/>
                <a:gd name="connsiteX4" fmla="*/ 10453 w 568623"/>
                <a:gd name="connsiteY4" fmla="*/ 0 h 975783"/>
                <a:gd name="connsiteX5" fmla="*/ 10453 w 568623"/>
                <a:gd name="connsiteY5" fmla="*/ 644488 h 975783"/>
                <a:gd name="connsiteX6" fmla="*/ 568623 w 568623"/>
                <a:gd name="connsiteY6" fmla="*/ 966767 h 975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623" h="975783">
                  <a:moveTo>
                    <a:pt x="568623" y="966767"/>
                  </a:moveTo>
                  <a:lnTo>
                    <a:pt x="563378" y="975783"/>
                  </a:lnTo>
                  <a:lnTo>
                    <a:pt x="0" y="650522"/>
                  </a:lnTo>
                  <a:lnTo>
                    <a:pt x="0" y="0"/>
                  </a:lnTo>
                  <a:lnTo>
                    <a:pt x="10453" y="0"/>
                  </a:lnTo>
                  <a:lnTo>
                    <a:pt x="10453" y="644488"/>
                  </a:lnTo>
                  <a:lnTo>
                    <a:pt x="568623" y="966767"/>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6" name="Freeform: Shape 95">
              <a:extLst>
                <a:ext uri="{FF2B5EF4-FFF2-40B4-BE49-F238E27FC236}">
                  <a16:creationId xmlns:a16="http://schemas.microsoft.com/office/drawing/2014/main" id="{252C42F6-0266-42FB-93BE-BF9C098C7482}"/>
                </a:ext>
              </a:extLst>
            </p:cNvPr>
            <p:cNvSpPr/>
            <p:nvPr/>
          </p:nvSpPr>
          <p:spPr>
            <a:xfrm flipH="1">
              <a:off x="5874554" y="1365256"/>
              <a:ext cx="1131964" cy="928798"/>
            </a:xfrm>
            <a:custGeom>
              <a:avLst/>
              <a:gdLst>
                <a:gd name="connsiteX0" fmla="*/ 1131966 w 1131965"/>
                <a:gd name="connsiteY0" fmla="*/ 326770 h 928798"/>
                <a:gd name="connsiteX1" fmla="*/ 1131966 w 1131965"/>
                <a:gd name="connsiteY1" fmla="*/ 928799 h 928798"/>
                <a:gd name="connsiteX2" fmla="*/ 1121513 w 1131965"/>
                <a:gd name="connsiteY2" fmla="*/ 928799 h 928798"/>
                <a:gd name="connsiteX3" fmla="*/ 1121513 w 1131965"/>
                <a:gd name="connsiteY3" fmla="*/ 332804 h 928798"/>
                <a:gd name="connsiteX4" fmla="*/ 565965 w 1131965"/>
                <a:gd name="connsiteY4" fmla="*/ 12069 h 928798"/>
                <a:gd name="connsiteX5" fmla="*/ 10453 w 1131965"/>
                <a:gd name="connsiteY5" fmla="*/ 332804 h 928798"/>
                <a:gd name="connsiteX6" fmla="*/ 10453 w 1131965"/>
                <a:gd name="connsiteY6" fmla="*/ 623689 h 928798"/>
                <a:gd name="connsiteX7" fmla="*/ 0 w 1131965"/>
                <a:gd name="connsiteY7" fmla="*/ 623689 h 928798"/>
                <a:gd name="connsiteX8" fmla="*/ 0 w 1131965"/>
                <a:gd name="connsiteY8" fmla="*/ 326770 h 928798"/>
                <a:gd name="connsiteX9" fmla="*/ 2586 w 1131965"/>
                <a:gd name="connsiteY9" fmla="*/ 325261 h 928798"/>
                <a:gd name="connsiteX10" fmla="*/ 565965 w 1131965"/>
                <a:gd name="connsiteY10" fmla="*/ 0 h 928798"/>
                <a:gd name="connsiteX11" fmla="*/ 1131966 w 1131965"/>
                <a:gd name="connsiteY11" fmla="*/ 326770 h 92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1965" h="928798">
                  <a:moveTo>
                    <a:pt x="1131966" y="326770"/>
                  </a:moveTo>
                  <a:lnTo>
                    <a:pt x="1131966" y="928799"/>
                  </a:lnTo>
                  <a:lnTo>
                    <a:pt x="1121513" y="928799"/>
                  </a:lnTo>
                  <a:lnTo>
                    <a:pt x="1121513" y="332804"/>
                  </a:lnTo>
                  <a:lnTo>
                    <a:pt x="565965" y="12069"/>
                  </a:lnTo>
                  <a:lnTo>
                    <a:pt x="10453" y="332804"/>
                  </a:lnTo>
                  <a:lnTo>
                    <a:pt x="10453" y="623689"/>
                  </a:lnTo>
                  <a:lnTo>
                    <a:pt x="0" y="623689"/>
                  </a:lnTo>
                  <a:lnTo>
                    <a:pt x="0" y="326770"/>
                  </a:lnTo>
                  <a:lnTo>
                    <a:pt x="2586" y="325261"/>
                  </a:lnTo>
                  <a:lnTo>
                    <a:pt x="565965" y="0"/>
                  </a:lnTo>
                  <a:lnTo>
                    <a:pt x="1131966" y="326770"/>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7" name="Freeform: Shape 96">
              <a:extLst>
                <a:ext uri="{FF2B5EF4-FFF2-40B4-BE49-F238E27FC236}">
                  <a16:creationId xmlns:a16="http://schemas.microsoft.com/office/drawing/2014/main" id="{6449FBF7-F6E4-7E1E-9051-0B01C7BC2F11}"/>
                </a:ext>
              </a:extLst>
            </p:cNvPr>
            <p:cNvSpPr/>
            <p:nvPr/>
          </p:nvSpPr>
          <p:spPr>
            <a:xfrm flipH="1">
              <a:off x="6969877" y="1955935"/>
              <a:ext cx="62861" cy="62861"/>
            </a:xfrm>
            <a:custGeom>
              <a:avLst/>
              <a:gdLst>
                <a:gd name="connsiteX0" fmla="*/ 59301 w 62861"/>
                <a:gd name="connsiteY0" fmla="*/ 31185 h 62861"/>
                <a:gd name="connsiteX1" fmla="*/ 27870 w 62861"/>
                <a:gd name="connsiteY1" fmla="*/ 62616 h 62861"/>
                <a:gd name="connsiteX2" fmla="*/ -3560 w 62861"/>
                <a:gd name="connsiteY2" fmla="*/ 31185 h 62861"/>
                <a:gd name="connsiteX3" fmla="*/ 27870 w 62861"/>
                <a:gd name="connsiteY3" fmla="*/ -245 h 62861"/>
                <a:gd name="connsiteX4" fmla="*/ 27977 w 62861"/>
                <a:gd name="connsiteY4" fmla="*/ -245 h 62861"/>
                <a:gd name="connsiteX5" fmla="*/ 59301 w 62861"/>
                <a:gd name="connsiteY5" fmla="*/ 31185 h 6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61" h="62861">
                  <a:moveTo>
                    <a:pt x="59301" y="31185"/>
                  </a:moveTo>
                  <a:cubicBezTo>
                    <a:pt x="59301" y="48546"/>
                    <a:pt x="45219" y="62616"/>
                    <a:pt x="27870" y="62616"/>
                  </a:cubicBezTo>
                  <a:cubicBezTo>
                    <a:pt x="10520" y="62616"/>
                    <a:pt x="-3560" y="48542"/>
                    <a:pt x="-3560" y="31185"/>
                  </a:cubicBezTo>
                  <a:cubicBezTo>
                    <a:pt x="-3560" y="13825"/>
                    <a:pt x="10520" y="-245"/>
                    <a:pt x="27870" y="-245"/>
                  </a:cubicBezTo>
                  <a:cubicBezTo>
                    <a:pt x="27905" y="-245"/>
                    <a:pt x="27942" y="-245"/>
                    <a:pt x="27977" y="-245"/>
                  </a:cubicBezTo>
                  <a:cubicBezTo>
                    <a:pt x="45290" y="-184"/>
                    <a:pt x="59301" y="13868"/>
                    <a:pt x="59301" y="31185"/>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8" name="Freeform: Shape 97">
              <a:extLst>
                <a:ext uri="{FF2B5EF4-FFF2-40B4-BE49-F238E27FC236}">
                  <a16:creationId xmlns:a16="http://schemas.microsoft.com/office/drawing/2014/main" id="{C3601054-F0A7-1C39-4AB4-659123A53993}"/>
                </a:ext>
              </a:extLst>
            </p:cNvPr>
            <p:cNvSpPr/>
            <p:nvPr/>
          </p:nvSpPr>
          <p:spPr>
            <a:xfrm flipH="1">
              <a:off x="5828611" y="2240389"/>
              <a:ext cx="102158" cy="102158"/>
            </a:xfrm>
            <a:custGeom>
              <a:avLst/>
              <a:gdLst>
                <a:gd name="connsiteX0" fmla="*/ -3560 w 102157"/>
                <a:gd name="connsiteY0" fmla="*/ 50834 h 102158"/>
                <a:gd name="connsiteX1" fmla="*/ 47520 w 102157"/>
                <a:gd name="connsiteY1" fmla="*/ 101913 h 102158"/>
                <a:gd name="connsiteX2" fmla="*/ 98598 w 102157"/>
                <a:gd name="connsiteY2" fmla="*/ 50834 h 102158"/>
                <a:gd name="connsiteX3" fmla="*/ 47520 w 102157"/>
                <a:gd name="connsiteY3" fmla="*/ -245 h 102158"/>
                <a:gd name="connsiteX4" fmla="*/ -3560 w 102157"/>
                <a:gd name="connsiteY4" fmla="*/ 50834 h 10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57" h="102158">
                  <a:moveTo>
                    <a:pt x="-3560" y="50834"/>
                  </a:moveTo>
                  <a:cubicBezTo>
                    <a:pt x="-3560" y="79042"/>
                    <a:pt x="19322" y="101913"/>
                    <a:pt x="47520" y="101913"/>
                  </a:cubicBezTo>
                  <a:cubicBezTo>
                    <a:pt x="75716" y="101913"/>
                    <a:pt x="98598" y="79042"/>
                    <a:pt x="98598" y="50834"/>
                  </a:cubicBezTo>
                  <a:cubicBezTo>
                    <a:pt x="98598" y="22622"/>
                    <a:pt x="75716" y="-245"/>
                    <a:pt x="47520" y="-245"/>
                  </a:cubicBezTo>
                  <a:cubicBezTo>
                    <a:pt x="19322" y="-245"/>
                    <a:pt x="-3560" y="22625"/>
                    <a:pt x="-3560" y="50834"/>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9" name="Freeform: Shape 98">
              <a:extLst>
                <a:ext uri="{FF2B5EF4-FFF2-40B4-BE49-F238E27FC236}">
                  <a16:creationId xmlns:a16="http://schemas.microsoft.com/office/drawing/2014/main" id="{FD36841E-B92F-A6C2-5364-B818D20F8FC9}"/>
                </a:ext>
              </a:extLst>
            </p:cNvPr>
            <p:cNvSpPr/>
            <p:nvPr/>
          </p:nvSpPr>
          <p:spPr>
            <a:xfrm rot="1862398" flipH="1">
              <a:off x="6601986" y="1049182"/>
              <a:ext cx="245158" cy="10236"/>
            </a:xfrm>
            <a:custGeom>
              <a:avLst/>
              <a:gdLst>
                <a:gd name="connsiteX0" fmla="*/ -3560 w 245158"/>
                <a:gd name="connsiteY0" fmla="*/ -245 h 10237"/>
                <a:gd name="connsiteX1" fmla="*/ 241598 w 245158"/>
                <a:gd name="connsiteY1" fmla="*/ -245 h 10237"/>
                <a:gd name="connsiteX2" fmla="*/ 241598 w 245158"/>
                <a:gd name="connsiteY2" fmla="*/ 9992 h 10237"/>
                <a:gd name="connsiteX3" fmla="*/ -3560 w 245158"/>
                <a:gd name="connsiteY3" fmla="*/ 9992 h 10237"/>
              </a:gdLst>
              <a:ahLst/>
              <a:cxnLst>
                <a:cxn ang="0">
                  <a:pos x="connsiteX0" y="connsiteY0"/>
                </a:cxn>
                <a:cxn ang="0">
                  <a:pos x="connsiteX1" y="connsiteY1"/>
                </a:cxn>
                <a:cxn ang="0">
                  <a:pos x="connsiteX2" y="connsiteY2"/>
                </a:cxn>
                <a:cxn ang="0">
                  <a:pos x="connsiteX3" y="connsiteY3"/>
                </a:cxn>
              </a:cxnLst>
              <a:rect l="l" t="t" r="r" b="b"/>
              <a:pathLst>
                <a:path w="245158" h="10237">
                  <a:moveTo>
                    <a:pt x="-3560" y="-245"/>
                  </a:moveTo>
                  <a:lnTo>
                    <a:pt x="241598" y="-245"/>
                  </a:lnTo>
                  <a:lnTo>
                    <a:pt x="241598" y="9992"/>
                  </a:lnTo>
                  <a:lnTo>
                    <a:pt x="-3560" y="9992"/>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0" name="Freeform: Shape 99">
              <a:extLst>
                <a:ext uri="{FF2B5EF4-FFF2-40B4-BE49-F238E27FC236}">
                  <a16:creationId xmlns:a16="http://schemas.microsoft.com/office/drawing/2014/main" id="{C2570517-EEB5-5E4A-171D-35B75E73983E}"/>
                </a:ext>
              </a:extLst>
            </p:cNvPr>
            <p:cNvSpPr/>
            <p:nvPr/>
          </p:nvSpPr>
          <p:spPr>
            <a:xfrm flipH="1">
              <a:off x="6572456" y="941574"/>
              <a:ext cx="98139" cy="102060"/>
            </a:xfrm>
            <a:custGeom>
              <a:avLst/>
              <a:gdLst>
                <a:gd name="connsiteX0" fmla="*/ 21015 w 98139"/>
                <a:gd name="connsiteY0" fmla="*/ 6544 h 102059"/>
                <a:gd name="connsiteX1" fmla="*/ 86786 w 98139"/>
                <a:gd name="connsiteY1" fmla="*/ 23132 h 102059"/>
                <a:gd name="connsiteX2" fmla="*/ 87972 w 98139"/>
                <a:gd name="connsiteY2" fmla="*/ 25259 h 102059"/>
                <a:gd name="connsiteX3" fmla="*/ 70012 w 98139"/>
                <a:gd name="connsiteY3" fmla="*/ 95016 h 102059"/>
                <a:gd name="connsiteX4" fmla="*/ 4241 w 98139"/>
                <a:gd name="connsiteY4" fmla="*/ 78453 h 102059"/>
                <a:gd name="connsiteX5" fmla="*/ 3055 w 98139"/>
                <a:gd name="connsiteY5" fmla="*/ 76338 h 102059"/>
                <a:gd name="connsiteX6" fmla="*/ 21015 w 98139"/>
                <a:gd name="connsiteY6" fmla="*/ 6544 h 1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39" h="102059">
                  <a:moveTo>
                    <a:pt x="21015" y="6544"/>
                  </a:moveTo>
                  <a:cubicBezTo>
                    <a:pt x="43753" y="-7034"/>
                    <a:pt x="73209" y="391"/>
                    <a:pt x="86786" y="23132"/>
                  </a:cubicBezTo>
                  <a:cubicBezTo>
                    <a:pt x="87181" y="23829"/>
                    <a:pt x="87577" y="24540"/>
                    <a:pt x="87972" y="25259"/>
                  </a:cubicBezTo>
                  <a:cubicBezTo>
                    <a:pt x="101514" y="49584"/>
                    <a:pt x="93611" y="80260"/>
                    <a:pt x="70012" y="95016"/>
                  </a:cubicBezTo>
                  <a:cubicBezTo>
                    <a:pt x="47274" y="108601"/>
                    <a:pt x="17820" y="101187"/>
                    <a:pt x="4241" y="78453"/>
                  </a:cubicBezTo>
                  <a:cubicBezTo>
                    <a:pt x="3846" y="77757"/>
                    <a:pt x="3415" y="77052"/>
                    <a:pt x="3055" y="76338"/>
                  </a:cubicBezTo>
                  <a:cubicBezTo>
                    <a:pt x="-10487" y="52001"/>
                    <a:pt x="-2621" y="21314"/>
                    <a:pt x="21015" y="6544"/>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1" name="Freeform: Shape 100">
              <a:extLst>
                <a:ext uri="{FF2B5EF4-FFF2-40B4-BE49-F238E27FC236}">
                  <a16:creationId xmlns:a16="http://schemas.microsoft.com/office/drawing/2014/main" id="{734F9E92-FA07-6432-E4F9-71FB460C51A6}"/>
                </a:ext>
              </a:extLst>
            </p:cNvPr>
            <p:cNvSpPr/>
            <p:nvPr/>
          </p:nvSpPr>
          <p:spPr>
            <a:xfrm flipH="1">
              <a:off x="6805765" y="1093598"/>
              <a:ext cx="45426" cy="47251"/>
            </a:xfrm>
            <a:custGeom>
              <a:avLst/>
              <a:gdLst>
                <a:gd name="connsiteX0" fmla="*/ 7821 w 45425"/>
                <a:gd name="connsiteY0" fmla="*/ 2907 h 47251"/>
                <a:gd name="connsiteX1" fmla="*/ -442 w 45425"/>
                <a:gd name="connsiteY1" fmla="*/ 35235 h 47251"/>
                <a:gd name="connsiteX2" fmla="*/ 29409 w 45425"/>
                <a:gd name="connsiteY2" fmla="*/ 44441 h 47251"/>
                <a:gd name="connsiteX3" fmla="*/ 30450 w 45425"/>
                <a:gd name="connsiteY3" fmla="*/ 43856 h 47251"/>
                <a:gd name="connsiteX4" fmla="*/ 38748 w 45425"/>
                <a:gd name="connsiteY4" fmla="*/ 11527 h 47251"/>
                <a:gd name="connsiteX5" fmla="*/ 8826 w 45425"/>
                <a:gd name="connsiteY5" fmla="*/ 2332 h 47251"/>
                <a:gd name="connsiteX6" fmla="*/ 7821 w 45425"/>
                <a:gd name="connsiteY6" fmla="*/ 2907 h 4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425" h="47251">
                  <a:moveTo>
                    <a:pt x="7821" y="2907"/>
                  </a:moveTo>
                  <a:cubicBezTo>
                    <a:pt x="-3136" y="9728"/>
                    <a:pt x="-6800" y="23985"/>
                    <a:pt x="-442" y="35235"/>
                  </a:cubicBezTo>
                  <a:cubicBezTo>
                    <a:pt x="5271" y="46022"/>
                    <a:pt x="18632" y="50142"/>
                    <a:pt x="29409" y="44441"/>
                  </a:cubicBezTo>
                  <a:cubicBezTo>
                    <a:pt x="29768" y="44255"/>
                    <a:pt x="30128" y="44061"/>
                    <a:pt x="30450" y="43856"/>
                  </a:cubicBezTo>
                  <a:cubicBezTo>
                    <a:pt x="41442" y="37049"/>
                    <a:pt x="45106" y="22785"/>
                    <a:pt x="38748" y="11527"/>
                  </a:cubicBezTo>
                  <a:cubicBezTo>
                    <a:pt x="33037" y="730"/>
                    <a:pt x="19639" y="-3387"/>
                    <a:pt x="8826" y="2332"/>
                  </a:cubicBezTo>
                  <a:cubicBezTo>
                    <a:pt x="8503" y="2515"/>
                    <a:pt x="8144" y="2705"/>
                    <a:pt x="7821" y="2907"/>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2" name="Freeform: Shape 101">
              <a:extLst>
                <a:ext uri="{FF2B5EF4-FFF2-40B4-BE49-F238E27FC236}">
                  <a16:creationId xmlns:a16="http://schemas.microsoft.com/office/drawing/2014/main" id="{C8E5837D-771C-B685-4277-693B52782234}"/>
                </a:ext>
              </a:extLst>
            </p:cNvPr>
            <p:cNvSpPr/>
            <p:nvPr/>
          </p:nvSpPr>
          <p:spPr>
            <a:xfrm rot="1800001" flipH="1">
              <a:off x="11519814" y="3051137"/>
              <a:ext cx="647503" cy="10451"/>
            </a:xfrm>
            <a:custGeom>
              <a:avLst/>
              <a:gdLst>
                <a:gd name="connsiteX0" fmla="*/ -3560 w 647504"/>
                <a:gd name="connsiteY0" fmla="*/ -245 h 10452"/>
                <a:gd name="connsiteX1" fmla="*/ 643944 w 647504"/>
                <a:gd name="connsiteY1" fmla="*/ -245 h 10452"/>
                <a:gd name="connsiteX2" fmla="*/ 643944 w 647504"/>
                <a:gd name="connsiteY2" fmla="*/ 10208 h 10452"/>
                <a:gd name="connsiteX3" fmla="*/ -3560 w 647504"/>
                <a:gd name="connsiteY3" fmla="*/ 10208 h 10452"/>
              </a:gdLst>
              <a:ahLst/>
              <a:cxnLst>
                <a:cxn ang="0">
                  <a:pos x="connsiteX0" y="connsiteY0"/>
                </a:cxn>
                <a:cxn ang="0">
                  <a:pos x="connsiteX1" y="connsiteY1"/>
                </a:cxn>
                <a:cxn ang="0">
                  <a:pos x="connsiteX2" y="connsiteY2"/>
                </a:cxn>
                <a:cxn ang="0">
                  <a:pos x="connsiteX3" y="connsiteY3"/>
                </a:cxn>
              </a:cxnLst>
              <a:rect l="l" t="t" r="r" b="b"/>
              <a:pathLst>
                <a:path w="647504" h="10452">
                  <a:moveTo>
                    <a:pt x="-3560" y="-245"/>
                  </a:moveTo>
                  <a:lnTo>
                    <a:pt x="643944" y="-245"/>
                  </a:lnTo>
                  <a:lnTo>
                    <a:pt x="643944" y="10208"/>
                  </a:lnTo>
                  <a:lnTo>
                    <a:pt x="-3560" y="10208"/>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3" name="Freeform: Shape 102">
              <a:extLst>
                <a:ext uri="{FF2B5EF4-FFF2-40B4-BE49-F238E27FC236}">
                  <a16:creationId xmlns:a16="http://schemas.microsoft.com/office/drawing/2014/main" id="{BFED0941-C753-19D1-BDFC-DCCAED96D524}"/>
                </a:ext>
              </a:extLst>
            </p:cNvPr>
            <p:cNvSpPr/>
            <p:nvPr/>
          </p:nvSpPr>
          <p:spPr>
            <a:xfrm flipH="1">
              <a:off x="11786077" y="3389023"/>
              <a:ext cx="753003" cy="306329"/>
            </a:xfrm>
            <a:custGeom>
              <a:avLst/>
              <a:gdLst>
                <a:gd name="connsiteX0" fmla="*/ 753003 w 753003"/>
                <a:gd name="connsiteY0" fmla="*/ 137468 h 306330"/>
                <a:gd name="connsiteX1" fmla="*/ 747795 w 753003"/>
                <a:gd name="connsiteY1" fmla="*/ 146556 h 306330"/>
                <a:gd name="connsiteX2" fmla="*/ 514886 w 753003"/>
                <a:gd name="connsiteY2" fmla="*/ 12069 h 306330"/>
                <a:gd name="connsiteX3" fmla="*/ 5244 w 753003"/>
                <a:gd name="connsiteY3" fmla="*/ 306331 h 306330"/>
                <a:gd name="connsiteX4" fmla="*/ 0 w 753003"/>
                <a:gd name="connsiteY4" fmla="*/ 297279 h 306330"/>
                <a:gd name="connsiteX5" fmla="*/ 514886 w 753003"/>
                <a:gd name="connsiteY5" fmla="*/ 0 h 306330"/>
                <a:gd name="connsiteX6" fmla="*/ 753003 w 753003"/>
                <a:gd name="connsiteY6" fmla="*/ 137468 h 30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003" h="306330">
                  <a:moveTo>
                    <a:pt x="753003" y="137468"/>
                  </a:moveTo>
                  <a:lnTo>
                    <a:pt x="747795" y="146556"/>
                  </a:lnTo>
                  <a:lnTo>
                    <a:pt x="514886" y="12069"/>
                  </a:lnTo>
                  <a:lnTo>
                    <a:pt x="5244" y="306331"/>
                  </a:lnTo>
                  <a:lnTo>
                    <a:pt x="0" y="297279"/>
                  </a:lnTo>
                  <a:lnTo>
                    <a:pt x="514886" y="0"/>
                  </a:lnTo>
                  <a:lnTo>
                    <a:pt x="753003" y="137468"/>
                  </a:ln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4" name="Freeform: Shape 103">
              <a:extLst>
                <a:ext uri="{FF2B5EF4-FFF2-40B4-BE49-F238E27FC236}">
                  <a16:creationId xmlns:a16="http://schemas.microsoft.com/office/drawing/2014/main" id="{93F6E3B1-41A1-D578-B71C-310361F494C0}"/>
                </a:ext>
              </a:extLst>
            </p:cNvPr>
            <p:cNvSpPr/>
            <p:nvPr/>
          </p:nvSpPr>
          <p:spPr>
            <a:xfrm flipH="1">
              <a:off x="12474989" y="3630401"/>
              <a:ext cx="117900" cy="117909"/>
            </a:xfrm>
            <a:custGeom>
              <a:avLst/>
              <a:gdLst>
                <a:gd name="connsiteX0" fmla="*/ 84877 w 117901"/>
                <a:gd name="connsiteY0" fmla="*/ 109753 h 117909"/>
                <a:gd name="connsiteX1" fmla="*/ 4344 w 117901"/>
                <a:gd name="connsiteY1" fmla="*/ 88200 h 117909"/>
                <a:gd name="connsiteX2" fmla="*/ 25896 w 117901"/>
                <a:gd name="connsiteY2" fmla="*/ 7666 h 117909"/>
                <a:gd name="connsiteX3" fmla="*/ 106430 w 117901"/>
                <a:gd name="connsiteY3" fmla="*/ 29218 h 117909"/>
                <a:gd name="connsiteX4" fmla="*/ 84877 w 117901"/>
                <a:gd name="connsiteY4" fmla="*/ 109753 h 117909"/>
                <a:gd name="connsiteX5" fmla="*/ 84877 w 117901"/>
                <a:gd name="connsiteY5" fmla="*/ 109753 h 11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01" h="117909">
                  <a:moveTo>
                    <a:pt x="84877" y="109753"/>
                  </a:moveTo>
                  <a:cubicBezTo>
                    <a:pt x="56680" y="126025"/>
                    <a:pt x="20652" y="116398"/>
                    <a:pt x="4344" y="88200"/>
                  </a:cubicBezTo>
                  <a:cubicBezTo>
                    <a:pt x="-11928" y="60003"/>
                    <a:pt x="-2266" y="23938"/>
                    <a:pt x="25896" y="7666"/>
                  </a:cubicBezTo>
                  <a:cubicBezTo>
                    <a:pt x="54094" y="-8606"/>
                    <a:pt x="90158" y="1021"/>
                    <a:pt x="106430" y="29218"/>
                  </a:cubicBezTo>
                  <a:cubicBezTo>
                    <a:pt x="122702" y="57416"/>
                    <a:pt x="113075" y="93445"/>
                    <a:pt x="84877" y="109753"/>
                  </a:cubicBezTo>
                  <a:cubicBezTo>
                    <a:pt x="84877" y="109753"/>
                    <a:pt x="84877" y="109753"/>
                    <a:pt x="84877" y="109753"/>
                  </a:cubicBezTo>
                  <a:close/>
                </a:path>
              </a:pathLst>
            </a:custGeom>
            <a:grpFill/>
            <a:ln w="35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pic>
        <p:nvPicPr>
          <p:cNvPr id="8" name="Picture 7">
            <a:extLst>
              <a:ext uri="{FF2B5EF4-FFF2-40B4-BE49-F238E27FC236}">
                <a16:creationId xmlns:a16="http://schemas.microsoft.com/office/drawing/2014/main" id="{15609D39-9214-9CE9-606D-8285668CF23E}"/>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6000"/>
                    </a14:imgEffect>
                  </a14:imgLayer>
                </a14:imgProps>
              </a:ext>
              <a:ext uri="{28A0092B-C50C-407E-A947-70E740481C1C}">
                <a14:useLocalDpi xmlns:a14="http://schemas.microsoft.com/office/drawing/2010/main" val="0"/>
              </a:ext>
            </a:extLst>
          </a:blip>
          <a:srcRect l="11868" r="34608"/>
          <a:stretch>
            <a:fillRect/>
          </a:stretch>
        </p:blipFill>
        <p:spPr>
          <a:xfrm>
            <a:off x="5581183" y="5319"/>
            <a:ext cx="5890092" cy="7050560"/>
          </a:xfrm>
          <a:prstGeom prst="rect">
            <a:avLst/>
          </a:prstGeom>
        </p:spPr>
      </p:pic>
    </p:spTree>
    <p:extLst>
      <p:ext uri="{BB962C8B-B14F-4D97-AF65-F5344CB8AC3E}">
        <p14:creationId xmlns:p14="http://schemas.microsoft.com/office/powerpoint/2010/main" val="39096020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995AA-D2C5-43D0-904D-E687495031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596315C-1A6F-4347-89FA-9244F41B7FF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85854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2_Header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5CDA42-2F5A-4857-AF5A-59C799D05511}"/>
              </a:ext>
            </a:extLst>
          </p:cNvPr>
          <p:cNvGraphicFramePr>
            <a:graphicFrameLocks noChangeAspect="1"/>
          </p:cNvGraphicFramePr>
          <p:nvPr userDrawn="1">
            <p:custDataLst>
              <p:tags r:id="rId1"/>
            </p:custDataLst>
            <p:extLst>
              <p:ext uri="{D42A27DB-BD31-4B8C-83A1-F6EECF244321}">
                <p14:modId xmlns:p14="http://schemas.microsoft.com/office/powerpoint/2010/main" val="29497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B45CDA42-2F5A-4857-AF5A-59C799D055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263879CA-92EC-1165-FBD9-DA85884AB21E}"/>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0521" t="778" r="-20521" b="778"/>
          <a:stretch>
            <a:fillRect/>
          </a:stretch>
        </p:blipFill>
        <p:spPr>
          <a:xfrm flipH="1">
            <a:off x="0" y="-3313"/>
            <a:ext cx="12192000" cy="6858000"/>
          </a:xfrm>
          <a:prstGeom prst="rect">
            <a:avLst/>
          </a:prstGeom>
        </p:spPr>
      </p:pic>
      <p:sp>
        <p:nvSpPr>
          <p:cNvPr id="11" name="Rectangle 10">
            <a:extLst>
              <a:ext uri="{FF2B5EF4-FFF2-40B4-BE49-F238E27FC236}">
                <a16:creationId xmlns:a16="http://schemas.microsoft.com/office/drawing/2014/main" id="{E83FC383-FB0C-3504-444A-81E963411717}"/>
              </a:ext>
            </a:extLst>
          </p:cNvPr>
          <p:cNvSpPr/>
          <p:nvPr userDrawn="1"/>
        </p:nvSpPr>
        <p:spPr>
          <a:xfrm flipH="1">
            <a:off x="0" y="-6626"/>
            <a:ext cx="12192000" cy="6864626"/>
          </a:xfrm>
          <a:prstGeom prst="rect">
            <a:avLst/>
          </a:prstGeom>
          <a:gradFill flip="none" rotWithShape="1">
            <a:gsLst>
              <a:gs pos="0">
                <a:srgbClr val="4064E6"/>
              </a:gs>
              <a:gs pos="100000">
                <a:srgbClr val="00C0AE">
                  <a:alpha val="47000"/>
                </a:srgbClr>
              </a:gs>
              <a:gs pos="42000">
                <a:schemeClr val="accent4">
                  <a:alpha val="87000"/>
                </a:schemeClr>
              </a:gs>
            </a:gsLst>
            <a:lin ang="10200000" scaled="0"/>
            <a:tileRect/>
          </a:gra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5A3E0359-2B2C-FA71-1449-C2421B9E54F6}"/>
              </a:ext>
            </a:extLst>
          </p:cNvPr>
          <p:cNvSpPr/>
          <p:nvPr userDrawn="1"/>
        </p:nvSpPr>
        <p:spPr>
          <a:xfrm>
            <a:off x="831599" y="-6626"/>
            <a:ext cx="5472948" cy="68646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grpSp>
        <p:nvGrpSpPr>
          <p:cNvPr id="3" name="Group 2">
            <a:extLst>
              <a:ext uri="{FF2B5EF4-FFF2-40B4-BE49-F238E27FC236}">
                <a16:creationId xmlns:a16="http://schemas.microsoft.com/office/drawing/2014/main" id="{61884E4C-4A7C-2823-2306-CDE83CC4BD02}"/>
              </a:ext>
            </a:extLst>
          </p:cNvPr>
          <p:cNvGrpSpPr/>
          <p:nvPr userDrawn="1"/>
        </p:nvGrpSpPr>
        <p:grpSpPr>
          <a:xfrm>
            <a:off x="7780594" y="-1074108"/>
            <a:ext cx="5558549" cy="3624521"/>
            <a:chOff x="288795" y="168656"/>
            <a:chExt cx="7937877" cy="5175991"/>
          </a:xfrm>
          <a:solidFill>
            <a:srgbClr val="C5FFF9">
              <a:alpha val="51000"/>
            </a:srgbClr>
          </a:solidFill>
        </p:grpSpPr>
        <p:sp>
          <p:nvSpPr>
            <p:cNvPr id="12" name="Freeform: Shape 11">
              <a:extLst>
                <a:ext uri="{FF2B5EF4-FFF2-40B4-BE49-F238E27FC236}">
                  <a16:creationId xmlns:a16="http://schemas.microsoft.com/office/drawing/2014/main" id="{CD2C787E-8A50-55DD-060F-7E8FC2D4CB53}"/>
                </a:ext>
              </a:extLst>
            </p:cNvPr>
            <p:cNvSpPr/>
            <p:nvPr/>
          </p:nvSpPr>
          <p:spPr>
            <a:xfrm>
              <a:off x="6634132" y="2781103"/>
              <a:ext cx="1075857" cy="593336"/>
            </a:xfrm>
            <a:custGeom>
              <a:avLst/>
              <a:gdLst>
                <a:gd name="connsiteX0" fmla="*/ 1075858 w 1075857"/>
                <a:gd name="connsiteY0" fmla="*/ 300691 h 593336"/>
                <a:gd name="connsiteX1" fmla="*/ 1070757 w 1075857"/>
                <a:gd name="connsiteY1" fmla="*/ 309564 h 593336"/>
                <a:gd name="connsiteX2" fmla="*/ 555081 w 1075857"/>
                <a:gd name="connsiteY2" fmla="*/ 11818 h 593336"/>
                <a:gd name="connsiteX3" fmla="*/ 10237 w 1075857"/>
                <a:gd name="connsiteY3" fmla="*/ 326375 h 593336"/>
                <a:gd name="connsiteX4" fmla="*/ 10237 w 1075857"/>
                <a:gd name="connsiteY4" fmla="*/ 593336 h 593336"/>
                <a:gd name="connsiteX5" fmla="*/ 0 w 1075857"/>
                <a:gd name="connsiteY5" fmla="*/ 593336 h 593336"/>
                <a:gd name="connsiteX6" fmla="*/ 0 w 1075857"/>
                <a:gd name="connsiteY6" fmla="*/ 320448 h 593336"/>
                <a:gd name="connsiteX7" fmla="*/ 555081 w 1075857"/>
                <a:gd name="connsiteY7" fmla="*/ 0 h 593336"/>
                <a:gd name="connsiteX8" fmla="*/ 1075858 w 1075857"/>
                <a:gd name="connsiteY8" fmla="*/ 300691 h 59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5857" h="593336">
                  <a:moveTo>
                    <a:pt x="1075858" y="300691"/>
                  </a:moveTo>
                  <a:lnTo>
                    <a:pt x="1070757" y="309564"/>
                  </a:lnTo>
                  <a:lnTo>
                    <a:pt x="555081" y="11818"/>
                  </a:lnTo>
                  <a:lnTo>
                    <a:pt x="10237" y="326375"/>
                  </a:lnTo>
                  <a:lnTo>
                    <a:pt x="10237" y="593336"/>
                  </a:lnTo>
                  <a:lnTo>
                    <a:pt x="0" y="593336"/>
                  </a:lnTo>
                  <a:lnTo>
                    <a:pt x="0" y="320448"/>
                  </a:lnTo>
                  <a:lnTo>
                    <a:pt x="555081" y="0"/>
                  </a:lnTo>
                  <a:lnTo>
                    <a:pt x="1075858" y="300691"/>
                  </a:lnTo>
                  <a:close/>
                </a:path>
              </a:pathLst>
            </a:custGeom>
            <a:grpFill/>
            <a:ln w="359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4AE2FDA7-99CF-E462-9B47-F8CEBF2A4682}"/>
                </a:ext>
              </a:extLst>
            </p:cNvPr>
            <p:cNvSpPr/>
            <p:nvPr/>
          </p:nvSpPr>
          <p:spPr>
            <a:xfrm>
              <a:off x="7667200" y="3046686"/>
              <a:ext cx="77118" cy="77096"/>
            </a:xfrm>
            <a:custGeom>
              <a:avLst/>
              <a:gdLst>
                <a:gd name="connsiteX0" fmla="*/ 15738 w 77118"/>
                <a:gd name="connsiteY0" fmla="*/ 71682 h 77096"/>
                <a:gd name="connsiteX1" fmla="*/ 68396 w 77118"/>
                <a:gd name="connsiteY1" fmla="*/ 57565 h 77096"/>
                <a:gd name="connsiteX2" fmla="*/ 54281 w 77118"/>
                <a:gd name="connsiteY2" fmla="*/ 4941 h 77096"/>
                <a:gd name="connsiteX3" fmla="*/ 1621 w 77118"/>
                <a:gd name="connsiteY3" fmla="*/ 19022 h 77096"/>
                <a:gd name="connsiteX4" fmla="*/ 1621 w 77118"/>
                <a:gd name="connsiteY4" fmla="*/ 19058 h 77096"/>
                <a:gd name="connsiteX5" fmla="*/ 15629 w 77118"/>
                <a:gd name="connsiteY5" fmla="*/ 71610 h 77096"/>
                <a:gd name="connsiteX6" fmla="*/ 15738 w 77118"/>
                <a:gd name="connsiteY6" fmla="*/ 71682 h 7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118" h="77096">
                  <a:moveTo>
                    <a:pt x="15738" y="71682"/>
                  </a:moveTo>
                  <a:cubicBezTo>
                    <a:pt x="34165" y="82314"/>
                    <a:pt x="57729" y="76028"/>
                    <a:pt x="68396" y="57565"/>
                  </a:cubicBezTo>
                  <a:cubicBezTo>
                    <a:pt x="79031" y="39137"/>
                    <a:pt x="72708" y="15574"/>
                    <a:pt x="54281" y="4941"/>
                  </a:cubicBezTo>
                  <a:cubicBezTo>
                    <a:pt x="35854" y="-5727"/>
                    <a:pt x="12290" y="595"/>
                    <a:pt x="1621" y="19022"/>
                  </a:cubicBezTo>
                  <a:cubicBezTo>
                    <a:pt x="1621" y="19022"/>
                    <a:pt x="1621" y="19058"/>
                    <a:pt x="1621" y="19058"/>
                  </a:cubicBezTo>
                  <a:cubicBezTo>
                    <a:pt x="-9012" y="37449"/>
                    <a:pt x="-2761" y="60977"/>
                    <a:pt x="15629" y="71610"/>
                  </a:cubicBezTo>
                  <a:cubicBezTo>
                    <a:pt x="15666" y="71646"/>
                    <a:pt x="15701" y="71682"/>
                    <a:pt x="15738" y="71682"/>
                  </a:cubicBezTo>
                  <a:close/>
                </a:path>
              </a:pathLst>
            </a:custGeom>
            <a:grpFill/>
            <a:ln w="359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A0C47D2D-4575-4365-A3B0-739AE96A9B9D}"/>
                </a:ext>
              </a:extLst>
            </p:cNvPr>
            <p:cNvSpPr/>
            <p:nvPr/>
          </p:nvSpPr>
          <p:spPr>
            <a:xfrm>
              <a:off x="6589052" y="3321636"/>
              <a:ext cx="100218" cy="100218"/>
            </a:xfrm>
            <a:custGeom>
              <a:avLst/>
              <a:gdLst>
                <a:gd name="connsiteX0" fmla="*/ 96658 w 100218"/>
                <a:gd name="connsiteY0" fmla="*/ 50043 h 100218"/>
                <a:gd name="connsiteX1" fmla="*/ 46370 w 100218"/>
                <a:gd name="connsiteY1" fmla="*/ 99973 h 100218"/>
                <a:gd name="connsiteX2" fmla="*/ -3560 w 100218"/>
                <a:gd name="connsiteY2" fmla="*/ 49684 h 100218"/>
                <a:gd name="connsiteX3" fmla="*/ 46370 w 100218"/>
                <a:gd name="connsiteY3" fmla="*/ -245 h 100218"/>
                <a:gd name="connsiteX4" fmla="*/ 96658 w 100218"/>
                <a:gd name="connsiteY4" fmla="*/ 50043 h 100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8" h="100218">
                  <a:moveTo>
                    <a:pt x="96658" y="50043"/>
                  </a:moveTo>
                  <a:cubicBezTo>
                    <a:pt x="96551" y="77703"/>
                    <a:pt x="74029" y="100081"/>
                    <a:pt x="46370" y="99973"/>
                  </a:cubicBezTo>
                  <a:cubicBezTo>
                    <a:pt x="18710" y="99865"/>
                    <a:pt x="-3669" y="77343"/>
                    <a:pt x="-3560" y="49684"/>
                  </a:cubicBezTo>
                  <a:cubicBezTo>
                    <a:pt x="-3453" y="22133"/>
                    <a:pt x="18819" y="-138"/>
                    <a:pt x="46370" y="-245"/>
                  </a:cubicBezTo>
                  <a:cubicBezTo>
                    <a:pt x="74136" y="-245"/>
                    <a:pt x="96658" y="22277"/>
                    <a:pt x="96658" y="50043"/>
                  </a:cubicBezTo>
                  <a:close/>
                </a:path>
              </a:pathLst>
            </a:custGeom>
            <a:grpFill/>
            <a:ln w="359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8BE23ED9-87E7-D392-D9F2-5F2BD438DAAC}"/>
                </a:ext>
              </a:extLst>
            </p:cNvPr>
            <p:cNvSpPr/>
            <p:nvPr/>
          </p:nvSpPr>
          <p:spPr>
            <a:xfrm>
              <a:off x="5802678" y="1269744"/>
              <a:ext cx="1104989" cy="327883"/>
            </a:xfrm>
            <a:custGeom>
              <a:avLst/>
              <a:gdLst>
                <a:gd name="connsiteX0" fmla="*/ 1104989 w 1104989"/>
                <a:gd name="connsiteY0" fmla="*/ 8872 h 327883"/>
                <a:gd name="connsiteX1" fmla="*/ 552494 w 1104989"/>
                <a:gd name="connsiteY1" fmla="*/ 327883 h 327883"/>
                <a:gd name="connsiteX2" fmla="*/ 0 w 1104989"/>
                <a:gd name="connsiteY2" fmla="*/ 8872 h 327883"/>
                <a:gd name="connsiteX3" fmla="*/ 5100 w 1104989"/>
                <a:gd name="connsiteY3" fmla="*/ 0 h 327883"/>
                <a:gd name="connsiteX4" fmla="*/ 552494 w 1104989"/>
                <a:gd name="connsiteY4" fmla="*/ 316029 h 327883"/>
                <a:gd name="connsiteX5" fmla="*/ 1099888 w 1104989"/>
                <a:gd name="connsiteY5" fmla="*/ 0 h 327883"/>
                <a:gd name="connsiteX6" fmla="*/ 1104989 w 1104989"/>
                <a:gd name="connsiteY6" fmla="*/ 8872 h 32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4989" h="327883">
                  <a:moveTo>
                    <a:pt x="1104989" y="8872"/>
                  </a:moveTo>
                  <a:lnTo>
                    <a:pt x="552494" y="327883"/>
                  </a:lnTo>
                  <a:lnTo>
                    <a:pt x="0" y="8872"/>
                  </a:lnTo>
                  <a:lnTo>
                    <a:pt x="5100" y="0"/>
                  </a:lnTo>
                  <a:lnTo>
                    <a:pt x="552494" y="316029"/>
                  </a:lnTo>
                  <a:lnTo>
                    <a:pt x="1099888" y="0"/>
                  </a:lnTo>
                  <a:lnTo>
                    <a:pt x="1104989" y="8872"/>
                  </a:lnTo>
                  <a:close/>
                </a:path>
              </a:pathLst>
            </a:custGeom>
            <a:grpFill/>
            <a:ln w="359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E9471B1F-6404-DAFC-00E1-D5D3F1A6A200}"/>
                </a:ext>
              </a:extLst>
            </p:cNvPr>
            <p:cNvSpPr/>
            <p:nvPr/>
          </p:nvSpPr>
          <p:spPr>
            <a:xfrm>
              <a:off x="1861255" y="4015550"/>
              <a:ext cx="901822" cy="579219"/>
            </a:xfrm>
            <a:custGeom>
              <a:avLst/>
              <a:gdLst>
                <a:gd name="connsiteX0" fmla="*/ 901822 w 901822"/>
                <a:gd name="connsiteY0" fmla="*/ 320484 h 579219"/>
                <a:gd name="connsiteX1" fmla="*/ 901822 w 901822"/>
                <a:gd name="connsiteY1" fmla="*/ 579220 h 579219"/>
                <a:gd name="connsiteX2" fmla="*/ 891549 w 901822"/>
                <a:gd name="connsiteY2" fmla="*/ 579220 h 579219"/>
                <a:gd name="connsiteX3" fmla="*/ 891549 w 901822"/>
                <a:gd name="connsiteY3" fmla="*/ 326411 h 579219"/>
                <a:gd name="connsiteX4" fmla="*/ 346741 w 901822"/>
                <a:gd name="connsiteY4" fmla="*/ 11854 h 579219"/>
                <a:gd name="connsiteX5" fmla="*/ 5137 w 901822"/>
                <a:gd name="connsiteY5" fmla="*/ 209094 h 579219"/>
                <a:gd name="connsiteX6" fmla="*/ 0 w 901822"/>
                <a:gd name="connsiteY6" fmla="*/ 200186 h 579219"/>
                <a:gd name="connsiteX7" fmla="*/ 346741 w 901822"/>
                <a:gd name="connsiteY7" fmla="*/ 0 h 579219"/>
                <a:gd name="connsiteX8" fmla="*/ 901822 w 901822"/>
                <a:gd name="connsiteY8" fmla="*/ 320484 h 579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1822" h="579219">
                  <a:moveTo>
                    <a:pt x="901822" y="320484"/>
                  </a:moveTo>
                  <a:lnTo>
                    <a:pt x="901822" y="579220"/>
                  </a:lnTo>
                  <a:lnTo>
                    <a:pt x="891549" y="579220"/>
                  </a:lnTo>
                  <a:lnTo>
                    <a:pt x="891549" y="326411"/>
                  </a:lnTo>
                  <a:lnTo>
                    <a:pt x="346741" y="11854"/>
                  </a:lnTo>
                  <a:lnTo>
                    <a:pt x="5137" y="209094"/>
                  </a:lnTo>
                  <a:lnTo>
                    <a:pt x="0" y="200186"/>
                  </a:lnTo>
                  <a:lnTo>
                    <a:pt x="346741" y="0"/>
                  </a:lnTo>
                  <a:lnTo>
                    <a:pt x="901822" y="320484"/>
                  </a:lnTo>
                  <a:close/>
                </a:path>
              </a:pathLst>
            </a:custGeom>
            <a:grpFill/>
            <a:ln w="359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6176A84-3F60-A4AC-C6C2-0B2CC1DA43E9}"/>
                </a:ext>
              </a:extLst>
            </p:cNvPr>
            <p:cNvSpPr/>
            <p:nvPr/>
          </p:nvSpPr>
          <p:spPr>
            <a:xfrm>
              <a:off x="6398860" y="846040"/>
              <a:ext cx="186384" cy="186386"/>
            </a:xfrm>
            <a:custGeom>
              <a:avLst/>
              <a:gdLst>
                <a:gd name="connsiteX0" fmla="*/ 43021 w 186384"/>
                <a:gd name="connsiteY0" fmla="*/ 173631 h 186386"/>
                <a:gd name="connsiteX1" fmla="*/ 170324 w 186384"/>
                <a:gd name="connsiteY1" fmla="*/ 139556 h 186386"/>
                <a:gd name="connsiteX2" fmla="*/ 136234 w 186384"/>
                <a:gd name="connsiteY2" fmla="*/ 12265 h 186386"/>
                <a:gd name="connsiteX3" fmla="*/ 8932 w 186384"/>
                <a:gd name="connsiteY3" fmla="*/ 46339 h 186386"/>
                <a:gd name="connsiteX4" fmla="*/ 8932 w 186384"/>
                <a:gd name="connsiteY4" fmla="*/ 46364 h 186386"/>
                <a:gd name="connsiteX5" fmla="*/ 43021 w 186384"/>
                <a:gd name="connsiteY5" fmla="*/ 173631 h 18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384" h="186386">
                  <a:moveTo>
                    <a:pt x="43021" y="173631"/>
                  </a:moveTo>
                  <a:cubicBezTo>
                    <a:pt x="87598" y="199371"/>
                    <a:pt x="144569" y="184116"/>
                    <a:pt x="170324" y="139556"/>
                  </a:cubicBezTo>
                  <a:cubicBezTo>
                    <a:pt x="196044" y="94997"/>
                    <a:pt x="180812" y="38005"/>
                    <a:pt x="136234" y="12265"/>
                  </a:cubicBezTo>
                  <a:cubicBezTo>
                    <a:pt x="91693" y="-13476"/>
                    <a:pt x="34687" y="1779"/>
                    <a:pt x="8932" y="46339"/>
                  </a:cubicBezTo>
                  <a:cubicBezTo>
                    <a:pt x="8932" y="46346"/>
                    <a:pt x="8932" y="46357"/>
                    <a:pt x="8932" y="46364"/>
                  </a:cubicBezTo>
                  <a:cubicBezTo>
                    <a:pt x="-16786" y="90924"/>
                    <a:pt x="-1520" y="147894"/>
                    <a:pt x="43021" y="173631"/>
                  </a:cubicBezTo>
                  <a:close/>
                </a:path>
              </a:pathLst>
            </a:custGeom>
            <a:grpFill/>
            <a:ln w="359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75CE92F6-F1DD-BE08-EF62-5ABFD7691D62}"/>
                </a:ext>
              </a:extLst>
            </p:cNvPr>
            <p:cNvSpPr/>
            <p:nvPr/>
          </p:nvSpPr>
          <p:spPr>
            <a:xfrm>
              <a:off x="1355076" y="4439873"/>
              <a:ext cx="147869" cy="147869"/>
            </a:xfrm>
            <a:custGeom>
              <a:avLst/>
              <a:gdLst>
                <a:gd name="connsiteX0" fmla="*/ 33389 w 147869"/>
                <a:gd name="connsiteY0" fmla="*/ 137696 h 147869"/>
                <a:gd name="connsiteX1" fmla="*/ 6376 w 147869"/>
                <a:gd name="connsiteY1" fmla="*/ 36688 h 147869"/>
                <a:gd name="connsiteX2" fmla="*/ 107349 w 147869"/>
                <a:gd name="connsiteY2" fmla="*/ 9675 h 147869"/>
                <a:gd name="connsiteX3" fmla="*/ 134397 w 147869"/>
                <a:gd name="connsiteY3" fmla="*/ 110648 h 147869"/>
                <a:gd name="connsiteX4" fmla="*/ 33425 w 147869"/>
                <a:gd name="connsiteY4" fmla="*/ 137696 h 147869"/>
                <a:gd name="connsiteX5" fmla="*/ 33389 w 147869"/>
                <a:gd name="connsiteY5" fmla="*/ 137696 h 147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869" h="147869">
                  <a:moveTo>
                    <a:pt x="33389" y="137696"/>
                  </a:moveTo>
                  <a:cubicBezTo>
                    <a:pt x="-1957" y="117257"/>
                    <a:pt x="-14062" y="72069"/>
                    <a:pt x="6376" y="36688"/>
                  </a:cubicBezTo>
                  <a:cubicBezTo>
                    <a:pt x="26779" y="1342"/>
                    <a:pt x="72003" y="-10728"/>
                    <a:pt x="107349" y="9675"/>
                  </a:cubicBezTo>
                  <a:cubicBezTo>
                    <a:pt x="142695" y="30114"/>
                    <a:pt x="154801" y="75302"/>
                    <a:pt x="134397" y="110648"/>
                  </a:cubicBezTo>
                  <a:cubicBezTo>
                    <a:pt x="113994" y="145994"/>
                    <a:pt x="68770" y="158135"/>
                    <a:pt x="33425" y="137696"/>
                  </a:cubicBezTo>
                  <a:cubicBezTo>
                    <a:pt x="33425" y="137696"/>
                    <a:pt x="33389" y="137696"/>
                    <a:pt x="33389" y="137696"/>
                  </a:cubicBezTo>
                  <a:close/>
                </a:path>
              </a:pathLst>
            </a:custGeom>
            <a:grpFill/>
            <a:ln w="359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FED60F51-1387-8CBC-40DD-FF62E52B204C}"/>
                </a:ext>
              </a:extLst>
            </p:cNvPr>
            <p:cNvSpPr/>
            <p:nvPr/>
          </p:nvSpPr>
          <p:spPr>
            <a:xfrm>
              <a:off x="2192802" y="1309041"/>
              <a:ext cx="2307395" cy="1916004"/>
            </a:xfrm>
            <a:custGeom>
              <a:avLst/>
              <a:gdLst>
                <a:gd name="connsiteX0" fmla="*/ 2307395 w 2307395"/>
                <a:gd name="connsiteY0" fmla="*/ 666076 h 1916004"/>
                <a:gd name="connsiteX1" fmla="*/ 2307395 w 2307395"/>
                <a:gd name="connsiteY1" fmla="*/ 1893159 h 1916004"/>
                <a:gd name="connsiteX2" fmla="*/ 2286094 w 2307395"/>
                <a:gd name="connsiteY2" fmla="*/ 1893159 h 1916004"/>
                <a:gd name="connsiteX3" fmla="*/ 2286094 w 2307395"/>
                <a:gd name="connsiteY3" fmla="*/ 678361 h 1916004"/>
                <a:gd name="connsiteX4" fmla="*/ 1153698 w 2307395"/>
                <a:gd name="connsiteY4" fmla="*/ 24606 h 1916004"/>
                <a:gd name="connsiteX5" fmla="*/ 21301 w 2307395"/>
                <a:gd name="connsiteY5" fmla="*/ 678361 h 1916004"/>
                <a:gd name="connsiteX6" fmla="*/ 21301 w 2307395"/>
                <a:gd name="connsiteY6" fmla="*/ 1916005 h 1916004"/>
                <a:gd name="connsiteX7" fmla="*/ 0 w 2307395"/>
                <a:gd name="connsiteY7" fmla="*/ 1916005 h 1916004"/>
                <a:gd name="connsiteX8" fmla="*/ 0 w 2307395"/>
                <a:gd name="connsiteY8" fmla="*/ 666076 h 1916004"/>
                <a:gd name="connsiteX9" fmla="*/ 1153698 w 2307395"/>
                <a:gd name="connsiteY9" fmla="*/ 0 h 1916004"/>
                <a:gd name="connsiteX10" fmla="*/ 1159014 w 2307395"/>
                <a:gd name="connsiteY10" fmla="*/ 3053 h 1916004"/>
                <a:gd name="connsiteX11" fmla="*/ 2307395 w 2307395"/>
                <a:gd name="connsiteY11" fmla="*/ 666076 h 191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07395" h="1916004">
                  <a:moveTo>
                    <a:pt x="2307395" y="666076"/>
                  </a:moveTo>
                  <a:lnTo>
                    <a:pt x="2307395" y="1893159"/>
                  </a:lnTo>
                  <a:lnTo>
                    <a:pt x="2286094" y="1893159"/>
                  </a:lnTo>
                  <a:lnTo>
                    <a:pt x="2286094" y="678361"/>
                  </a:lnTo>
                  <a:lnTo>
                    <a:pt x="1153698" y="24606"/>
                  </a:lnTo>
                  <a:lnTo>
                    <a:pt x="21301" y="678361"/>
                  </a:lnTo>
                  <a:lnTo>
                    <a:pt x="21301" y="1916005"/>
                  </a:lnTo>
                  <a:lnTo>
                    <a:pt x="0" y="1916005"/>
                  </a:lnTo>
                  <a:lnTo>
                    <a:pt x="0" y="666076"/>
                  </a:lnTo>
                  <a:lnTo>
                    <a:pt x="1153698" y="0"/>
                  </a:lnTo>
                  <a:lnTo>
                    <a:pt x="1159014" y="3053"/>
                  </a:lnTo>
                  <a:lnTo>
                    <a:pt x="2307395" y="666076"/>
                  </a:lnTo>
                  <a:close/>
                </a:path>
              </a:pathLst>
            </a:custGeom>
            <a:grpFill/>
            <a:ln w="359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964F9FD8-D23A-5C9F-CCFF-DFB6DA264E68}"/>
                </a:ext>
              </a:extLst>
            </p:cNvPr>
            <p:cNvSpPr/>
            <p:nvPr/>
          </p:nvSpPr>
          <p:spPr>
            <a:xfrm>
              <a:off x="2123332" y="3140919"/>
              <a:ext cx="160205" cy="160205"/>
            </a:xfrm>
            <a:custGeom>
              <a:avLst/>
              <a:gdLst>
                <a:gd name="connsiteX0" fmla="*/ 160206 w 160205"/>
                <a:gd name="connsiteY0" fmla="*/ 80103 h 160205"/>
                <a:gd name="connsiteX1" fmla="*/ 80103 w 160205"/>
                <a:gd name="connsiteY1" fmla="*/ 160206 h 160205"/>
                <a:gd name="connsiteX2" fmla="*/ 0 w 160205"/>
                <a:gd name="connsiteY2" fmla="*/ 80103 h 160205"/>
                <a:gd name="connsiteX3" fmla="*/ 80103 w 160205"/>
                <a:gd name="connsiteY3" fmla="*/ 0 h 160205"/>
                <a:gd name="connsiteX4" fmla="*/ 160206 w 160205"/>
                <a:gd name="connsiteY4" fmla="*/ 80103 h 160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205" h="160205">
                  <a:moveTo>
                    <a:pt x="160206" y="80103"/>
                  </a:moveTo>
                  <a:cubicBezTo>
                    <a:pt x="160206" y="124343"/>
                    <a:pt x="124343" y="160206"/>
                    <a:pt x="80103" y="160206"/>
                  </a:cubicBezTo>
                  <a:cubicBezTo>
                    <a:pt x="35863" y="160206"/>
                    <a:pt x="0" y="124342"/>
                    <a:pt x="0" y="80103"/>
                  </a:cubicBezTo>
                  <a:cubicBezTo>
                    <a:pt x="0" y="35863"/>
                    <a:pt x="35863" y="0"/>
                    <a:pt x="80103" y="0"/>
                  </a:cubicBezTo>
                  <a:cubicBezTo>
                    <a:pt x="124343" y="0"/>
                    <a:pt x="160206" y="35863"/>
                    <a:pt x="160206" y="80103"/>
                  </a:cubicBezTo>
                  <a:close/>
                </a:path>
              </a:pathLst>
            </a:custGeom>
            <a:grpFill/>
            <a:ln w="359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89057BFB-6B6E-5C17-DA9B-F9C4824252FB}"/>
                </a:ext>
              </a:extLst>
            </p:cNvPr>
            <p:cNvSpPr/>
            <p:nvPr/>
          </p:nvSpPr>
          <p:spPr>
            <a:xfrm>
              <a:off x="4385396" y="3092822"/>
              <a:ext cx="208339" cy="208339"/>
            </a:xfrm>
            <a:custGeom>
              <a:avLst/>
              <a:gdLst>
                <a:gd name="connsiteX0" fmla="*/ -3560 w 208339"/>
                <a:gd name="connsiteY0" fmla="*/ 103924 h 208339"/>
                <a:gd name="connsiteX1" fmla="*/ 100610 w 208339"/>
                <a:gd name="connsiteY1" fmla="*/ 208094 h 208339"/>
                <a:gd name="connsiteX2" fmla="*/ 204779 w 208339"/>
                <a:gd name="connsiteY2" fmla="*/ 103924 h 208339"/>
                <a:gd name="connsiteX3" fmla="*/ 100610 w 208339"/>
                <a:gd name="connsiteY3" fmla="*/ -245 h 208339"/>
                <a:gd name="connsiteX4" fmla="*/ -3560 w 208339"/>
                <a:gd name="connsiteY4" fmla="*/ 103924 h 208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339" h="208339">
                  <a:moveTo>
                    <a:pt x="-3560" y="103924"/>
                  </a:moveTo>
                  <a:cubicBezTo>
                    <a:pt x="-3560" y="161469"/>
                    <a:pt x="43065" y="208094"/>
                    <a:pt x="100610" y="208094"/>
                  </a:cubicBezTo>
                  <a:cubicBezTo>
                    <a:pt x="158154" y="208094"/>
                    <a:pt x="204779" y="161469"/>
                    <a:pt x="204779" y="103924"/>
                  </a:cubicBezTo>
                  <a:cubicBezTo>
                    <a:pt x="204779" y="46379"/>
                    <a:pt x="158154" y="-245"/>
                    <a:pt x="100610" y="-245"/>
                  </a:cubicBezTo>
                  <a:cubicBezTo>
                    <a:pt x="43065" y="-245"/>
                    <a:pt x="-3560" y="46379"/>
                    <a:pt x="-3560" y="103924"/>
                  </a:cubicBezTo>
                  <a:close/>
                </a:path>
              </a:pathLst>
            </a:custGeom>
            <a:grpFill/>
            <a:ln w="359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8AFBCA78-7A43-DBDB-AA16-16561C8CC46E}"/>
                </a:ext>
              </a:extLst>
            </p:cNvPr>
            <p:cNvSpPr/>
            <p:nvPr/>
          </p:nvSpPr>
          <p:spPr>
            <a:xfrm>
              <a:off x="5419585" y="4733818"/>
              <a:ext cx="1107575" cy="610829"/>
            </a:xfrm>
            <a:custGeom>
              <a:avLst/>
              <a:gdLst>
                <a:gd name="connsiteX0" fmla="*/ 1107575 w 1107575"/>
                <a:gd name="connsiteY0" fmla="*/ 291855 h 610829"/>
                <a:gd name="connsiteX1" fmla="*/ 555081 w 1107575"/>
                <a:gd name="connsiteY1" fmla="*/ 610830 h 610829"/>
                <a:gd name="connsiteX2" fmla="*/ 0 w 1107575"/>
                <a:gd name="connsiteY2" fmla="*/ 290346 h 610829"/>
                <a:gd name="connsiteX3" fmla="*/ 0 w 1107575"/>
                <a:gd name="connsiteY3" fmla="*/ 0 h 610829"/>
                <a:gd name="connsiteX4" fmla="*/ 10237 w 1107575"/>
                <a:gd name="connsiteY4" fmla="*/ 0 h 610829"/>
                <a:gd name="connsiteX5" fmla="*/ 10237 w 1107575"/>
                <a:gd name="connsiteY5" fmla="*/ 284455 h 610829"/>
                <a:gd name="connsiteX6" fmla="*/ 555081 w 1107575"/>
                <a:gd name="connsiteY6" fmla="*/ 599012 h 610829"/>
                <a:gd name="connsiteX7" fmla="*/ 1102439 w 1107575"/>
                <a:gd name="connsiteY7" fmla="*/ 282947 h 610829"/>
                <a:gd name="connsiteX8" fmla="*/ 1107575 w 1107575"/>
                <a:gd name="connsiteY8" fmla="*/ 291855 h 610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575" h="610829">
                  <a:moveTo>
                    <a:pt x="1107575" y="291855"/>
                  </a:moveTo>
                  <a:lnTo>
                    <a:pt x="555081" y="610830"/>
                  </a:lnTo>
                  <a:lnTo>
                    <a:pt x="0" y="290346"/>
                  </a:lnTo>
                  <a:lnTo>
                    <a:pt x="0" y="0"/>
                  </a:lnTo>
                  <a:lnTo>
                    <a:pt x="10237" y="0"/>
                  </a:lnTo>
                  <a:lnTo>
                    <a:pt x="10237" y="284455"/>
                  </a:lnTo>
                  <a:lnTo>
                    <a:pt x="555081" y="599012"/>
                  </a:lnTo>
                  <a:lnTo>
                    <a:pt x="1102439" y="282947"/>
                  </a:lnTo>
                  <a:lnTo>
                    <a:pt x="1107575" y="291855"/>
                  </a:lnTo>
                  <a:close/>
                </a:path>
              </a:pathLst>
            </a:custGeom>
            <a:grpFill/>
            <a:ln w="359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5CEC8B40-843F-A581-1272-68DE296165A8}"/>
                </a:ext>
              </a:extLst>
            </p:cNvPr>
            <p:cNvSpPr/>
            <p:nvPr/>
          </p:nvSpPr>
          <p:spPr>
            <a:xfrm>
              <a:off x="3305299" y="3449046"/>
              <a:ext cx="557631" cy="1105097"/>
            </a:xfrm>
            <a:custGeom>
              <a:avLst/>
              <a:gdLst>
                <a:gd name="connsiteX0" fmla="*/ 557631 w 557631"/>
                <a:gd name="connsiteY0" fmla="*/ 8873 h 1105097"/>
                <a:gd name="connsiteX1" fmla="*/ 10237 w 557631"/>
                <a:gd name="connsiteY1" fmla="*/ 324902 h 1105097"/>
                <a:gd name="connsiteX2" fmla="*/ 10237 w 557631"/>
                <a:gd name="connsiteY2" fmla="*/ 954015 h 1105097"/>
                <a:gd name="connsiteX3" fmla="*/ 256581 w 557631"/>
                <a:gd name="connsiteY3" fmla="*/ 1096225 h 1105097"/>
                <a:gd name="connsiteX4" fmla="*/ 251444 w 557631"/>
                <a:gd name="connsiteY4" fmla="*/ 1105097 h 1105097"/>
                <a:gd name="connsiteX5" fmla="*/ 0 w 557631"/>
                <a:gd name="connsiteY5" fmla="*/ 959906 h 1105097"/>
                <a:gd name="connsiteX6" fmla="*/ 0 w 557631"/>
                <a:gd name="connsiteY6" fmla="*/ 318975 h 1105097"/>
                <a:gd name="connsiteX7" fmla="*/ 552495 w 557631"/>
                <a:gd name="connsiteY7" fmla="*/ 0 h 1105097"/>
                <a:gd name="connsiteX8" fmla="*/ 557631 w 557631"/>
                <a:gd name="connsiteY8" fmla="*/ 8873 h 110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31" h="1105097">
                  <a:moveTo>
                    <a:pt x="557631" y="8873"/>
                  </a:moveTo>
                  <a:lnTo>
                    <a:pt x="10237" y="324902"/>
                  </a:lnTo>
                  <a:lnTo>
                    <a:pt x="10237" y="954015"/>
                  </a:lnTo>
                  <a:lnTo>
                    <a:pt x="256581" y="1096225"/>
                  </a:lnTo>
                  <a:lnTo>
                    <a:pt x="251444" y="1105097"/>
                  </a:lnTo>
                  <a:lnTo>
                    <a:pt x="0" y="959906"/>
                  </a:lnTo>
                  <a:lnTo>
                    <a:pt x="0" y="318975"/>
                  </a:lnTo>
                  <a:lnTo>
                    <a:pt x="552495" y="0"/>
                  </a:lnTo>
                  <a:lnTo>
                    <a:pt x="557631" y="8873"/>
                  </a:lnTo>
                  <a:close/>
                </a:path>
              </a:pathLst>
            </a:custGeom>
            <a:grpFill/>
            <a:ln w="359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0F48235-0BC4-A8F1-CF03-55ADD40F7AF0}"/>
                </a:ext>
              </a:extLst>
            </p:cNvPr>
            <p:cNvSpPr/>
            <p:nvPr/>
          </p:nvSpPr>
          <p:spPr>
            <a:xfrm rot="18000001">
              <a:off x="3704402" y="4462459"/>
              <a:ext cx="10237" cy="347603"/>
            </a:xfrm>
            <a:custGeom>
              <a:avLst/>
              <a:gdLst>
                <a:gd name="connsiteX0" fmla="*/ -3560 w 10237"/>
                <a:gd name="connsiteY0" fmla="*/ -245 h 347603"/>
                <a:gd name="connsiteX1" fmla="*/ 6678 w 10237"/>
                <a:gd name="connsiteY1" fmla="*/ -245 h 347603"/>
                <a:gd name="connsiteX2" fmla="*/ 6678 w 10237"/>
                <a:gd name="connsiteY2" fmla="*/ 347358 h 347603"/>
                <a:gd name="connsiteX3" fmla="*/ -3560 w 10237"/>
                <a:gd name="connsiteY3" fmla="*/ 347358 h 347603"/>
              </a:gdLst>
              <a:ahLst/>
              <a:cxnLst>
                <a:cxn ang="0">
                  <a:pos x="connsiteX0" y="connsiteY0"/>
                </a:cxn>
                <a:cxn ang="0">
                  <a:pos x="connsiteX1" y="connsiteY1"/>
                </a:cxn>
                <a:cxn ang="0">
                  <a:pos x="connsiteX2" y="connsiteY2"/>
                </a:cxn>
                <a:cxn ang="0">
                  <a:pos x="connsiteX3" y="connsiteY3"/>
                </a:cxn>
              </a:cxnLst>
              <a:rect l="l" t="t" r="r" b="b"/>
              <a:pathLst>
                <a:path w="10237" h="347603">
                  <a:moveTo>
                    <a:pt x="-3560" y="-245"/>
                  </a:moveTo>
                  <a:lnTo>
                    <a:pt x="6678" y="-245"/>
                  </a:lnTo>
                  <a:lnTo>
                    <a:pt x="6678" y="347358"/>
                  </a:lnTo>
                  <a:lnTo>
                    <a:pt x="-3560" y="347358"/>
                  </a:lnTo>
                  <a:close/>
                </a:path>
              </a:pathLst>
            </a:custGeom>
            <a:grpFill/>
            <a:ln w="359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49DB3AE5-2BB2-3D6E-31DB-87515CC794F4}"/>
                </a:ext>
              </a:extLst>
            </p:cNvPr>
            <p:cNvSpPr/>
            <p:nvPr/>
          </p:nvSpPr>
          <p:spPr>
            <a:xfrm>
              <a:off x="640781" y="1711962"/>
              <a:ext cx="1739239" cy="1472457"/>
            </a:xfrm>
            <a:custGeom>
              <a:avLst/>
              <a:gdLst>
                <a:gd name="connsiteX0" fmla="*/ 1739239 w 1739239"/>
                <a:gd name="connsiteY0" fmla="*/ 486078 h 1472457"/>
                <a:gd name="connsiteX1" fmla="*/ 1730978 w 1739239"/>
                <a:gd name="connsiteY1" fmla="*/ 500410 h 1472457"/>
                <a:gd name="connsiteX2" fmla="*/ 897332 w 1739239"/>
                <a:gd name="connsiteY2" fmla="*/ 19110 h 1472457"/>
                <a:gd name="connsiteX3" fmla="*/ 16595 w 1739239"/>
                <a:gd name="connsiteY3" fmla="*/ 527638 h 1472457"/>
                <a:gd name="connsiteX4" fmla="*/ 16595 w 1739239"/>
                <a:gd name="connsiteY4" fmla="*/ 1472457 h 1472457"/>
                <a:gd name="connsiteX5" fmla="*/ 0 w 1739239"/>
                <a:gd name="connsiteY5" fmla="*/ 1472457 h 1472457"/>
                <a:gd name="connsiteX6" fmla="*/ 0 w 1739239"/>
                <a:gd name="connsiteY6" fmla="*/ 518047 h 1472457"/>
                <a:gd name="connsiteX7" fmla="*/ 897332 w 1739239"/>
                <a:gd name="connsiteY7" fmla="*/ 0 h 1472457"/>
                <a:gd name="connsiteX8" fmla="*/ 901463 w 1739239"/>
                <a:gd name="connsiteY8" fmla="*/ 2371 h 1472457"/>
                <a:gd name="connsiteX9" fmla="*/ 1739239 w 1739239"/>
                <a:gd name="connsiteY9" fmla="*/ 486078 h 147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239" h="1472457">
                  <a:moveTo>
                    <a:pt x="1739239" y="486078"/>
                  </a:moveTo>
                  <a:lnTo>
                    <a:pt x="1730978" y="500410"/>
                  </a:lnTo>
                  <a:lnTo>
                    <a:pt x="897332" y="19110"/>
                  </a:lnTo>
                  <a:lnTo>
                    <a:pt x="16595" y="527638"/>
                  </a:lnTo>
                  <a:lnTo>
                    <a:pt x="16595" y="1472457"/>
                  </a:lnTo>
                  <a:lnTo>
                    <a:pt x="0" y="1472457"/>
                  </a:lnTo>
                  <a:lnTo>
                    <a:pt x="0" y="518047"/>
                  </a:lnTo>
                  <a:lnTo>
                    <a:pt x="897332" y="0"/>
                  </a:lnTo>
                  <a:lnTo>
                    <a:pt x="901463" y="2371"/>
                  </a:lnTo>
                  <a:lnTo>
                    <a:pt x="1739239" y="486078"/>
                  </a:lnTo>
                  <a:close/>
                </a:path>
              </a:pathLst>
            </a:custGeom>
            <a:grpFill/>
            <a:ln w="359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7F32798-073A-8400-9E8A-9C980C5141B3}"/>
                </a:ext>
              </a:extLst>
            </p:cNvPr>
            <p:cNvSpPr/>
            <p:nvPr/>
          </p:nvSpPr>
          <p:spPr>
            <a:xfrm>
              <a:off x="568042" y="3099395"/>
              <a:ext cx="162002" cy="162002"/>
            </a:xfrm>
            <a:custGeom>
              <a:avLst/>
              <a:gdLst>
                <a:gd name="connsiteX0" fmla="*/ 158442 w 162002"/>
                <a:gd name="connsiteY0" fmla="*/ 80720 h 162002"/>
                <a:gd name="connsiteX1" fmla="*/ 77477 w 162002"/>
                <a:gd name="connsiteY1" fmla="*/ 161757 h 162002"/>
                <a:gd name="connsiteX2" fmla="*/ -3560 w 162002"/>
                <a:gd name="connsiteY2" fmla="*/ 80792 h 162002"/>
                <a:gd name="connsiteX3" fmla="*/ 77405 w 162002"/>
                <a:gd name="connsiteY3" fmla="*/ -245 h 162002"/>
                <a:gd name="connsiteX4" fmla="*/ 77441 w 162002"/>
                <a:gd name="connsiteY4" fmla="*/ -245 h 162002"/>
                <a:gd name="connsiteX5" fmla="*/ 158442 w 162002"/>
                <a:gd name="connsiteY5" fmla="*/ 80720 h 16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002" h="162002">
                  <a:moveTo>
                    <a:pt x="158442" y="80720"/>
                  </a:moveTo>
                  <a:cubicBezTo>
                    <a:pt x="158478" y="125441"/>
                    <a:pt x="122198" y="161721"/>
                    <a:pt x="77477" y="161757"/>
                  </a:cubicBezTo>
                  <a:cubicBezTo>
                    <a:pt x="32756" y="161792"/>
                    <a:pt x="-3524" y="125513"/>
                    <a:pt x="-3560" y="80792"/>
                  </a:cubicBezTo>
                  <a:cubicBezTo>
                    <a:pt x="-3596" y="36070"/>
                    <a:pt x="32684" y="-209"/>
                    <a:pt x="77405" y="-245"/>
                  </a:cubicBezTo>
                  <a:cubicBezTo>
                    <a:pt x="77405" y="-245"/>
                    <a:pt x="77441" y="-245"/>
                    <a:pt x="77441" y="-245"/>
                  </a:cubicBezTo>
                  <a:cubicBezTo>
                    <a:pt x="122162" y="-209"/>
                    <a:pt x="158406" y="35999"/>
                    <a:pt x="158442" y="80720"/>
                  </a:cubicBezTo>
                  <a:close/>
                </a:path>
              </a:pathLst>
            </a:custGeom>
            <a:grpFill/>
            <a:ln w="359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C4B0532A-A498-25B8-5AF8-6DC0A6CC4196}"/>
                </a:ext>
              </a:extLst>
            </p:cNvPr>
            <p:cNvSpPr/>
            <p:nvPr/>
          </p:nvSpPr>
          <p:spPr>
            <a:xfrm>
              <a:off x="2310846" y="2141374"/>
              <a:ext cx="124687" cy="124664"/>
            </a:xfrm>
            <a:custGeom>
              <a:avLst/>
              <a:gdLst>
                <a:gd name="connsiteX0" fmla="*/ 27610 w 124687"/>
                <a:gd name="connsiteY0" fmla="*/ 116049 h 124664"/>
                <a:gd name="connsiteX1" fmla="*/ 112742 w 124687"/>
                <a:gd name="connsiteY1" fmla="*/ 93264 h 124664"/>
                <a:gd name="connsiteX2" fmla="*/ 89969 w 124687"/>
                <a:gd name="connsiteY2" fmla="*/ 8125 h 124664"/>
                <a:gd name="connsiteX3" fmla="*/ 4836 w 124687"/>
                <a:gd name="connsiteY3" fmla="*/ 30906 h 124664"/>
                <a:gd name="connsiteX4" fmla="*/ 4801 w 124687"/>
                <a:gd name="connsiteY4" fmla="*/ 30953 h 124664"/>
                <a:gd name="connsiteX5" fmla="*/ 27575 w 124687"/>
                <a:gd name="connsiteY5" fmla="*/ 116038 h 124664"/>
                <a:gd name="connsiteX6" fmla="*/ 27610 w 124687"/>
                <a:gd name="connsiteY6" fmla="*/ 116049 h 12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687" h="124664">
                  <a:moveTo>
                    <a:pt x="27610" y="116049"/>
                  </a:moveTo>
                  <a:cubicBezTo>
                    <a:pt x="57425" y="133269"/>
                    <a:pt x="95536" y="123067"/>
                    <a:pt x="112742" y="93264"/>
                  </a:cubicBezTo>
                  <a:cubicBezTo>
                    <a:pt x="129983" y="63461"/>
                    <a:pt x="119782" y="25342"/>
                    <a:pt x="89969" y="8125"/>
                  </a:cubicBezTo>
                  <a:cubicBezTo>
                    <a:pt x="60154" y="-9095"/>
                    <a:pt x="22043" y="1106"/>
                    <a:pt x="4836" y="30906"/>
                  </a:cubicBezTo>
                  <a:cubicBezTo>
                    <a:pt x="4801" y="30924"/>
                    <a:pt x="4801" y="30938"/>
                    <a:pt x="4801" y="30953"/>
                  </a:cubicBezTo>
                  <a:cubicBezTo>
                    <a:pt x="-12405" y="60742"/>
                    <a:pt x="-2204" y="98835"/>
                    <a:pt x="27575" y="116038"/>
                  </a:cubicBezTo>
                  <a:cubicBezTo>
                    <a:pt x="27610" y="116041"/>
                    <a:pt x="27610" y="116045"/>
                    <a:pt x="27610" y="116049"/>
                  </a:cubicBezTo>
                  <a:close/>
                </a:path>
              </a:pathLst>
            </a:custGeom>
            <a:grpFill/>
            <a:ln w="359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909458E7-6AA5-58B3-EB22-B7D8BD23B7F7}"/>
                </a:ext>
              </a:extLst>
            </p:cNvPr>
            <p:cNvSpPr/>
            <p:nvPr/>
          </p:nvSpPr>
          <p:spPr>
            <a:xfrm>
              <a:off x="1400035" y="2308172"/>
              <a:ext cx="1225036" cy="368293"/>
            </a:xfrm>
            <a:custGeom>
              <a:avLst/>
              <a:gdLst>
                <a:gd name="connsiteX0" fmla="*/ 1225036 w 1225036"/>
                <a:gd name="connsiteY0" fmla="*/ 10345 h 368293"/>
                <a:gd name="connsiteX1" fmla="*/ 605118 w 1225036"/>
                <a:gd name="connsiteY1" fmla="*/ 368294 h 368293"/>
                <a:gd name="connsiteX2" fmla="*/ 0 w 1225036"/>
                <a:gd name="connsiteY2" fmla="*/ 18930 h 368293"/>
                <a:gd name="connsiteX3" fmla="*/ 5963 w 1225036"/>
                <a:gd name="connsiteY3" fmla="*/ 8549 h 368293"/>
                <a:gd name="connsiteX4" fmla="*/ 605118 w 1225036"/>
                <a:gd name="connsiteY4" fmla="*/ 354464 h 368293"/>
                <a:gd name="connsiteX5" fmla="*/ 1219073 w 1225036"/>
                <a:gd name="connsiteY5" fmla="*/ 0 h 368293"/>
                <a:gd name="connsiteX6" fmla="*/ 1225036 w 1225036"/>
                <a:gd name="connsiteY6" fmla="*/ 10345 h 368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5036" h="368293">
                  <a:moveTo>
                    <a:pt x="1225036" y="10345"/>
                  </a:moveTo>
                  <a:lnTo>
                    <a:pt x="605118" y="368294"/>
                  </a:lnTo>
                  <a:lnTo>
                    <a:pt x="0" y="18930"/>
                  </a:lnTo>
                  <a:lnTo>
                    <a:pt x="5963" y="8549"/>
                  </a:lnTo>
                  <a:lnTo>
                    <a:pt x="605118" y="354464"/>
                  </a:lnTo>
                  <a:lnTo>
                    <a:pt x="1219073" y="0"/>
                  </a:lnTo>
                  <a:lnTo>
                    <a:pt x="1225036" y="10345"/>
                  </a:lnTo>
                  <a:close/>
                </a:path>
              </a:pathLst>
            </a:custGeom>
            <a:grpFill/>
            <a:ln w="359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E2943FB2-1C02-7B1A-AAD3-3AE82B2BD3ED}"/>
                </a:ext>
              </a:extLst>
            </p:cNvPr>
            <p:cNvSpPr/>
            <p:nvPr/>
          </p:nvSpPr>
          <p:spPr>
            <a:xfrm>
              <a:off x="2589289" y="2282585"/>
              <a:ext cx="63097" cy="63085"/>
            </a:xfrm>
            <a:custGeom>
              <a:avLst/>
              <a:gdLst>
                <a:gd name="connsiteX0" fmla="*/ 12249 w 63097"/>
                <a:gd name="connsiteY0" fmla="*/ 3969 h 63085"/>
                <a:gd name="connsiteX1" fmla="*/ 55319 w 63097"/>
                <a:gd name="connsiteY1" fmla="*/ 15553 h 63085"/>
                <a:gd name="connsiteX2" fmla="*/ 43752 w 63097"/>
                <a:gd name="connsiteY2" fmla="*/ 58626 h 63085"/>
                <a:gd name="connsiteX3" fmla="*/ 682 w 63097"/>
                <a:gd name="connsiteY3" fmla="*/ 47074 h 63085"/>
                <a:gd name="connsiteX4" fmla="*/ 12214 w 63097"/>
                <a:gd name="connsiteY4" fmla="*/ 3987 h 63085"/>
                <a:gd name="connsiteX5" fmla="*/ 12249 w 63097"/>
                <a:gd name="connsiteY5" fmla="*/ 3969 h 6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097" h="63085">
                  <a:moveTo>
                    <a:pt x="12249" y="3969"/>
                  </a:moveTo>
                  <a:cubicBezTo>
                    <a:pt x="27337" y="-4724"/>
                    <a:pt x="46625" y="463"/>
                    <a:pt x="55319" y="15553"/>
                  </a:cubicBezTo>
                  <a:cubicBezTo>
                    <a:pt x="64012" y="30647"/>
                    <a:pt x="58839" y="49933"/>
                    <a:pt x="43752" y="58626"/>
                  </a:cubicBezTo>
                  <a:cubicBezTo>
                    <a:pt x="28665" y="67311"/>
                    <a:pt x="9377" y="62142"/>
                    <a:pt x="682" y="47074"/>
                  </a:cubicBezTo>
                  <a:cubicBezTo>
                    <a:pt x="-8045" y="31991"/>
                    <a:pt x="-2873" y="12701"/>
                    <a:pt x="12214" y="3987"/>
                  </a:cubicBezTo>
                  <a:cubicBezTo>
                    <a:pt x="12214" y="3983"/>
                    <a:pt x="12249" y="3976"/>
                    <a:pt x="12249" y="3969"/>
                  </a:cubicBezTo>
                  <a:close/>
                </a:path>
              </a:pathLst>
            </a:custGeom>
            <a:grpFill/>
            <a:ln w="359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0DBB373A-8D22-E602-8E8E-3077734B1FCE}"/>
                </a:ext>
              </a:extLst>
            </p:cNvPr>
            <p:cNvSpPr/>
            <p:nvPr/>
          </p:nvSpPr>
          <p:spPr>
            <a:xfrm>
              <a:off x="1355490" y="2273509"/>
              <a:ext cx="99085" cy="99085"/>
            </a:xfrm>
            <a:custGeom>
              <a:avLst/>
              <a:gdLst>
                <a:gd name="connsiteX0" fmla="*/ 70871 w 99085"/>
                <a:gd name="connsiteY0" fmla="*/ 6471 h 99085"/>
                <a:gd name="connsiteX1" fmla="*/ 3160 w 99085"/>
                <a:gd name="connsiteY1" fmla="*/ 24406 h 99085"/>
                <a:gd name="connsiteX2" fmla="*/ 21084 w 99085"/>
                <a:gd name="connsiteY2" fmla="*/ 92124 h 99085"/>
                <a:gd name="connsiteX3" fmla="*/ 88795 w 99085"/>
                <a:gd name="connsiteY3" fmla="*/ 74189 h 99085"/>
                <a:gd name="connsiteX4" fmla="*/ 88831 w 99085"/>
                <a:gd name="connsiteY4" fmla="*/ 74145 h 99085"/>
                <a:gd name="connsiteX5" fmla="*/ 70871 w 99085"/>
                <a:gd name="connsiteY5" fmla="*/ 6471 h 9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85" h="99085">
                  <a:moveTo>
                    <a:pt x="70871" y="6471"/>
                  </a:moveTo>
                  <a:cubicBezTo>
                    <a:pt x="47235" y="-7276"/>
                    <a:pt x="16918" y="752"/>
                    <a:pt x="3160" y="24406"/>
                  </a:cubicBezTo>
                  <a:cubicBezTo>
                    <a:pt x="-10598" y="48060"/>
                    <a:pt x="-2552" y="78377"/>
                    <a:pt x="21084" y="92124"/>
                  </a:cubicBezTo>
                  <a:cubicBezTo>
                    <a:pt x="44756" y="105871"/>
                    <a:pt x="75073" y="97842"/>
                    <a:pt x="88795" y="74189"/>
                  </a:cubicBezTo>
                  <a:cubicBezTo>
                    <a:pt x="88831" y="74174"/>
                    <a:pt x="88831" y="74160"/>
                    <a:pt x="88831" y="74145"/>
                  </a:cubicBezTo>
                  <a:cubicBezTo>
                    <a:pt x="102552" y="50495"/>
                    <a:pt x="94506" y="20207"/>
                    <a:pt x="70871" y="6471"/>
                  </a:cubicBezTo>
                  <a:close/>
                </a:path>
              </a:pathLst>
            </a:custGeom>
            <a:grpFill/>
            <a:ln w="359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1D988D1A-9353-55BF-10CB-F3C3511C6501}"/>
                </a:ext>
              </a:extLst>
            </p:cNvPr>
            <p:cNvSpPr/>
            <p:nvPr/>
          </p:nvSpPr>
          <p:spPr>
            <a:xfrm>
              <a:off x="5329640" y="3295665"/>
              <a:ext cx="993851" cy="841404"/>
            </a:xfrm>
            <a:custGeom>
              <a:avLst/>
              <a:gdLst>
                <a:gd name="connsiteX0" fmla="*/ 993851 w 993851"/>
                <a:gd name="connsiteY0" fmla="*/ 277774 h 841404"/>
                <a:gd name="connsiteX1" fmla="*/ 989109 w 993851"/>
                <a:gd name="connsiteY1" fmla="*/ 285964 h 841404"/>
                <a:gd name="connsiteX2" fmla="*/ 512731 w 993851"/>
                <a:gd name="connsiteY2" fmla="*/ 10956 h 841404"/>
                <a:gd name="connsiteX3" fmla="*/ 9447 w 993851"/>
                <a:gd name="connsiteY3" fmla="*/ 301517 h 841404"/>
                <a:gd name="connsiteX4" fmla="*/ 9447 w 993851"/>
                <a:gd name="connsiteY4" fmla="*/ 841404 h 841404"/>
                <a:gd name="connsiteX5" fmla="*/ 0 w 993851"/>
                <a:gd name="connsiteY5" fmla="*/ 841404 h 841404"/>
                <a:gd name="connsiteX6" fmla="*/ 0 w 993851"/>
                <a:gd name="connsiteY6" fmla="*/ 296058 h 841404"/>
                <a:gd name="connsiteX7" fmla="*/ 512731 w 993851"/>
                <a:gd name="connsiteY7" fmla="*/ 0 h 841404"/>
                <a:gd name="connsiteX8" fmla="*/ 993851 w 993851"/>
                <a:gd name="connsiteY8" fmla="*/ 277774 h 841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851" h="841404">
                  <a:moveTo>
                    <a:pt x="993851" y="277774"/>
                  </a:moveTo>
                  <a:lnTo>
                    <a:pt x="989109" y="285964"/>
                  </a:lnTo>
                  <a:lnTo>
                    <a:pt x="512731" y="10956"/>
                  </a:lnTo>
                  <a:lnTo>
                    <a:pt x="9447" y="301517"/>
                  </a:lnTo>
                  <a:lnTo>
                    <a:pt x="9447" y="841404"/>
                  </a:lnTo>
                  <a:lnTo>
                    <a:pt x="0" y="841404"/>
                  </a:lnTo>
                  <a:lnTo>
                    <a:pt x="0" y="296058"/>
                  </a:lnTo>
                  <a:lnTo>
                    <a:pt x="512731" y="0"/>
                  </a:lnTo>
                  <a:lnTo>
                    <a:pt x="993851" y="277774"/>
                  </a:lnTo>
                  <a:close/>
                </a:path>
              </a:pathLst>
            </a:custGeom>
            <a:grpFill/>
            <a:ln w="359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AD448184-5A5F-D223-A61D-53AA39C9B38C}"/>
                </a:ext>
              </a:extLst>
            </p:cNvPr>
            <p:cNvSpPr/>
            <p:nvPr/>
          </p:nvSpPr>
          <p:spPr>
            <a:xfrm>
              <a:off x="5288080" y="4088469"/>
              <a:ext cx="92532" cy="92531"/>
            </a:xfrm>
            <a:custGeom>
              <a:avLst/>
              <a:gdLst>
                <a:gd name="connsiteX0" fmla="*/ 88972 w 92532"/>
                <a:gd name="connsiteY0" fmla="*/ 46056 h 92531"/>
                <a:gd name="connsiteX1" fmla="*/ 42670 w 92532"/>
                <a:gd name="connsiteY1" fmla="*/ 92286 h 92531"/>
                <a:gd name="connsiteX2" fmla="*/ -3560 w 92532"/>
                <a:gd name="connsiteY2" fmla="*/ 45984 h 92531"/>
                <a:gd name="connsiteX3" fmla="*/ 42705 w 92532"/>
                <a:gd name="connsiteY3" fmla="*/ -245 h 92531"/>
                <a:gd name="connsiteX4" fmla="*/ 88972 w 92532"/>
                <a:gd name="connsiteY4" fmla="*/ 46020 h 92531"/>
                <a:gd name="connsiteX5" fmla="*/ 88972 w 92532"/>
                <a:gd name="connsiteY5" fmla="*/ 46056 h 9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532" h="92531">
                  <a:moveTo>
                    <a:pt x="88972" y="46056"/>
                  </a:moveTo>
                  <a:cubicBezTo>
                    <a:pt x="88935" y="71596"/>
                    <a:pt x="68209" y="92322"/>
                    <a:pt x="42670" y="92286"/>
                  </a:cubicBezTo>
                  <a:cubicBezTo>
                    <a:pt x="17131" y="92250"/>
                    <a:pt x="-3595" y="71524"/>
                    <a:pt x="-3560" y="45984"/>
                  </a:cubicBezTo>
                  <a:cubicBezTo>
                    <a:pt x="-3523" y="20444"/>
                    <a:pt x="17166" y="-245"/>
                    <a:pt x="42705" y="-245"/>
                  </a:cubicBezTo>
                  <a:cubicBezTo>
                    <a:pt x="68246" y="-245"/>
                    <a:pt x="88972" y="20480"/>
                    <a:pt x="88972" y="46020"/>
                  </a:cubicBezTo>
                  <a:cubicBezTo>
                    <a:pt x="88972" y="46020"/>
                    <a:pt x="88972" y="46056"/>
                    <a:pt x="88972" y="46056"/>
                  </a:cubicBezTo>
                  <a:close/>
                </a:path>
              </a:pathLst>
            </a:custGeom>
            <a:grpFill/>
            <a:ln w="359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58FEC96B-C611-58E4-54D7-6119743DA08A}"/>
                </a:ext>
              </a:extLst>
            </p:cNvPr>
            <p:cNvSpPr/>
            <p:nvPr/>
          </p:nvSpPr>
          <p:spPr>
            <a:xfrm>
              <a:off x="6283942" y="3541018"/>
              <a:ext cx="71207" cy="71200"/>
            </a:xfrm>
            <a:custGeom>
              <a:avLst/>
              <a:gdLst>
                <a:gd name="connsiteX0" fmla="*/ 14257 w 71207"/>
                <a:gd name="connsiteY0" fmla="*/ 66193 h 71200"/>
                <a:gd name="connsiteX1" fmla="*/ 62894 w 71207"/>
                <a:gd name="connsiteY1" fmla="*/ 53153 h 71200"/>
                <a:gd name="connsiteX2" fmla="*/ 49818 w 71207"/>
                <a:gd name="connsiteY2" fmla="*/ 4517 h 71200"/>
                <a:gd name="connsiteX3" fmla="*/ 1219 w 71207"/>
                <a:gd name="connsiteY3" fmla="*/ 17556 h 71200"/>
                <a:gd name="connsiteX4" fmla="*/ 14257 w 71207"/>
                <a:gd name="connsiteY4" fmla="*/ 66193 h 71200"/>
                <a:gd name="connsiteX5" fmla="*/ 14257 w 71207"/>
                <a:gd name="connsiteY5" fmla="*/ 66193 h 7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207" h="71200">
                  <a:moveTo>
                    <a:pt x="14257" y="66193"/>
                  </a:moveTo>
                  <a:cubicBezTo>
                    <a:pt x="31283" y="75999"/>
                    <a:pt x="53051" y="70180"/>
                    <a:pt x="62894" y="53153"/>
                  </a:cubicBezTo>
                  <a:cubicBezTo>
                    <a:pt x="72700" y="36127"/>
                    <a:pt x="66844" y="14359"/>
                    <a:pt x="49818" y="4517"/>
                  </a:cubicBezTo>
                  <a:cubicBezTo>
                    <a:pt x="32791" y="-5290"/>
                    <a:pt x="11060" y="530"/>
                    <a:pt x="1219" y="17556"/>
                  </a:cubicBezTo>
                  <a:cubicBezTo>
                    <a:pt x="-8624" y="34582"/>
                    <a:pt x="-2770" y="56350"/>
                    <a:pt x="14257" y="66193"/>
                  </a:cubicBezTo>
                  <a:cubicBezTo>
                    <a:pt x="14257" y="66193"/>
                    <a:pt x="14257" y="66193"/>
                    <a:pt x="14257" y="66193"/>
                  </a:cubicBezTo>
                  <a:close/>
                </a:path>
              </a:pathLst>
            </a:custGeom>
            <a:grpFill/>
            <a:ln w="359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7F83CA78-8932-F913-26A7-2545E03DC1CB}"/>
                </a:ext>
              </a:extLst>
            </p:cNvPr>
            <p:cNvSpPr/>
            <p:nvPr/>
          </p:nvSpPr>
          <p:spPr>
            <a:xfrm>
              <a:off x="5364195" y="4335423"/>
              <a:ext cx="968059" cy="291064"/>
            </a:xfrm>
            <a:custGeom>
              <a:avLst/>
              <a:gdLst>
                <a:gd name="connsiteX0" fmla="*/ 968060 w 968059"/>
                <a:gd name="connsiteY0" fmla="*/ 8226 h 291064"/>
                <a:gd name="connsiteX1" fmla="*/ 478175 w 968059"/>
                <a:gd name="connsiteY1" fmla="*/ 291065 h 291064"/>
                <a:gd name="connsiteX2" fmla="*/ 0 w 968059"/>
                <a:gd name="connsiteY2" fmla="*/ 14979 h 291064"/>
                <a:gd name="connsiteX3" fmla="*/ 4742 w 968059"/>
                <a:gd name="connsiteY3" fmla="*/ 6789 h 291064"/>
                <a:gd name="connsiteX4" fmla="*/ 478175 w 968059"/>
                <a:gd name="connsiteY4" fmla="*/ 280109 h 291064"/>
                <a:gd name="connsiteX5" fmla="*/ 963319 w 968059"/>
                <a:gd name="connsiteY5" fmla="*/ 0 h 291064"/>
                <a:gd name="connsiteX6" fmla="*/ 968060 w 968059"/>
                <a:gd name="connsiteY6" fmla="*/ 8226 h 29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059" h="291064">
                  <a:moveTo>
                    <a:pt x="968060" y="8226"/>
                  </a:moveTo>
                  <a:lnTo>
                    <a:pt x="478175" y="291065"/>
                  </a:lnTo>
                  <a:lnTo>
                    <a:pt x="0" y="14979"/>
                  </a:lnTo>
                  <a:lnTo>
                    <a:pt x="4742" y="6789"/>
                  </a:lnTo>
                  <a:lnTo>
                    <a:pt x="478175" y="280109"/>
                  </a:lnTo>
                  <a:lnTo>
                    <a:pt x="963319" y="0"/>
                  </a:lnTo>
                  <a:lnTo>
                    <a:pt x="968060" y="8226"/>
                  </a:lnTo>
                  <a:close/>
                </a:path>
              </a:pathLst>
            </a:custGeom>
            <a:grpFill/>
            <a:ln w="359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8FFDD9E7-0AB9-9DF4-6BBE-0EBF96E79218}"/>
                </a:ext>
              </a:extLst>
            </p:cNvPr>
            <p:cNvSpPr/>
            <p:nvPr/>
          </p:nvSpPr>
          <p:spPr>
            <a:xfrm>
              <a:off x="6303869" y="4315226"/>
              <a:ext cx="49877" cy="49877"/>
            </a:xfrm>
            <a:custGeom>
              <a:avLst/>
              <a:gdLst>
                <a:gd name="connsiteX0" fmla="*/ 8914 w 49877"/>
                <a:gd name="connsiteY0" fmla="*/ 3105 h 49877"/>
                <a:gd name="connsiteX1" fmla="*/ 42967 w 49877"/>
                <a:gd name="connsiteY1" fmla="*/ 12229 h 49877"/>
                <a:gd name="connsiteX2" fmla="*/ 33843 w 49877"/>
                <a:gd name="connsiteY2" fmla="*/ 46282 h 49877"/>
                <a:gd name="connsiteX3" fmla="*/ -210 w 49877"/>
                <a:gd name="connsiteY3" fmla="*/ 37158 h 49877"/>
                <a:gd name="connsiteX4" fmla="*/ -210 w 49877"/>
                <a:gd name="connsiteY4" fmla="*/ 37158 h 49877"/>
                <a:gd name="connsiteX5" fmla="*/ 8914 w 49877"/>
                <a:gd name="connsiteY5" fmla="*/ 3105 h 4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77" h="49877">
                  <a:moveTo>
                    <a:pt x="8914" y="3105"/>
                  </a:moveTo>
                  <a:cubicBezTo>
                    <a:pt x="20839" y="-3792"/>
                    <a:pt x="36070" y="303"/>
                    <a:pt x="42967" y="12229"/>
                  </a:cubicBezTo>
                  <a:cubicBezTo>
                    <a:pt x="49863" y="24154"/>
                    <a:pt x="45768" y="39385"/>
                    <a:pt x="33843" y="46282"/>
                  </a:cubicBezTo>
                  <a:cubicBezTo>
                    <a:pt x="21916" y="53179"/>
                    <a:pt x="6687" y="49084"/>
                    <a:pt x="-210" y="37158"/>
                  </a:cubicBezTo>
                  <a:cubicBezTo>
                    <a:pt x="-210" y="37158"/>
                    <a:pt x="-210" y="37158"/>
                    <a:pt x="-210" y="37158"/>
                  </a:cubicBezTo>
                  <a:cubicBezTo>
                    <a:pt x="-7106" y="25232"/>
                    <a:pt x="-3012" y="10002"/>
                    <a:pt x="8914" y="3105"/>
                  </a:cubicBezTo>
                  <a:close/>
                </a:path>
              </a:pathLst>
            </a:custGeom>
            <a:grpFill/>
            <a:ln w="359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FF2C3788-788F-7A31-2A05-C281A779E787}"/>
                </a:ext>
              </a:extLst>
            </p:cNvPr>
            <p:cNvSpPr/>
            <p:nvPr/>
          </p:nvSpPr>
          <p:spPr>
            <a:xfrm>
              <a:off x="5329122" y="4308127"/>
              <a:ext cx="78325" cy="78318"/>
            </a:xfrm>
            <a:custGeom>
              <a:avLst/>
              <a:gdLst>
                <a:gd name="connsiteX0" fmla="*/ 55149 w 78325"/>
                <a:gd name="connsiteY0" fmla="*/ 4995 h 78318"/>
                <a:gd name="connsiteX1" fmla="*/ 1663 w 78325"/>
                <a:gd name="connsiteY1" fmla="*/ 19363 h 78318"/>
                <a:gd name="connsiteX2" fmla="*/ 16068 w 78325"/>
                <a:gd name="connsiteY2" fmla="*/ 72849 h 78318"/>
                <a:gd name="connsiteX3" fmla="*/ 69517 w 78325"/>
                <a:gd name="connsiteY3" fmla="*/ 58481 h 78318"/>
                <a:gd name="connsiteX4" fmla="*/ 55149 w 78325"/>
                <a:gd name="connsiteY4" fmla="*/ 4995 h 78318"/>
                <a:gd name="connsiteX5" fmla="*/ 55149 w 78325"/>
                <a:gd name="connsiteY5" fmla="*/ 4995 h 7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325" h="78318">
                  <a:moveTo>
                    <a:pt x="55149" y="4995"/>
                  </a:moveTo>
                  <a:cubicBezTo>
                    <a:pt x="36399" y="-5817"/>
                    <a:pt x="12476" y="648"/>
                    <a:pt x="1663" y="19363"/>
                  </a:cubicBezTo>
                  <a:cubicBezTo>
                    <a:pt x="-9114" y="38113"/>
                    <a:pt x="-2684" y="62037"/>
                    <a:pt x="16068" y="72849"/>
                  </a:cubicBezTo>
                  <a:cubicBezTo>
                    <a:pt x="34782" y="83625"/>
                    <a:pt x="58706" y="77195"/>
                    <a:pt x="69517" y="58481"/>
                  </a:cubicBezTo>
                  <a:cubicBezTo>
                    <a:pt x="80330" y="39766"/>
                    <a:pt x="73900" y="15807"/>
                    <a:pt x="55149" y="4995"/>
                  </a:cubicBezTo>
                  <a:cubicBezTo>
                    <a:pt x="55149" y="4995"/>
                    <a:pt x="55149" y="4995"/>
                    <a:pt x="55149" y="4995"/>
                  </a:cubicBezTo>
                  <a:close/>
                </a:path>
              </a:pathLst>
            </a:custGeom>
            <a:grpFill/>
            <a:ln w="359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D1E7C342-FBC2-0096-7BBA-5693529027F4}"/>
                </a:ext>
              </a:extLst>
            </p:cNvPr>
            <p:cNvSpPr/>
            <p:nvPr/>
          </p:nvSpPr>
          <p:spPr>
            <a:xfrm>
              <a:off x="6460708" y="3677034"/>
              <a:ext cx="9483" cy="508815"/>
            </a:xfrm>
            <a:custGeom>
              <a:avLst/>
              <a:gdLst>
                <a:gd name="connsiteX0" fmla="*/ 0 w 9483"/>
                <a:gd name="connsiteY0" fmla="*/ 0 h 508815"/>
                <a:gd name="connsiteX1" fmla="*/ 9483 w 9483"/>
                <a:gd name="connsiteY1" fmla="*/ 0 h 508815"/>
                <a:gd name="connsiteX2" fmla="*/ 9483 w 9483"/>
                <a:gd name="connsiteY2" fmla="*/ 508815 h 508815"/>
                <a:gd name="connsiteX3" fmla="*/ 0 w 9483"/>
                <a:gd name="connsiteY3" fmla="*/ 508815 h 508815"/>
              </a:gdLst>
              <a:ahLst/>
              <a:cxnLst>
                <a:cxn ang="0">
                  <a:pos x="connsiteX0" y="connsiteY0"/>
                </a:cxn>
                <a:cxn ang="0">
                  <a:pos x="connsiteX1" y="connsiteY1"/>
                </a:cxn>
                <a:cxn ang="0">
                  <a:pos x="connsiteX2" y="connsiteY2"/>
                </a:cxn>
                <a:cxn ang="0">
                  <a:pos x="connsiteX3" y="connsiteY3"/>
                </a:cxn>
              </a:cxnLst>
              <a:rect l="l" t="t" r="r" b="b"/>
              <a:pathLst>
                <a:path w="9483" h="508815">
                  <a:moveTo>
                    <a:pt x="0" y="0"/>
                  </a:moveTo>
                  <a:lnTo>
                    <a:pt x="9483" y="0"/>
                  </a:lnTo>
                  <a:lnTo>
                    <a:pt x="9483" y="508815"/>
                  </a:lnTo>
                  <a:lnTo>
                    <a:pt x="0" y="508815"/>
                  </a:lnTo>
                  <a:close/>
                </a:path>
              </a:pathLst>
            </a:custGeom>
            <a:grpFill/>
            <a:ln w="359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5F2BFAA8-378B-6594-ABB0-66FB9041067B}"/>
                </a:ext>
              </a:extLst>
            </p:cNvPr>
            <p:cNvSpPr/>
            <p:nvPr/>
          </p:nvSpPr>
          <p:spPr>
            <a:xfrm>
              <a:off x="6419147" y="3633032"/>
              <a:ext cx="92604" cy="92603"/>
            </a:xfrm>
            <a:custGeom>
              <a:avLst/>
              <a:gdLst>
                <a:gd name="connsiteX0" fmla="*/ -3560 w 92604"/>
                <a:gd name="connsiteY0" fmla="*/ 46056 h 92603"/>
                <a:gd name="connsiteX1" fmla="*/ 42742 w 92604"/>
                <a:gd name="connsiteY1" fmla="*/ -245 h 92603"/>
                <a:gd name="connsiteX2" fmla="*/ 89044 w 92604"/>
                <a:gd name="connsiteY2" fmla="*/ 46056 h 92603"/>
                <a:gd name="connsiteX3" fmla="*/ 42742 w 92604"/>
                <a:gd name="connsiteY3" fmla="*/ 92358 h 92603"/>
                <a:gd name="connsiteX4" fmla="*/ 42707 w 92604"/>
                <a:gd name="connsiteY4" fmla="*/ 92358 h 92603"/>
                <a:gd name="connsiteX5" fmla="*/ -3560 w 92604"/>
                <a:gd name="connsiteY5" fmla="*/ 46092 h 92603"/>
                <a:gd name="connsiteX6" fmla="*/ -3560 w 92604"/>
                <a:gd name="connsiteY6" fmla="*/ 46056 h 9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604" h="92603">
                  <a:moveTo>
                    <a:pt x="-3560" y="46056"/>
                  </a:moveTo>
                  <a:cubicBezTo>
                    <a:pt x="-3560" y="20481"/>
                    <a:pt x="17166" y="-245"/>
                    <a:pt x="42742" y="-245"/>
                  </a:cubicBezTo>
                  <a:cubicBezTo>
                    <a:pt x="68318" y="-245"/>
                    <a:pt x="89044" y="20481"/>
                    <a:pt x="89044" y="46056"/>
                  </a:cubicBezTo>
                  <a:cubicBezTo>
                    <a:pt x="89044" y="71632"/>
                    <a:pt x="68318" y="92358"/>
                    <a:pt x="42742" y="92358"/>
                  </a:cubicBezTo>
                  <a:cubicBezTo>
                    <a:pt x="42742" y="92358"/>
                    <a:pt x="42707" y="92358"/>
                    <a:pt x="42707" y="92358"/>
                  </a:cubicBezTo>
                  <a:cubicBezTo>
                    <a:pt x="17166" y="92358"/>
                    <a:pt x="-3560" y="71632"/>
                    <a:pt x="-3560" y="46092"/>
                  </a:cubicBezTo>
                  <a:cubicBezTo>
                    <a:pt x="-3560" y="46092"/>
                    <a:pt x="-3560" y="46056"/>
                    <a:pt x="-3560" y="46056"/>
                  </a:cubicBezTo>
                  <a:close/>
                </a:path>
              </a:pathLst>
            </a:custGeom>
            <a:grpFill/>
            <a:ln w="359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96DE35C6-CC39-7E96-604F-3EA7E875A162}"/>
                </a:ext>
              </a:extLst>
            </p:cNvPr>
            <p:cNvSpPr/>
            <p:nvPr/>
          </p:nvSpPr>
          <p:spPr>
            <a:xfrm>
              <a:off x="6429816" y="4148492"/>
              <a:ext cx="71193" cy="71194"/>
            </a:xfrm>
            <a:custGeom>
              <a:avLst/>
              <a:gdLst>
                <a:gd name="connsiteX0" fmla="*/ -3560 w 71193"/>
                <a:gd name="connsiteY0" fmla="*/ 35352 h 71194"/>
                <a:gd name="connsiteX1" fmla="*/ 32038 w 71193"/>
                <a:gd name="connsiteY1" fmla="*/ 70949 h 71194"/>
                <a:gd name="connsiteX2" fmla="*/ 67634 w 71193"/>
                <a:gd name="connsiteY2" fmla="*/ 35352 h 71194"/>
                <a:gd name="connsiteX3" fmla="*/ 32038 w 71193"/>
                <a:gd name="connsiteY3" fmla="*/ -245 h 71194"/>
                <a:gd name="connsiteX4" fmla="*/ -3560 w 71193"/>
                <a:gd name="connsiteY4" fmla="*/ 35352 h 71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93" h="71194">
                  <a:moveTo>
                    <a:pt x="-3560" y="35352"/>
                  </a:moveTo>
                  <a:cubicBezTo>
                    <a:pt x="-3560" y="55000"/>
                    <a:pt x="12388" y="70949"/>
                    <a:pt x="32038" y="70949"/>
                  </a:cubicBezTo>
                  <a:cubicBezTo>
                    <a:pt x="51685" y="70949"/>
                    <a:pt x="67634" y="55000"/>
                    <a:pt x="67634" y="35352"/>
                  </a:cubicBezTo>
                  <a:cubicBezTo>
                    <a:pt x="67634" y="15703"/>
                    <a:pt x="51685" y="-245"/>
                    <a:pt x="32038" y="-245"/>
                  </a:cubicBezTo>
                  <a:cubicBezTo>
                    <a:pt x="12388" y="-245"/>
                    <a:pt x="-3560" y="15703"/>
                    <a:pt x="-3560" y="35352"/>
                  </a:cubicBezTo>
                  <a:close/>
                </a:path>
              </a:pathLst>
            </a:custGeom>
            <a:grpFill/>
            <a:ln w="359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2684FE09-7F44-778E-1B4C-3B154A8FCA8E}"/>
                </a:ext>
              </a:extLst>
            </p:cNvPr>
            <p:cNvSpPr/>
            <p:nvPr/>
          </p:nvSpPr>
          <p:spPr>
            <a:xfrm>
              <a:off x="5323857" y="1311807"/>
              <a:ext cx="525913" cy="916693"/>
            </a:xfrm>
            <a:custGeom>
              <a:avLst/>
              <a:gdLst>
                <a:gd name="connsiteX0" fmla="*/ 525914 w 525913"/>
                <a:gd name="connsiteY0" fmla="*/ 907821 h 916693"/>
                <a:gd name="connsiteX1" fmla="*/ 520813 w 525913"/>
                <a:gd name="connsiteY1" fmla="*/ 916694 h 916693"/>
                <a:gd name="connsiteX2" fmla="*/ 0 w 525913"/>
                <a:gd name="connsiteY2" fmla="*/ 616002 h 916693"/>
                <a:gd name="connsiteX3" fmla="*/ 0 w 525913"/>
                <a:gd name="connsiteY3" fmla="*/ 0 h 916693"/>
                <a:gd name="connsiteX4" fmla="*/ 10237 w 525913"/>
                <a:gd name="connsiteY4" fmla="*/ 0 h 916693"/>
                <a:gd name="connsiteX5" fmla="*/ 10237 w 525913"/>
                <a:gd name="connsiteY5" fmla="*/ 610111 h 916693"/>
                <a:gd name="connsiteX6" fmla="*/ 525914 w 525913"/>
                <a:gd name="connsiteY6" fmla="*/ 907821 h 91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913" h="916693">
                  <a:moveTo>
                    <a:pt x="525914" y="907821"/>
                  </a:moveTo>
                  <a:lnTo>
                    <a:pt x="520813" y="916694"/>
                  </a:lnTo>
                  <a:lnTo>
                    <a:pt x="0" y="616002"/>
                  </a:lnTo>
                  <a:lnTo>
                    <a:pt x="0" y="0"/>
                  </a:lnTo>
                  <a:lnTo>
                    <a:pt x="10237" y="0"/>
                  </a:lnTo>
                  <a:lnTo>
                    <a:pt x="10237" y="610111"/>
                  </a:lnTo>
                  <a:lnTo>
                    <a:pt x="525914" y="907821"/>
                  </a:lnTo>
                  <a:close/>
                </a:path>
              </a:pathLst>
            </a:custGeom>
            <a:grpFill/>
            <a:ln w="359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D3DB2BE5-DC44-4C24-0998-903C85A27D4A}"/>
                </a:ext>
              </a:extLst>
            </p:cNvPr>
            <p:cNvSpPr/>
            <p:nvPr/>
          </p:nvSpPr>
          <p:spPr>
            <a:xfrm>
              <a:off x="5807000" y="2184534"/>
              <a:ext cx="77099" cy="77098"/>
            </a:xfrm>
            <a:custGeom>
              <a:avLst/>
              <a:gdLst>
                <a:gd name="connsiteX0" fmla="*/ 54261 w 77099"/>
                <a:gd name="connsiteY0" fmla="*/ 4927 h 77098"/>
                <a:gd name="connsiteX1" fmla="*/ 68379 w 77099"/>
                <a:gd name="connsiteY1" fmla="*/ 57579 h 77098"/>
                <a:gd name="connsiteX2" fmla="*/ 15718 w 77099"/>
                <a:gd name="connsiteY2" fmla="*/ 71682 h 77098"/>
                <a:gd name="connsiteX3" fmla="*/ 1601 w 77099"/>
                <a:gd name="connsiteY3" fmla="*/ 19044 h 77098"/>
                <a:gd name="connsiteX4" fmla="*/ 54261 w 77099"/>
                <a:gd name="connsiteY4" fmla="*/ 4920 h 77098"/>
                <a:gd name="connsiteX5" fmla="*/ 54261 w 77099"/>
                <a:gd name="connsiteY5" fmla="*/ 4927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9" h="77098">
                  <a:moveTo>
                    <a:pt x="54261" y="4927"/>
                  </a:moveTo>
                  <a:cubicBezTo>
                    <a:pt x="72688" y="15570"/>
                    <a:pt x="79011" y="39145"/>
                    <a:pt x="68379" y="57579"/>
                  </a:cubicBezTo>
                  <a:cubicBezTo>
                    <a:pt x="57709" y="76014"/>
                    <a:pt x="34145" y="82325"/>
                    <a:pt x="15718" y="71682"/>
                  </a:cubicBezTo>
                  <a:cubicBezTo>
                    <a:pt x="-2708" y="61038"/>
                    <a:pt x="-9031" y="37478"/>
                    <a:pt x="1601" y="19044"/>
                  </a:cubicBezTo>
                  <a:cubicBezTo>
                    <a:pt x="12233" y="606"/>
                    <a:pt x="35797" y="-5720"/>
                    <a:pt x="54261" y="4920"/>
                  </a:cubicBezTo>
                  <a:cubicBezTo>
                    <a:pt x="54261" y="4923"/>
                    <a:pt x="54261" y="4923"/>
                    <a:pt x="54261" y="4927"/>
                  </a:cubicBezTo>
                  <a:close/>
                </a:path>
              </a:pathLst>
            </a:custGeom>
            <a:grpFill/>
            <a:ln w="359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9295EC86-CF73-A2EC-C865-73207711D34E}"/>
                </a:ext>
              </a:extLst>
            </p:cNvPr>
            <p:cNvSpPr/>
            <p:nvPr/>
          </p:nvSpPr>
          <p:spPr>
            <a:xfrm>
              <a:off x="5305824" y="1289823"/>
              <a:ext cx="46267" cy="46265"/>
            </a:xfrm>
            <a:custGeom>
              <a:avLst/>
              <a:gdLst>
                <a:gd name="connsiteX0" fmla="*/ 42707 w 46267"/>
                <a:gd name="connsiteY0" fmla="*/ 22887 h 46265"/>
                <a:gd name="connsiteX1" fmla="*/ 19572 w 46267"/>
                <a:gd name="connsiteY1" fmla="*/ -245 h 46265"/>
                <a:gd name="connsiteX2" fmla="*/ -3560 w 46267"/>
                <a:gd name="connsiteY2" fmla="*/ 22887 h 46265"/>
                <a:gd name="connsiteX3" fmla="*/ 19572 w 46267"/>
                <a:gd name="connsiteY3" fmla="*/ 46020 h 46265"/>
                <a:gd name="connsiteX4" fmla="*/ 42707 w 46267"/>
                <a:gd name="connsiteY4" fmla="*/ 22887 h 4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67" h="46265">
                  <a:moveTo>
                    <a:pt x="42707" y="22887"/>
                  </a:moveTo>
                  <a:cubicBezTo>
                    <a:pt x="42707" y="10110"/>
                    <a:pt x="32360" y="-245"/>
                    <a:pt x="19572" y="-245"/>
                  </a:cubicBezTo>
                  <a:cubicBezTo>
                    <a:pt x="6786" y="-245"/>
                    <a:pt x="-3560" y="10110"/>
                    <a:pt x="-3560" y="22887"/>
                  </a:cubicBezTo>
                  <a:cubicBezTo>
                    <a:pt x="-3560" y="35664"/>
                    <a:pt x="6786" y="46020"/>
                    <a:pt x="19572" y="46020"/>
                  </a:cubicBezTo>
                  <a:cubicBezTo>
                    <a:pt x="32360" y="46020"/>
                    <a:pt x="42707" y="35664"/>
                    <a:pt x="42707" y="22887"/>
                  </a:cubicBezTo>
                  <a:close/>
                </a:path>
              </a:pathLst>
            </a:custGeom>
            <a:grpFill/>
            <a:ln w="359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9897F04A-3EE0-2CDA-CF04-8D04799C9B41}"/>
                </a:ext>
              </a:extLst>
            </p:cNvPr>
            <p:cNvSpPr/>
            <p:nvPr/>
          </p:nvSpPr>
          <p:spPr>
            <a:xfrm>
              <a:off x="5598362" y="2361442"/>
              <a:ext cx="557667" cy="1120183"/>
            </a:xfrm>
            <a:custGeom>
              <a:avLst/>
              <a:gdLst>
                <a:gd name="connsiteX0" fmla="*/ 557667 w 557667"/>
                <a:gd name="connsiteY0" fmla="*/ 318975 h 1120183"/>
                <a:gd name="connsiteX1" fmla="*/ 557667 w 557667"/>
                <a:gd name="connsiteY1" fmla="*/ 959942 h 1120183"/>
                <a:gd name="connsiteX2" fmla="*/ 280109 w 557667"/>
                <a:gd name="connsiteY2" fmla="*/ 1120184 h 1120183"/>
                <a:gd name="connsiteX3" fmla="*/ 274972 w 557667"/>
                <a:gd name="connsiteY3" fmla="*/ 1111276 h 1120183"/>
                <a:gd name="connsiteX4" fmla="*/ 547394 w 557667"/>
                <a:gd name="connsiteY4" fmla="*/ 954015 h 1120183"/>
                <a:gd name="connsiteX5" fmla="*/ 547394 w 557667"/>
                <a:gd name="connsiteY5" fmla="*/ 324902 h 1120183"/>
                <a:gd name="connsiteX6" fmla="*/ 0 w 557667"/>
                <a:gd name="connsiteY6" fmla="*/ 8872 h 1120183"/>
                <a:gd name="connsiteX7" fmla="*/ 5136 w 557667"/>
                <a:gd name="connsiteY7" fmla="*/ 0 h 1120183"/>
                <a:gd name="connsiteX8" fmla="*/ 557667 w 557667"/>
                <a:gd name="connsiteY8" fmla="*/ 318975 h 112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67" h="1120183">
                  <a:moveTo>
                    <a:pt x="557667" y="318975"/>
                  </a:moveTo>
                  <a:lnTo>
                    <a:pt x="557667" y="959942"/>
                  </a:lnTo>
                  <a:lnTo>
                    <a:pt x="280109" y="1120184"/>
                  </a:lnTo>
                  <a:lnTo>
                    <a:pt x="274972" y="1111276"/>
                  </a:lnTo>
                  <a:lnTo>
                    <a:pt x="547394" y="954015"/>
                  </a:lnTo>
                  <a:lnTo>
                    <a:pt x="547394" y="324902"/>
                  </a:lnTo>
                  <a:lnTo>
                    <a:pt x="0" y="8872"/>
                  </a:lnTo>
                  <a:lnTo>
                    <a:pt x="5136" y="0"/>
                  </a:lnTo>
                  <a:lnTo>
                    <a:pt x="557667" y="318975"/>
                  </a:lnTo>
                  <a:close/>
                </a:path>
              </a:pathLst>
            </a:custGeom>
            <a:grpFill/>
            <a:ln w="359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3BEE31F6-2A4C-B327-F9F6-D1CC0C8603F9}"/>
                </a:ext>
              </a:extLst>
            </p:cNvPr>
            <p:cNvSpPr/>
            <p:nvPr/>
          </p:nvSpPr>
          <p:spPr>
            <a:xfrm>
              <a:off x="1914669" y="201824"/>
              <a:ext cx="525949" cy="1236817"/>
            </a:xfrm>
            <a:custGeom>
              <a:avLst/>
              <a:gdLst>
                <a:gd name="connsiteX0" fmla="*/ 525949 w 525949"/>
                <a:gd name="connsiteY0" fmla="*/ 300691 h 1236817"/>
                <a:gd name="connsiteX1" fmla="*/ 525949 w 525949"/>
                <a:gd name="connsiteY1" fmla="*/ 941623 h 1236817"/>
                <a:gd name="connsiteX2" fmla="*/ 14656 w 525949"/>
                <a:gd name="connsiteY2" fmla="*/ 1236818 h 1236817"/>
                <a:gd name="connsiteX3" fmla="*/ 9519 w 525949"/>
                <a:gd name="connsiteY3" fmla="*/ 1227946 h 1236817"/>
                <a:gd name="connsiteX4" fmla="*/ 515676 w 525949"/>
                <a:gd name="connsiteY4" fmla="*/ 935696 h 1236817"/>
                <a:gd name="connsiteX5" fmla="*/ 515676 w 525949"/>
                <a:gd name="connsiteY5" fmla="*/ 306582 h 1236817"/>
                <a:gd name="connsiteX6" fmla="*/ 0 w 525949"/>
                <a:gd name="connsiteY6" fmla="*/ 8872 h 1236817"/>
                <a:gd name="connsiteX7" fmla="*/ 5137 w 525949"/>
                <a:gd name="connsiteY7" fmla="*/ 0 h 1236817"/>
                <a:gd name="connsiteX8" fmla="*/ 525949 w 525949"/>
                <a:gd name="connsiteY8" fmla="*/ 300691 h 123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949" h="1236817">
                  <a:moveTo>
                    <a:pt x="525949" y="300691"/>
                  </a:moveTo>
                  <a:lnTo>
                    <a:pt x="525949" y="941623"/>
                  </a:lnTo>
                  <a:lnTo>
                    <a:pt x="14656" y="1236818"/>
                  </a:lnTo>
                  <a:lnTo>
                    <a:pt x="9519" y="1227946"/>
                  </a:lnTo>
                  <a:lnTo>
                    <a:pt x="515676" y="935696"/>
                  </a:lnTo>
                  <a:lnTo>
                    <a:pt x="515676" y="306582"/>
                  </a:lnTo>
                  <a:lnTo>
                    <a:pt x="0" y="8872"/>
                  </a:lnTo>
                  <a:lnTo>
                    <a:pt x="5137" y="0"/>
                  </a:lnTo>
                  <a:lnTo>
                    <a:pt x="525949" y="300691"/>
                  </a:lnTo>
                  <a:close/>
                </a:path>
              </a:pathLst>
            </a:custGeom>
            <a:grpFill/>
            <a:ln w="359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6F8AC657-598B-F56F-E731-FEDD224E505C}"/>
                </a:ext>
              </a:extLst>
            </p:cNvPr>
            <p:cNvSpPr/>
            <p:nvPr/>
          </p:nvSpPr>
          <p:spPr>
            <a:xfrm>
              <a:off x="1880340" y="168656"/>
              <a:ext cx="77099" cy="77098"/>
            </a:xfrm>
            <a:custGeom>
              <a:avLst/>
              <a:gdLst>
                <a:gd name="connsiteX0" fmla="*/ 15719 w 77099"/>
                <a:gd name="connsiteY0" fmla="*/ 71681 h 77098"/>
                <a:gd name="connsiteX1" fmla="*/ 1601 w 77099"/>
                <a:gd name="connsiteY1" fmla="*/ 19028 h 77098"/>
                <a:gd name="connsiteX2" fmla="*/ 54261 w 77099"/>
                <a:gd name="connsiteY2" fmla="*/ 4926 h 77098"/>
                <a:gd name="connsiteX3" fmla="*/ 68378 w 77099"/>
                <a:gd name="connsiteY3" fmla="*/ 57564 h 77098"/>
                <a:gd name="connsiteX4" fmla="*/ 15719 w 77099"/>
                <a:gd name="connsiteY4" fmla="*/ 71688 h 77098"/>
                <a:gd name="connsiteX5" fmla="*/ 15719 w 77099"/>
                <a:gd name="connsiteY5" fmla="*/ 71681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9" h="77098">
                  <a:moveTo>
                    <a:pt x="15719" y="71681"/>
                  </a:moveTo>
                  <a:cubicBezTo>
                    <a:pt x="-2709" y="61038"/>
                    <a:pt x="-9031" y="37463"/>
                    <a:pt x="1601" y="19028"/>
                  </a:cubicBezTo>
                  <a:cubicBezTo>
                    <a:pt x="12269" y="594"/>
                    <a:pt x="35834" y="-5717"/>
                    <a:pt x="54261" y="4926"/>
                  </a:cubicBezTo>
                  <a:cubicBezTo>
                    <a:pt x="72688" y="15569"/>
                    <a:pt x="79010" y="39130"/>
                    <a:pt x="68378" y="57564"/>
                  </a:cubicBezTo>
                  <a:cubicBezTo>
                    <a:pt x="57746" y="76002"/>
                    <a:pt x="34181" y="82328"/>
                    <a:pt x="15719" y="71688"/>
                  </a:cubicBezTo>
                  <a:cubicBezTo>
                    <a:pt x="15719" y="71684"/>
                    <a:pt x="15719" y="71684"/>
                    <a:pt x="15719" y="71681"/>
                  </a:cubicBezTo>
                  <a:close/>
                </a:path>
              </a:pathLst>
            </a:custGeom>
            <a:grpFill/>
            <a:ln w="359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DD3D1F69-5274-BF31-6505-5E07B7B9C839}"/>
                </a:ext>
              </a:extLst>
            </p:cNvPr>
            <p:cNvSpPr/>
            <p:nvPr/>
          </p:nvSpPr>
          <p:spPr>
            <a:xfrm rot="18067199">
              <a:off x="1878610" y="1382671"/>
              <a:ext cx="100218" cy="100218"/>
            </a:xfrm>
            <a:custGeom>
              <a:avLst/>
              <a:gdLst>
                <a:gd name="connsiteX0" fmla="*/ 96658 w 100218"/>
                <a:gd name="connsiteY0" fmla="*/ 49864 h 100218"/>
                <a:gd name="connsiteX1" fmla="*/ 46549 w 100218"/>
                <a:gd name="connsiteY1" fmla="*/ 99973 h 100218"/>
                <a:gd name="connsiteX2" fmla="*/ -3560 w 100218"/>
                <a:gd name="connsiteY2" fmla="*/ 49864 h 100218"/>
                <a:gd name="connsiteX3" fmla="*/ 46549 w 100218"/>
                <a:gd name="connsiteY3" fmla="*/ -245 h 100218"/>
                <a:gd name="connsiteX4" fmla="*/ 96658 w 100218"/>
                <a:gd name="connsiteY4" fmla="*/ 49864 h 100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8" h="100218">
                  <a:moveTo>
                    <a:pt x="96658" y="49864"/>
                  </a:moveTo>
                  <a:cubicBezTo>
                    <a:pt x="96658" y="77538"/>
                    <a:pt x="74223" y="99973"/>
                    <a:pt x="46549" y="99973"/>
                  </a:cubicBezTo>
                  <a:cubicBezTo>
                    <a:pt x="18875" y="99973"/>
                    <a:pt x="-3560" y="77539"/>
                    <a:pt x="-3560" y="49864"/>
                  </a:cubicBezTo>
                  <a:cubicBezTo>
                    <a:pt x="-3560" y="22189"/>
                    <a:pt x="18875" y="-245"/>
                    <a:pt x="46549" y="-245"/>
                  </a:cubicBezTo>
                  <a:cubicBezTo>
                    <a:pt x="74223" y="-245"/>
                    <a:pt x="96658" y="22189"/>
                    <a:pt x="96658" y="49864"/>
                  </a:cubicBezTo>
                  <a:close/>
                </a:path>
              </a:pathLst>
            </a:custGeom>
            <a:grpFill/>
            <a:ln w="359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5BE818DB-C2B7-858A-FE37-27C3D5D42CBB}"/>
                </a:ext>
              </a:extLst>
            </p:cNvPr>
            <p:cNvSpPr/>
            <p:nvPr/>
          </p:nvSpPr>
          <p:spPr>
            <a:xfrm rot="19799999">
              <a:off x="2117992" y="4193776"/>
              <a:ext cx="635039" cy="10237"/>
            </a:xfrm>
            <a:custGeom>
              <a:avLst/>
              <a:gdLst>
                <a:gd name="connsiteX0" fmla="*/ -3561 w 635039"/>
                <a:gd name="connsiteY0" fmla="*/ -245 h 10237"/>
                <a:gd name="connsiteX1" fmla="*/ 631479 w 635039"/>
                <a:gd name="connsiteY1" fmla="*/ -245 h 10237"/>
                <a:gd name="connsiteX2" fmla="*/ 631479 w 635039"/>
                <a:gd name="connsiteY2" fmla="*/ 9992 h 10237"/>
                <a:gd name="connsiteX3" fmla="*/ -3561 w 635039"/>
                <a:gd name="connsiteY3" fmla="*/ 9992 h 10237"/>
              </a:gdLst>
              <a:ahLst/>
              <a:cxnLst>
                <a:cxn ang="0">
                  <a:pos x="connsiteX0" y="connsiteY0"/>
                </a:cxn>
                <a:cxn ang="0">
                  <a:pos x="connsiteX1" y="connsiteY1"/>
                </a:cxn>
                <a:cxn ang="0">
                  <a:pos x="connsiteX2" y="connsiteY2"/>
                </a:cxn>
                <a:cxn ang="0">
                  <a:pos x="connsiteX3" y="connsiteY3"/>
                </a:cxn>
              </a:cxnLst>
              <a:rect l="l" t="t" r="r" b="b"/>
              <a:pathLst>
                <a:path w="635039" h="10237">
                  <a:moveTo>
                    <a:pt x="-3561" y="-245"/>
                  </a:moveTo>
                  <a:lnTo>
                    <a:pt x="631479" y="-245"/>
                  </a:lnTo>
                  <a:lnTo>
                    <a:pt x="631479" y="9992"/>
                  </a:lnTo>
                  <a:lnTo>
                    <a:pt x="-3561" y="9992"/>
                  </a:lnTo>
                  <a:close/>
                </a:path>
              </a:pathLst>
            </a:custGeom>
            <a:grpFill/>
            <a:ln w="359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11F6EB3E-5E3D-AD16-EAB8-3C869DBBAF21}"/>
                </a:ext>
              </a:extLst>
            </p:cNvPr>
            <p:cNvSpPr/>
            <p:nvPr/>
          </p:nvSpPr>
          <p:spPr>
            <a:xfrm rot="19799999">
              <a:off x="5089898" y="4901722"/>
              <a:ext cx="635039" cy="10237"/>
            </a:xfrm>
            <a:custGeom>
              <a:avLst/>
              <a:gdLst>
                <a:gd name="connsiteX0" fmla="*/ -3560 w 635039"/>
                <a:gd name="connsiteY0" fmla="*/ -246 h 10237"/>
                <a:gd name="connsiteX1" fmla="*/ 631480 w 635039"/>
                <a:gd name="connsiteY1" fmla="*/ -246 h 10237"/>
                <a:gd name="connsiteX2" fmla="*/ 631480 w 635039"/>
                <a:gd name="connsiteY2" fmla="*/ 9992 h 10237"/>
                <a:gd name="connsiteX3" fmla="*/ -3560 w 635039"/>
                <a:gd name="connsiteY3" fmla="*/ 9992 h 10237"/>
              </a:gdLst>
              <a:ahLst/>
              <a:cxnLst>
                <a:cxn ang="0">
                  <a:pos x="connsiteX0" y="connsiteY0"/>
                </a:cxn>
                <a:cxn ang="0">
                  <a:pos x="connsiteX1" y="connsiteY1"/>
                </a:cxn>
                <a:cxn ang="0">
                  <a:pos x="connsiteX2" y="connsiteY2"/>
                </a:cxn>
                <a:cxn ang="0">
                  <a:pos x="connsiteX3" y="connsiteY3"/>
                </a:cxn>
              </a:cxnLst>
              <a:rect l="l" t="t" r="r" b="b"/>
              <a:pathLst>
                <a:path w="635039" h="10237">
                  <a:moveTo>
                    <a:pt x="-3560" y="-246"/>
                  </a:moveTo>
                  <a:lnTo>
                    <a:pt x="631480" y="-246"/>
                  </a:lnTo>
                  <a:lnTo>
                    <a:pt x="631480" y="9992"/>
                  </a:lnTo>
                  <a:lnTo>
                    <a:pt x="-3560" y="9992"/>
                  </a:lnTo>
                  <a:close/>
                </a:path>
              </a:pathLst>
            </a:custGeom>
            <a:grpFill/>
            <a:ln w="359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8CAF97FF-B3E7-FB7D-BF17-9315EEFAB73D}"/>
                </a:ext>
              </a:extLst>
            </p:cNvPr>
            <p:cNvSpPr/>
            <p:nvPr/>
          </p:nvSpPr>
          <p:spPr>
            <a:xfrm rot="19799999">
              <a:off x="5756058" y="1312474"/>
              <a:ext cx="569125" cy="10237"/>
            </a:xfrm>
            <a:custGeom>
              <a:avLst/>
              <a:gdLst>
                <a:gd name="connsiteX0" fmla="*/ -3559 w 569125"/>
                <a:gd name="connsiteY0" fmla="*/ -245 h 10237"/>
                <a:gd name="connsiteX1" fmla="*/ 565566 w 569125"/>
                <a:gd name="connsiteY1" fmla="*/ -245 h 10237"/>
                <a:gd name="connsiteX2" fmla="*/ 565566 w 569125"/>
                <a:gd name="connsiteY2" fmla="*/ 9992 h 10237"/>
                <a:gd name="connsiteX3" fmla="*/ -3559 w 569125"/>
                <a:gd name="connsiteY3" fmla="*/ 9992 h 10237"/>
              </a:gdLst>
              <a:ahLst/>
              <a:cxnLst>
                <a:cxn ang="0">
                  <a:pos x="connsiteX0" y="connsiteY0"/>
                </a:cxn>
                <a:cxn ang="0">
                  <a:pos x="connsiteX1" y="connsiteY1"/>
                </a:cxn>
                <a:cxn ang="0">
                  <a:pos x="connsiteX2" y="connsiteY2"/>
                </a:cxn>
                <a:cxn ang="0">
                  <a:pos x="connsiteX3" y="connsiteY3"/>
                </a:cxn>
              </a:cxnLst>
              <a:rect l="l" t="t" r="r" b="b"/>
              <a:pathLst>
                <a:path w="569125" h="10237">
                  <a:moveTo>
                    <a:pt x="-3559" y="-245"/>
                  </a:moveTo>
                  <a:lnTo>
                    <a:pt x="565566" y="-245"/>
                  </a:lnTo>
                  <a:lnTo>
                    <a:pt x="565566" y="9992"/>
                  </a:lnTo>
                  <a:lnTo>
                    <a:pt x="-3559" y="9992"/>
                  </a:lnTo>
                  <a:close/>
                </a:path>
              </a:pathLst>
            </a:custGeom>
            <a:grpFill/>
            <a:ln w="359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C6AC470B-A31E-9CF4-C521-3C29BB4C5E8A}"/>
                </a:ext>
              </a:extLst>
            </p:cNvPr>
            <p:cNvSpPr/>
            <p:nvPr/>
          </p:nvSpPr>
          <p:spPr>
            <a:xfrm>
              <a:off x="5757287" y="1420338"/>
              <a:ext cx="77105" cy="77097"/>
            </a:xfrm>
            <a:custGeom>
              <a:avLst/>
              <a:gdLst>
                <a:gd name="connsiteX0" fmla="*/ 54260 w 77105"/>
                <a:gd name="connsiteY0" fmla="*/ 71689 h 77097"/>
                <a:gd name="connsiteX1" fmla="*/ 1600 w 77105"/>
                <a:gd name="connsiteY1" fmla="*/ 57565 h 77097"/>
                <a:gd name="connsiteX2" fmla="*/ 15753 w 77105"/>
                <a:gd name="connsiteY2" fmla="*/ 4919 h 77097"/>
                <a:gd name="connsiteX3" fmla="*/ 68376 w 77105"/>
                <a:gd name="connsiteY3" fmla="*/ 19029 h 77097"/>
                <a:gd name="connsiteX4" fmla="*/ 54260 w 77105"/>
                <a:gd name="connsiteY4" fmla="*/ 71682 h 77097"/>
                <a:gd name="connsiteX5" fmla="*/ 54260 w 77105"/>
                <a:gd name="connsiteY5" fmla="*/ 71689 h 77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05" h="77097">
                  <a:moveTo>
                    <a:pt x="54260" y="71689"/>
                  </a:moveTo>
                  <a:cubicBezTo>
                    <a:pt x="35832" y="82325"/>
                    <a:pt x="12269" y="76003"/>
                    <a:pt x="1600" y="57565"/>
                  </a:cubicBezTo>
                  <a:cubicBezTo>
                    <a:pt x="-9032" y="39127"/>
                    <a:pt x="-2711" y="15556"/>
                    <a:pt x="15753" y="4919"/>
                  </a:cubicBezTo>
                  <a:cubicBezTo>
                    <a:pt x="34179" y="-5717"/>
                    <a:pt x="57744" y="602"/>
                    <a:pt x="68376" y="19029"/>
                  </a:cubicBezTo>
                  <a:cubicBezTo>
                    <a:pt x="79008" y="37464"/>
                    <a:pt x="72722" y="61035"/>
                    <a:pt x="54260" y="71682"/>
                  </a:cubicBezTo>
                  <a:cubicBezTo>
                    <a:pt x="54260" y="71685"/>
                    <a:pt x="54260" y="71685"/>
                    <a:pt x="54260" y="71689"/>
                  </a:cubicBezTo>
                  <a:close/>
                </a:path>
              </a:pathLst>
            </a:custGeom>
            <a:grpFill/>
            <a:ln w="359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BE9B3A8C-DB0A-2F3D-4E93-C5963247601B}"/>
                </a:ext>
              </a:extLst>
            </p:cNvPr>
            <p:cNvSpPr/>
            <p:nvPr/>
          </p:nvSpPr>
          <p:spPr>
            <a:xfrm>
              <a:off x="6255077" y="1145251"/>
              <a:ext cx="61636" cy="61649"/>
            </a:xfrm>
            <a:custGeom>
              <a:avLst/>
              <a:gdLst>
                <a:gd name="connsiteX0" fmla="*/ 42691 w 61636"/>
                <a:gd name="connsiteY0" fmla="*/ 57255 h 61649"/>
                <a:gd name="connsiteX1" fmla="*/ 53934 w 61636"/>
                <a:gd name="connsiteY1" fmla="*/ 15142 h 61649"/>
                <a:gd name="connsiteX2" fmla="*/ 11836 w 61636"/>
                <a:gd name="connsiteY2" fmla="*/ 3906 h 61649"/>
                <a:gd name="connsiteX3" fmla="*/ 556 w 61636"/>
                <a:gd name="connsiteY3" fmla="*/ 45976 h 61649"/>
                <a:gd name="connsiteX4" fmla="*/ 42656 w 61636"/>
                <a:gd name="connsiteY4" fmla="*/ 57276 h 61649"/>
                <a:gd name="connsiteX5" fmla="*/ 42691 w 61636"/>
                <a:gd name="connsiteY5" fmla="*/ 57255 h 6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36" h="61649">
                  <a:moveTo>
                    <a:pt x="42691" y="57255"/>
                  </a:moveTo>
                  <a:cubicBezTo>
                    <a:pt x="57419" y="48731"/>
                    <a:pt x="62448" y="29876"/>
                    <a:pt x="53934" y="15142"/>
                  </a:cubicBezTo>
                  <a:cubicBezTo>
                    <a:pt x="45420" y="410"/>
                    <a:pt x="26562" y="-4622"/>
                    <a:pt x="11836" y="3906"/>
                  </a:cubicBezTo>
                  <a:cubicBezTo>
                    <a:pt x="-2892" y="12419"/>
                    <a:pt x="-7920" y="31245"/>
                    <a:pt x="556" y="45976"/>
                  </a:cubicBezTo>
                  <a:cubicBezTo>
                    <a:pt x="9070" y="60721"/>
                    <a:pt x="27892" y="65782"/>
                    <a:pt x="42656" y="57276"/>
                  </a:cubicBezTo>
                  <a:cubicBezTo>
                    <a:pt x="42656" y="57269"/>
                    <a:pt x="42691" y="57262"/>
                    <a:pt x="42691" y="57255"/>
                  </a:cubicBezTo>
                  <a:close/>
                </a:path>
              </a:pathLst>
            </a:custGeom>
            <a:grpFill/>
            <a:ln w="359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4248F2A1-32E1-5C86-3840-5D646C50E993}"/>
                </a:ext>
              </a:extLst>
            </p:cNvPr>
            <p:cNvSpPr/>
            <p:nvPr/>
          </p:nvSpPr>
          <p:spPr>
            <a:xfrm>
              <a:off x="2128900" y="1002063"/>
              <a:ext cx="525913" cy="916693"/>
            </a:xfrm>
            <a:custGeom>
              <a:avLst/>
              <a:gdLst>
                <a:gd name="connsiteX0" fmla="*/ 525913 w 525913"/>
                <a:gd name="connsiteY0" fmla="*/ 907821 h 916693"/>
                <a:gd name="connsiteX1" fmla="*/ 520813 w 525913"/>
                <a:gd name="connsiteY1" fmla="*/ 916694 h 916693"/>
                <a:gd name="connsiteX2" fmla="*/ 0 w 525913"/>
                <a:gd name="connsiteY2" fmla="*/ 616038 h 916693"/>
                <a:gd name="connsiteX3" fmla="*/ 0 w 525913"/>
                <a:gd name="connsiteY3" fmla="*/ 0 h 916693"/>
                <a:gd name="connsiteX4" fmla="*/ 10273 w 525913"/>
                <a:gd name="connsiteY4" fmla="*/ 0 h 916693"/>
                <a:gd name="connsiteX5" fmla="*/ 10273 w 525913"/>
                <a:gd name="connsiteY5" fmla="*/ 610111 h 916693"/>
                <a:gd name="connsiteX6" fmla="*/ 525913 w 525913"/>
                <a:gd name="connsiteY6" fmla="*/ 907821 h 91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913" h="916693">
                  <a:moveTo>
                    <a:pt x="525913" y="907821"/>
                  </a:moveTo>
                  <a:lnTo>
                    <a:pt x="520813" y="916694"/>
                  </a:lnTo>
                  <a:lnTo>
                    <a:pt x="0" y="616038"/>
                  </a:lnTo>
                  <a:lnTo>
                    <a:pt x="0" y="0"/>
                  </a:lnTo>
                  <a:lnTo>
                    <a:pt x="10273" y="0"/>
                  </a:lnTo>
                  <a:lnTo>
                    <a:pt x="10273" y="610111"/>
                  </a:lnTo>
                  <a:lnTo>
                    <a:pt x="525913" y="907821"/>
                  </a:lnTo>
                  <a:close/>
                </a:path>
              </a:pathLst>
            </a:custGeom>
            <a:grpFill/>
            <a:ln w="359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19226E59-206A-CB6E-52EE-39490FEFC9E0}"/>
                </a:ext>
              </a:extLst>
            </p:cNvPr>
            <p:cNvSpPr/>
            <p:nvPr/>
          </p:nvSpPr>
          <p:spPr>
            <a:xfrm>
              <a:off x="2611910" y="1874791"/>
              <a:ext cx="77113" cy="77125"/>
            </a:xfrm>
            <a:custGeom>
              <a:avLst/>
              <a:gdLst>
                <a:gd name="connsiteX0" fmla="*/ 54286 w 77113"/>
                <a:gd name="connsiteY0" fmla="*/ 4962 h 77125"/>
                <a:gd name="connsiteX1" fmla="*/ 68367 w 77113"/>
                <a:gd name="connsiteY1" fmla="*/ 57622 h 77125"/>
                <a:gd name="connsiteX2" fmla="*/ 15706 w 77113"/>
                <a:gd name="connsiteY2" fmla="*/ 71699 h 77125"/>
                <a:gd name="connsiteX3" fmla="*/ 1626 w 77113"/>
                <a:gd name="connsiteY3" fmla="*/ 19043 h 77125"/>
                <a:gd name="connsiteX4" fmla="*/ 54142 w 77113"/>
                <a:gd name="connsiteY4" fmla="*/ 4890 h 77125"/>
                <a:gd name="connsiteX5" fmla="*/ 54286 w 77113"/>
                <a:gd name="connsiteY5" fmla="*/ 4962 h 7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13" h="77125">
                  <a:moveTo>
                    <a:pt x="54286" y="4962"/>
                  </a:moveTo>
                  <a:cubicBezTo>
                    <a:pt x="72713" y="15616"/>
                    <a:pt x="79036" y="39191"/>
                    <a:pt x="68367" y="57622"/>
                  </a:cubicBezTo>
                  <a:cubicBezTo>
                    <a:pt x="57699" y="76049"/>
                    <a:pt x="34135" y="82353"/>
                    <a:pt x="15706" y="71699"/>
                  </a:cubicBezTo>
                  <a:cubicBezTo>
                    <a:pt x="-2720" y="61045"/>
                    <a:pt x="-9042" y="37470"/>
                    <a:pt x="1626" y="19043"/>
                  </a:cubicBezTo>
                  <a:cubicBezTo>
                    <a:pt x="12223" y="626"/>
                    <a:pt x="35750" y="-5710"/>
                    <a:pt x="54142" y="4890"/>
                  </a:cubicBezTo>
                  <a:cubicBezTo>
                    <a:pt x="54214" y="4912"/>
                    <a:pt x="54251" y="4937"/>
                    <a:pt x="54286" y="4962"/>
                  </a:cubicBezTo>
                  <a:close/>
                </a:path>
              </a:pathLst>
            </a:custGeom>
            <a:grpFill/>
            <a:ln w="359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4FC183BF-CFCB-6324-26DC-0C14AEF8382E}"/>
                </a:ext>
              </a:extLst>
            </p:cNvPr>
            <p:cNvSpPr/>
            <p:nvPr/>
          </p:nvSpPr>
          <p:spPr>
            <a:xfrm>
              <a:off x="2110867" y="980080"/>
              <a:ext cx="46266" cy="46265"/>
            </a:xfrm>
            <a:custGeom>
              <a:avLst/>
              <a:gdLst>
                <a:gd name="connsiteX0" fmla="*/ 42706 w 46266"/>
                <a:gd name="connsiteY0" fmla="*/ 22887 h 46265"/>
                <a:gd name="connsiteX1" fmla="*/ 19573 w 46266"/>
                <a:gd name="connsiteY1" fmla="*/ -245 h 46265"/>
                <a:gd name="connsiteX2" fmla="*/ -3560 w 46266"/>
                <a:gd name="connsiteY2" fmla="*/ 22887 h 46265"/>
                <a:gd name="connsiteX3" fmla="*/ 19573 w 46266"/>
                <a:gd name="connsiteY3" fmla="*/ 46020 h 46265"/>
                <a:gd name="connsiteX4" fmla="*/ 42706 w 46266"/>
                <a:gd name="connsiteY4" fmla="*/ 22887 h 4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66" h="46265">
                  <a:moveTo>
                    <a:pt x="42706" y="22887"/>
                  </a:moveTo>
                  <a:cubicBezTo>
                    <a:pt x="42706" y="10111"/>
                    <a:pt x="32360" y="-245"/>
                    <a:pt x="19573" y="-245"/>
                  </a:cubicBezTo>
                  <a:cubicBezTo>
                    <a:pt x="6785" y="-245"/>
                    <a:pt x="-3560" y="10111"/>
                    <a:pt x="-3560" y="22887"/>
                  </a:cubicBezTo>
                  <a:cubicBezTo>
                    <a:pt x="-3560" y="35664"/>
                    <a:pt x="6785" y="46020"/>
                    <a:pt x="19573" y="46020"/>
                  </a:cubicBezTo>
                  <a:cubicBezTo>
                    <a:pt x="32360" y="46020"/>
                    <a:pt x="42706" y="35664"/>
                    <a:pt x="42706" y="22887"/>
                  </a:cubicBezTo>
                  <a:close/>
                </a:path>
              </a:pathLst>
            </a:custGeom>
            <a:grpFill/>
            <a:ln w="359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2A0EA8C9-4523-1150-C83D-389D00152DB1}"/>
                </a:ext>
              </a:extLst>
            </p:cNvPr>
            <p:cNvSpPr/>
            <p:nvPr/>
          </p:nvSpPr>
          <p:spPr>
            <a:xfrm>
              <a:off x="2937724" y="676479"/>
              <a:ext cx="525949" cy="1236818"/>
            </a:xfrm>
            <a:custGeom>
              <a:avLst/>
              <a:gdLst>
                <a:gd name="connsiteX0" fmla="*/ 525949 w 525949"/>
                <a:gd name="connsiteY0" fmla="*/ 300655 h 1236818"/>
                <a:gd name="connsiteX1" fmla="*/ 525949 w 525949"/>
                <a:gd name="connsiteY1" fmla="*/ 941623 h 1236818"/>
                <a:gd name="connsiteX2" fmla="*/ 14656 w 525949"/>
                <a:gd name="connsiteY2" fmla="*/ 1236818 h 1236818"/>
                <a:gd name="connsiteX3" fmla="*/ 9519 w 525949"/>
                <a:gd name="connsiteY3" fmla="*/ 1227910 h 1236818"/>
                <a:gd name="connsiteX4" fmla="*/ 515676 w 525949"/>
                <a:gd name="connsiteY4" fmla="*/ 935696 h 1236818"/>
                <a:gd name="connsiteX5" fmla="*/ 515676 w 525949"/>
                <a:gd name="connsiteY5" fmla="*/ 306582 h 1236818"/>
                <a:gd name="connsiteX6" fmla="*/ 0 w 525949"/>
                <a:gd name="connsiteY6" fmla="*/ 8872 h 1236818"/>
                <a:gd name="connsiteX7" fmla="*/ 5137 w 525949"/>
                <a:gd name="connsiteY7" fmla="*/ 0 h 1236818"/>
                <a:gd name="connsiteX8" fmla="*/ 525949 w 525949"/>
                <a:gd name="connsiteY8" fmla="*/ 300655 h 123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949" h="1236818">
                  <a:moveTo>
                    <a:pt x="525949" y="300655"/>
                  </a:moveTo>
                  <a:lnTo>
                    <a:pt x="525949" y="941623"/>
                  </a:lnTo>
                  <a:lnTo>
                    <a:pt x="14656" y="1236818"/>
                  </a:lnTo>
                  <a:lnTo>
                    <a:pt x="9519" y="1227910"/>
                  </a:lnTo>
                  <a:lnTo>
                    <a:pt x="515676" y="935696"/>
                  </a:lnTo>
                  <a:lnTo>
                    <a:pt x="515676" y="306582"/>
                  </a:lnTo>
                  <a:lnTo>
                    <a:pt x="0" y="8872"/>
                  </a:lnTo>
                  <a:lnTo>
                    <a:pt x="5137" y="0"/>
                  </a:lnTo>
                  <a:lnTo>
                    <a:pt x="525949" y="300655"/>
                  </a:lnTo>
                  <a:close/>
                </a:path>
              </a:pathLst>
            </a:custGeom>
            <a:grpFill/>
            <a:ln w="359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4AF95A46-A836-A991-E429-08E6582507D0}"/>
                </a:ext>
              </a:extLst>
            </p:cNvPr>
            <p:cNvSpPr/>
            <p:nvPr/>
          </p:nvSpPr>
          <p:spPr>
            <a:xfrm>
              <a:off x="2903395" y="643311"/>
              <a:ext cx="77098" cy="77098"/>
            </a:xfrm>
            <a:custGeom>
              <a:avLst/>
              <a:gdLst>
                <a:gd name="connsiteX0" fmla="*/ 15719 w 77098"/>
                <a:gd name="connsiteY0" fmla="*/ 71681 h 77098"/>
                <a:gd name="connsiteX1" fmla="*/ 1601 w 77098"/>
                <a:gd name="connsiteY1" fmla="*/ 19028 h 77098"/>
                <a:gd name="connsiteX2" fmla="*/ 54261 w 77098"/>
                <a:gd name="connsiteY2" fmla="*/ 4926 h 77098"/>
                <a:gd name="connsiteX3" fmla="*/ 68377 w 77098"/>
                <a:gd name="connsiteY3" fmla="*/ 57564 h 77098"/>
                <a:gd name="connsiteX4" fmla="*/ 15719 w 77098"/>
                <a:gd name="connsiteY4" fmla="*/ 71688 h 77098"/>
                <a:gd name="connsiteX5" fmla="*/ 15719 w 77098"/>
                <a:gd name="connsiteY5" fmla="*/ 71681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8" h="77098">
                  <a:moveTo>
                    <a:pt x="15719" y="71681"/>
                  </a:moveTo>
                  <a:cubicBezTo>
                    <a:pt x="-2710" y="61038"/>
                    <a:pt x="-9031" y="37463"/>
                    <a:pt x="1601" y="19028"/>
                  </a:cubicBezTo>
                  <a:cubicBezTo>
                    <a:pt x="12271" y="594"/>
                    <a:pt x="35833" y="-5717"/>
                    <a:pt x="54261" y="4926"/>
                  </a:cubicBezTo>
                  <a:cubicBezTo>
                    <a:pt x="72688" y="15569"/>
                    <a:pt x="79010" y="39130"/>
                    <a:pt x="68377" y="57564"/>
                  </a:cubicBezTo>
                  <a:cubicBezTo>
                    <a:pt x="57745" y="76002"/>
                    <a:pt x="34181" y="82328"/>
                    <a:pt x="15719" y="71688"/>
                  </a:cubicBezTo>
                  <a:cubicBezTo>
                    <a:pt x="15719" y="71684"/>
                    <a:pt x="15719" y="71684"/>
                    <a:pt x="15719" y="71681"/>
                  </a:cubicBezTo>
                  <a:close/>
                </a:path>
              </a:pathLst>
            </a:custGeom>
            <a:grpFill/>
            <a:ln w="359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AD7811EE-D362-9EB9-AB04-BF9BCEBA5E7A}"/>
                </a:ext>
              </a:extLst>
            </p:cNvPr>
            <p:cNvSpPr/>
            <p:nvPr/>
          </p:nvSpPr>
          <p:spPr>
            <a:xfrm>
              <a:off x="2901817" y="1857471"/>
              <a:ext cx="100237" cy="100248"/>
            </a:xfrm>
            <a:custGeom>
              <a:avLst/>
              <a:gdLst>
                <a:gd name="connsiteX0" fmla="*/ 21534 w 100237"/>
                <a:gd name="connsiteY0" fmla="*/ 6477 h 100248"/>
                <a:gd name="connsiteX1" fmla="*/ 3144 w 100237"/>
                <a:gd name="connsiteY1" fmla="*/ 74916 h 100248"/>
                <a:gd name="connsiteX2" fmla="*/ 71607 w 100237"/>
                <a:gd name="connsiteY2" fmla="*/ 93293 h 100248"/>
                <a:gd name="connsiteX3" fmla="*/ 89964 w 100237"/>
                <a:gd name="connsiteY3" fmla="*/ 24854 h 100248"/>
                <a:gd name="connsiteX4" fmla="*/ 89964 w 100237"/>
                <a:gd name="connsiteY4" fmla="*/ 24832 h 100248"/>
                <a:gd name="connsiteX5" fmla="*/ 21571 w 100237"/>
                <a:gd name="connsiteY5" fmla="*/ 6452 h 100248"/>
                <a:gd name="connsiteX6" fmla="*/ 21534 w 100237"/>
                <a:gd name="connsiteY6" fmla="*/ 6477 h 100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237" h="100248">
                  <a:moveTo>
                    <a:pt x="21534" y="6477"/>
                  </a:moveTo>
                  <a:cubicBezTo>
                    <a:pt x="-2425" y="20303"/>
                    <a:pt x="-10686" y="50943"/>
                    <a:pt x="3144" y="74916"/>
                  </a:cubicBezTo>
                  <a:cubicBezTo>
                    <a:pt x="16972" y="98893"/>
                    <a:pt x="47613" y="107119"/>
                    <a:pt x="71607" y="93293"/>
                  </a:cubicBezTo>
                  <a:cubicBezTo>
                    <a:pt x="95568" y="79471"/>
                    <a:pt x="103794" y="48827"/>
                    <a:pt x="89964" y="24854"/>
                  </a:cubicBezTo>
                  <a:cubicBezTo>
                    <a:pt x="89964" y="24846"/>
                    <a:pt x="89964" y="24839"/>
                    <a:pt x="89964" y="24832"/>
                  </a:cubicBezTo>
                  <a:cubicBezTo>
                    <a:pt x="76169" y="873"/>
                    <a:pt x="45530" y="-7356"/>
                    <a:pt x="21571" y="6452"/>
                  </a:cubicBezTo>
                  <a:cubicBezTo>
                    <a:pt x="21571" y="6462"/>
                    <a:pt x="21534" y="6470"/>
                    <a:pt x="21534" y="6477"/>
                  </a:cubicBezTo>
                  <a:close/>
                </a:path>
              </a:pathLst>
            </a:custGeom>
            <a:grpFill/>
            <a:ln w="359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B54EA464-94A4-ED16-0162-0558E62B6423}"/>
                </a:ext>
              </a:extLst>
            </p:cNvPr>
            <p:cNvSpPr/>
            <p:nvPr/>
          </p:nvSpPr>
          <p:spPr>
            <a:xfrm rot="19799999">
              <a:off x="2227667" y="717950"/>
              <a:ext cx="569125" cy="10237"/>
            </a:xfrm>
            <a:custGeom>
              <a:avLst/>
              <a:gdLst>
                <a:gd name="connsiteX0" fmla="*/ -3560 w 569125"/>
                <a:gd name="connsiteY0" fmla="*/ -245 h 10237"/>
                <a:gd name="connsiteX1" fmla="*/ 565566 w 569125"/>
                <a:gd name="connsiteY1" fmla="*/ -245 h 10237"/>
                <a:gd name="connsiteX2" fmla="*/ 565566 w 569125"/>
                <a:gd name="connsiteY2" fmla="*/ 9992 h 10237"/>
                <a:gd name="connsiteX3" fmla="*/ -3560 w 569125"/>
                <a:gd name="connsiteY3" fmla="*/ 9992 h 10237"/>
              </a:gdLst>
              <a:ahLst/>
              <a:cxnLst>
                <a:cxn ang="0">
                  <a:pos x="connsiteX0" y="connsiteY0"/>
                </a:cxn>
                <a:cxn ang="0">
                  <a:pos x="connsiteX1" y="connsiteY1"/>
                </a:cxn>
                <a:cxn ang="0">
                  <a:pos x="connsiteX2" y="connsiteY2"/>
                </a:cxn>
                <a:cxn ang="0">
                  <a:pos x="connsiteX3" y="connsiteY3"/>
                </a:cxn>
              </a:cxnLst>
              <a:rect l="l" t="t" r="r" b="b"/>
              <a:pathLst>
                <a:path w="569125" h="10237">
                  <a:moveTo>
                    <a:pt x="-3560" y="-245"/>
                  </a:moveTo>
                  <a:lnTo>
                    <a:pt x="565566" y="-245"/>
                  </a:lnTo>
                  <a:lnTo>
                    <a:pt x="565566" y="9992"/>
                  </a:lnTo>
                  <a:lnTo>
                    <a:pt x="-3560" y="9992"/>
                  </a:lnTo>
                  <a:close/>
                </a:path>
              </a:pathLst>
            </a:custGeom>
            <a:grpFill/>
            <a:ln w="359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BEF98BE0-14C1-21C7-C8D2-3C628FB1A1C2}"/>
                </a:ext>
              </a:extLst>
            </p:cNvPr>
            <p:cNvSpPr/>
            <p:nvPr/>
          </p:nvSpPr>
          <p:spPr>
            <a:xfrm>
              <a:off x="2228914" y="825825"/>
              <a:ext cx="77098" cy="77098"/>
            </a:xfrm>
            <a:custGeom>
              <a:avLst/>
              <a:gdLst>
                <a:gd name="connsiteX0" fmla="*/ 54261 w 77098"/>
                <a:gd name="connsiteY0" fmla="*/ 71680 h 77098"/>
                <a:gd name="connsiteX1" fmla="*/ 1601 w 77098"/>
                <a:gd name="connsiteY1" fmla="*/ 57581 h 77098"/>
                <a:gd name="connsiteX2" fmla="*/ 15719 w 77098"/>
                <a:gd name="connsiteY2" fmla="*/ 4928 h 77098"/>
                <a:gd name="connsiteX3" fmla="*/ 68377 w 77098"/>
                <a:gd name="connsiteY3" fmla="*/ 19027 h 77098"/>
                <a:gd name="connsiteX4" fmla="*/ 68377 w 77098"/>
                <a:gd name="connsiteY4" fmla="*/ 19056 h 77098"/>
                <a:gd name="connsiteX5" fmla="*/ 54261 w 77098"/>
                <a:gd name="connsiteY5" fmla="*/ 71680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8" h="77098">
                  <a:moveTo>
                    <a:pt x="54261" y="71680"/>
                  </a:moveTo>
                  <a:cubicBezTo>
                    <a:pt x="35835" y="82327"/>
                    <a:pt x="12271" y="76012"/>
                    <a:pt x="1601" y="57581"/>
                  </a:cubicBezTo>
                  <a:cubicBezTo>
                    <a:pt x="-9031" y="39146"/>
                    <a:pt x="-2710" y="15572"/>
                    <a:pt x="15719" y="4928"/>
                  </a:cubicBezTo>
                  <a:cubicBezTo>
                    <a:pt x="34146" y="-5718"/>
                    <a:pt x="57710" y="593"/>
                    <a:pt x="68377" y="19027"/>
                  </a:cubicBezTo>
                  <a:cubicBezTo>
                    <a:pt x="68377" y="19038"/>
                    <a:pt x="68377" y="19045"/>
                    <a:pt x="68377" y="19056"/>
                  </a:cubicBezTo>
                  <a:cubicBezTo>
                    <a:pt x="79010" y="37487"/>
                    <a:pt x="72688" y="61040"/>
                    <a:pt x="54261" y="71680"/>
                  </a:cubicBezTo>
                  <a:close/>
                </a:path>
              </a:pathLst>
            </a:custGeom>
            <a:grpFill/>
            <a:ln w="359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F83EB73B-7215-DFCC-6581-9E531D8DBD8D}"/>
                </a:ext>
              </a:extLst>
            </p:cNvPr>
            <p:cNvSpPr/>
            <p:nvPr/>
          </p:nvSpPr>
          <p:spPr>
            <a:xfrm>
              <a:off x="2726509" y="550751"/>
              <a:ext cx="61643" cy="61635"/>
            </a:xfrm>
            <a:custGeom>
              <a:avLst/>
              <a:gdLst>
                <a:gd name="connsiteX0" fmla="*/ 42671 w 61643"/>
                <a:gd name="connsiteY0" fmla="*/ 57270 h 61635"/>
                <a:gd name="connsiteX1" fmla="*/ 53950 w 61643"/>
                <a:gd name="connsiteY1" fmla="*/ 15171 h 61635"/>
                <a:gd name="connsiteX2" fmla="*/ 11851 w 61643"/>
                <a:gd name="connsiteY2" fmla="*/ 3888 h 61635"/>
                <a:gd name="connsiteX3" fmla="*/ 573 w 61643"/>
                <a:gd name="connsiteY3" fmla="*/ 45987 h 61635"/>
                <a:gd name="connsiteX4" fmla="*/ 573 w 61643"/>
                <a:gd name="connsiteY4" fmla="*/ 45991 h 61635"/>
                <a:gd name="connsiteX5" fmla="*/ 42671 w 61643"/>
                <a:gd name="connsiteY5" fmla="*/ 57270 h 61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43" h="61635">
                  <a:moveTo>
                    <a:pt x="42671" y="57270"/>
                  </a:moveTo>
                  <a:cubicBezTo>
                    <a:pt x="57399" y="48760"/>
                    <a:pt x="62464" y="29909"/>
                    <a:pt x="53950" y="15171"/>
                  </a:cubicBezTo>
                  <a:cubicBezTo>
                    <a:pt x="45437" y="429"/>
                    <a:pt x="26578" y="-4622"/>
                    <a:pt x="11851" y="3888"/>
                  </a:cubicBezTo>
                  <a:cubicBezTo>
                    <a:pt x="-2875" y="12398"/>
                    <a:pt x="-7941" y="31245"/>
                    <a:pt x="573" y="45987"/>
                  </a:cubicBezTo>
                  <a:cubicBezTo>
                    <a:pt x="573" y="45991"/>
                    <a:pt x="573" y="45991"/>
                    <a:pt x="573" y="45991"/>
                  </a:cubicBezTo>
                  <a:cubicBezTo>
                    <a:pt x="9085" y="60714"/>
                    <a:pt x="27943" y="65758"/>
                    <a:pt x="42671" y="57270"/>
                  </a:cubicBezTo>
                  <a:close/>
                </a:path>
              </a:pathLst>
            </a:custGeom>
            <a:grpFill/>
            <a:ln w="359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FE928CC4-7A7C-E30E-0C0E-23D0E763105D}"/>
                </a:ext>
              </a:extLst>
            </p:cNvPr>
            <p:cNvSpPr/>
            <p:nvPr/>
          </p:nvSpPr>
          <p:spPr>
            <a:xfrm>
              <a:off x="1712400" y="2957509"/>
              <a:ext cx="1110161" cy="958433"/>
            </a:xfrm>
            <a:custGeom>
              <a:avLst/>
              <a:gdLst>
                <a:gd name="connsiteX0" fmla="*/ 1110162 w 1110161"/>
                <a:gd name="connsiteY0" fmla="*/ 255755 h 958433"/>
                <a:gd name="connsiteX1" fmla="*/ 1110162 w 1110161"/>
                <a:gd name="connsiteY1" fmla="*/ 637986 h 958433"/>
                <a:gd name="connsiteX2" fmla="*/ 555081 w 1110161"/>
                <a:gd name="connsiteY2" fmla="*/ 958433 h 958433"/>
                <a:gd name="connsiteX3" fmla="*/ 0 w 1110161"/>
                <a:gd name="connsiteY3" fmla="*/ 637986 h 958433"/>
                <a:gd name="connsiteX4" fmla="*/ 0 w 1110161"/>
                <a:gd name="connsiteY4" fmla="*/ 0 h 958433"/>
                <a:gd name="connsiteX5" fmla="*/ 10273 w 1110161"/>
                <a:gd name="connsiteY5" fmla="*/ 0 h 958433"/>
                <a:gd name="connsiteX6" fmla="*/ 10273 w 1110161"/>
                <a:gd name="connsiteY6" fmla="*/ 632059 h 958433"/>
                <a:gd name="connsiteX7" fmla="*/ 555081 w 1110161"/>
                <a:gd name="connsiteY7" fmla="*/ 946616 h 958433"/>
                <a:gd name="connsiteX8" fmla="*/ 1099889 w 1110161"/>
                <a:gd name="connsiteY8" fmla="*/ 632059 h 958433"/>
                <a:gd name="connsiteX9" fmla="*/ 1099889 w 1110161"/>
                <a:gd name="connsiteY9" fmla="*/ 255755 h 958433"/>
                <a:gd name="connsiteX10" fmla="*/ 1110162 w 1110161"/>
                <a:gd name="connsiteY10" fmla="*/ 255755 h 958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61" h="958433">
                  <a:moveTo>
                    <a:pt x="1110162" y="255755"/>
                  </a:moveTo>
                  <a:lnTo>
                    <a:pt x="1110162" y="637986"/>
                  </a:lnTo>
                  <a:lnTo>
                    <a:pt x="555081" y="958433"/>
                  </a:lnTo>
                  <a:lnTo>
                    <a:pt x="0" y="637986"/>
                  </a:lnTo>
                  <a:lnTo>
                    <a:pt x="0" y="0"/>
                  </a:lnTo>
                  <a:lnTo>
                    <a:pt x="10273" y="0"/>
                  </a:lnTo>
                  <a:lnTo>
                    <a:pt x="10273" y="632059"/>
                  </a:lnTo>
                  <a:lnTo>
                    <a:pt x="555081" y="946616"/>
                  </a:lnTo>
                  <a:lnTo>
                    <a:pt x="1099889" y="632059"/>
                  </a:lnTo>
                  <a:lnTo>
                    <a:pt x="1099889" y="255755"/>
                  </a:lnTo>
                  <a:lnTo>
                    <a:pt x="1110162" y="255755"/>
                  </a:lnTo>
                  <a:close/>
                </a:path>
              </a:pathLst>
            </a:custGeom>
            <a:grpFill/>
            <a:ln w="359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F45F34C2-D090-BA34-5084-2736811DCB1D}"/>
                </a:ext>
              </a:extLst>
            </p:cNvPr>
            <p:cNvSpPr/>
            <p:nvPr/>
          </p:nvSpPr>
          <p:spPr>
            <a:xfrm>
              <a:off x="6346875" y="2037475"/>
              <a:ext cx="1794664" cy="1549434"/>
            </a:xfrm>
            <a:custGeom>
              <a:avLst/>
              <a:gdLst>
                <a:gd name="connsiteX0" fmla="*/ 1794664 w 1794664"/>
                <a:gd name="connsiteY0" fmla="*/ 502242 h 1549434"/>
                <a:gd name="connsiteX1" fmla="*/ 1794664 w 1794664"/>
                <a:gd name="connsiteY1" fmla="*/ 1031352 h 1549434"/>
                <a:gd name="connsiteX2" fmla="*/ 1790498 w 1794664"/>
                <a:gd name="connsiteY2" fmla="*/ 1033723 h 1549434"/>
                <a:gd name="connsiteX3" fmla="*/ 897332 w 1794664"/>
                <a:gd name="connsiteY3" fmla="*/ 1549435 h 1549434"/>
                <a:gd name="connsiteX4" fmla="*/ 893202 w 1794664"/>
                <a:gd name="connsiteY4" fmla="*/ 1547028 h 1549434"/>
                <a:gd name="connsiteX5" fmla="*/ 0 w 1794664"/>
                <a:gd name="connsiteY5" fmla="*/ 1031352 h 1549434"/>
                <a:gd name="connsiteX6" fmla="*/ 0 w 1794664"/>
                <a:gd name="connsiteY6" fmla="*/ 0 h 1549434"/>
                <a:gd name="connsiteX7" fmla="*/ 16595 w 1794664"/>
                <a:gd name="connsiteY7" fmla="*/ 0 h 1549434"/>
                <a:gd name="connsiteX8" fmla="*/ 16595 w 1794664"/>
                <a:gd name="connsiteY8" fmla="*/ 1021797 h 1549434"/>
                <a:gd name="connsiteX9" fmla="*/ 897332 w 1794664"/>
                <a:gd name="connsiteY9" fmla="*/ 1530289 h 1549434"/>
                <a:gd name="connsiteX10" fmla="*/ 1778069 w 1794664"/>
                <a:gd name="connsiteY10" fmla="*/ 1021797 h 1549434"/>
                <a:gd name="connsiteX11" fmla="*/ 1778069 w 1794664"/>
                <a:gd name="connsiteY11" fmla="*/ 502242 h 1549434"/>
                <a:gd name="connsiteX12" fmla="*/ 1794664 w 1794664"/>
                <a:gd name="connsiteY12" fmla="*/ 502242 h 154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4664" h="1549434">
                  <a:moveTo>
                    <a:pt x="1794664" y="502242"/>
                  </a:moveTo>
                  <a:lnTo>
                    <a:pt x="1794664" y="1031352"/>
                  </a:lnTo>
                  <a:lnTo>
                    <a:pt x="1790498" y="1033723"/>
                  </a:lnTo>
                  <a:lnTo>
                    <a:pt x="897332" y="1549435"/>
                  </a:lnTo>
                  <a:lnTo>
                    <a:pt x="893202" y="1547028"/>
                  </a:lnTo>
                  <a:lnTo>
                    <a:pt x="0" y="1031352"/>
                  </a:lnTo>
                  <a:lnTo>
                    <a:pt x="0" y="0"/>
                  </a:lnTo>
                  <a:lnTo>
                    <a:pt x="16595" y="0"/>
                  </a:lnTo>
                  <a:lnTo>
                    <a:pt x="16595" y="1021797"/>
                  </a:lnTo>
                  <a:lnTo>
                    <a:pt x="897332" y="1530289"/>
                  </a:lnTo>
                  <a:lnTo>
                    <a:pt x="1778069" y="1021797"/>
                  </a:lnTo>
                  <a:lnTo>
                    <a:pt x="1778069" y="502242"/>
                  </a:lnTo>
                  <a:lnTo>
                    <a:pt x="1794664" y="502242"/>
                  </a:lnTo>
                  <a:close/>
                </a:path>
              </a:pathLst>
            </a:custGeom>
            <a:grpFill/>
            <a:ln w="359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77DDAF3F-9714-1F41-67CC-1C44A481340E}"/>
                </a:ext>
              </a:extLst>
            </p:cNvPr>
            <p:cNvSpPr/>
            <p:nvPr/>
          </p:nvSpPr>
          <p:spPr>
            <a:xfrm>
              <a:off x="8039885" y="2450992"/>
              <a:ext cx="186787" cy="186787"/>
            </a:xfrm>
            <a:custGeom>
              <a:avLst/>
              <a:gdLst>
                <a:gd name="connsiteX0" fmla="*/ -3560 w 186787"/>
                <a:gd name="connsiteY0" fmla="*/ 93148 h 186787"/>
                <a:gd name="connsiteX1" fmla="*/ 89833 w 186787"/>
                <a:gd name="connsiteY1" fmla="*/ -245 h 186787"/>
                <a:gd name="connsiteX2" fmla="*/ 183227 w 186787"/>
                <a:gd name="connsiteY2" fmla="*/ 93148 h 186787"/>
                <a:gd name="connsiteX3" fmla="*/ 89833 w 186787"/>
                <a:gd name="connsiteY3" fmla="*/ 186542 h 186787"/>
                <a:gd name="connsiteX4" fmla="*/ -3560 w 186787"/>
                <a:gd name="connsiteY4" fmla="*/ 93148 h 186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787" h="186787">
                  <a:moveTo>
                    <a:pt x="-3560" y="93148"/>
                  </a:moveTo>
                  <a:cubicBezTo>
                    <a:pt x="-3560" y="41570"/>
                    <a:pt x="38252" y="-245"/>
                    <a:pt x="89833" y="-245"/>
                  </a:cubicBezTo>
                  <a:cubicBezTo>
                    <a:pt x="141415" y="-245"/>
                    <a:pt x="183227" y="41570"/>
                    <a:pt x="183227" y="93148"/>
                  </a:cubicBezTo>
                  <a:cubicBezTo>
                    <a:pt x="183227" y="144727"/>
                    <a:pt x="141415" y="186542"/>
                    <a:pt x="89833" y="186542"/>
                  </a:cubicBezTo>
                  <a:cubicBezTo>
                    <a:pt x="38252" y="186542"/>
                    <a:pt x="-3560" y="144727"/>
                    <a:pt x="-3560" y="93148"/>
                  </a:cubicBezTo>
                  <a:close/>
                </a:path>
              </a:pathLst>
            </a:custGeom>
            <a:grpFill/>
            <a:ln w="359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8F06662C-4D54-9064-8FA9-7C502D7545A6}"/>
                </a:ext>
              </a:extLst>
            </p:cNvPr>
            <p:cNvSpPr/>
            <p:nvPr/>
          </p:nvSpPr>
          <p:spPr>
            <a:xfrm>
              <a:off x="4418658" y="3728904"/>
              <a:ext cx="1281898" cy="1047552"/>
            </a:xfrm>
            <a:custGeom>
              <a:avLst/>
              <a:gdLst>
                <a:gd name="connsiteX0" fmla="*/ 1281898 w 1281898"/>
                <a:gd name="connsiteY0" fmla="*/ 0 h 1047552"/>
                <a:gd name="connsiteX1" fmla="*/ 1281898 w 1281898"/>
                <a:gd name="connsiteY1" fmla="*/ 677498 h 1047552"/>
                <a:gd name="connsiteX2" fmla="*/ 1278917 w 1281898"/>
                <a:gd name="connsiteY2" fmla="*/ 679222 h 1047552"/>
                <a:gd name="connsiteX3" fmla="*/ 640967 w 1281898"/>
                <a:gd name="connsiteY3" fmla="*/ 1047552 h 1047552"/>
                <a:gd name="connsiteX4" fmla="*/ 637986 w 1281898"/>
                <a:gd name="connsiteY4" fmla="*/ 1045864 h 1047552"/>
                <a:gd name="connsiteX5" fmla="*/ 0 w 1281898"/>
                <a:gd name="connsiteY5" fmla="*/ 677498 h 1047552"/>
                <a:gd name="connsiteX6" fmla="*/ 0 w 1281898"/>
                <a:gd name="connsiteY6" fmla="*/ 278421 h 1047552"/>
                <a:gd name="connsiteX7" fmla="*/ 11854 w 1281898"/>
                <a:gd name="connsiteY7" fmla="*/ 278421 h 1047552"/>
                <a:gd name="connsiteX8" fmla="*/ 11854 w 1281898"/>
                <a:gd name="connsiteY8" fmla="*/ 670673 h 1047552"/>
                <a:gd name="connsiteX9" fmla="*/ 640967 w 1281898"/>
                <a:gd name="connsiteY9" fmla="*/ 1033902 h 1047552"/>
                <a:gd name="connsiteX10" fmla="*/ 1270045 w 1281898"/>
                <a:gd name="connsiteY10" fmla="*/ 670673 h 1047552"/>
                <a:gd name="connsiteX11" fmla="*/ 1270045 w 1281898"/>
                <a:gd name="connsiteY11" fmla="*/ 0 h 1047552"/>
                <a:gd name="connsiteX12" fmla="*/ 1281898 w 1281898"/>
                <a:gd name="connsiteY12" fmla="*/ 0 h 1047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1898" h="1047552">
                  <a:moveTo>
                    <a:pt x="1281898" y="0"/>
                  </a:moveTo>
                  <a:lnTo>
                    <a:pt x="1281898" y="677498"/>
                  </a:lnTo>
                  <a:lnTo>
                    <a:pt x="1278917" y="679222"/>
                  </a:lnTo>
                  <a:lnTo>
                    <a:pt x="640967" y="1047552"/>
                  </a:lnTo>
                  <a:lnTo>
                    <a:pt x="637986" y="1045864"/>
                  </a:lnTo>
                  <a:lnTo>
                    <a:pt x="0" y="677498"/>
                  </a:lnTo>
                  <a:lnTo>
                    <a:pt x="0" y="278421"/>
                  </a:lnTo>
                  <a:lnTo>
                    <a:pt x="11854" y="278421"/>
                  </a:lnTo>
                  <a:lnTo>
                    <a:pt x="11854" y="670673"/>
                  </a:lnTo>
                  <a:lnTo>
                    <a:pt x="640967" y="1033902"/>
                  </a:lnTo>
                  <a:lnTo>
                    <a:pt x="1270045" y="670673"/>
                  </a:lnTo>
                  <a:lnTo>
                    <a:pt x="1270045" y="0"/>
                  </a:lnTo>
                  <a:lnTo>
                    <a:pt x="1281898" y="0"/>
                  </a:lnTo>
                  <a:close/>
                </a:path>
              </a:pathLst>
            </a:custGeom>
            <a:grpFill/>
            <a:ln w="359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C0681999-FB53-07B6-1192-5675835020B8}"/>
                </a:ext>
              </a:extLst>
            </p:cNvPr>
            <p:cNvSpPr/>
            <p:nvPr/>
          </p:nvSpPr>
          <p:spPr>
            <a:xfrm>
              <a:off x="4380043" y="3965045"/>
              <a:ext cx="89012" cy="89011"/>
            </a:xfrm>
            <a:custGeom>
              <a:avLst/>
              <a:gdLst>
                <a:gd name="connsiteX0" fmla="*/ 85452 w 89012"/>
                <a:gd name="connsiteY0" fmla="*/ 44260 h 89011"/>
                <a:gd name="connsiteX1" fmla="*/ 40946 w 89012"/>
                <a:gd name="connsiteY1" fmla="*/ -245 h 89011"/>
                <a:gd name="connsiteX2" fmla="*/ -3560 w 89012"/>
                <a:gd name="connsiteY2" fmla="*/ 44260 h 89011"/>
                <a:gd name="connsiteX3" fmla="*/ 40946 w 89012"/>
                <a:gd name="connsiteY3" fmla="*/ 88766 h 89011"/>
                <a:gd name="connsiteX4" fmla="*/ 40981 w 89012"/>
                <a:gd name="connsiteY4" fmla="*/ 88766 h 89011"/>
                <a:gd name="connsiteX5" fmla="*/ 85452 w 89012"/>
                <a:gd name="connsiteY5" fmla="*/ 44260 h 8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012" h="89011">
                  <a:moveTo>
                    <a:pt x="85452" y="44260"/>
                  </a:moveTo>
                  <a:cubicBezTo>
                    <a:pt x="85452" y="19691"/>
                    <a:pt x="65515" y="-245"/>
                    <a:pt x="40946" y="-245"/>
                  </a:cubicBezTo>
                  <a:cubicBezTo>
                    <a:pt x="16377" y="-245"/>
                    <a:pt x="-3560" y="19691"/>
                    <a:pt x="-3560" y="44260"/>
                  </a:cubicBezTo>
                  <a:cubicBezTo>
                    <a:pt x="-3560" y="68830"/>
                    <a:pt x="16377" y="88766"/>
                    <a:pt x="40946" y="88766"/>
                  </a:cubicBezTo>
                  <a:cubicBezTo>
                    <a:pt x="40946" y="88766"/>
                    <a:pt x="40981" y="88766"/>
                    <a:pt x="40981" y="88766"/>
                  </a:cubicBezTo>
                  <a:cubicBezTo>
                    <a:pt x="65552" y="88730"/>
                    <a:pt x="85452" y="68830"/>
                    <a:pt x="85452" y="44260"/>
                  </a:cubicBezTo>
                  <a:close/>
                </a:path>
              </a:pathLst>
            </a:custGeom>
            <a:grpFill/>
            <a:ln w="359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5BDC2113-4A96-173F-4918-65B929C02500}"/>
                </a:ext>
              </a:extLst>
            </p:cNvPr>
            <p:cNvSpPr/>
            <p:nvPr/>
          </p:nvSpPr>
          <p:spPr>
            <a:xfrm rot="21261000">
              <a:off x="5632136" y="3671367"/>
              <a:ext cx="124572" cy="124572"/>
            </a:xfrm>
            <a:custGeom>
              <a:avLst/>
              <a:gdLst>
                <a:gd name="connsiteX0" fmla="*/ 121012 w 124572"/>
                <a:gd name="connsiteY0" fmla="*/ 62041 h 124572"/>
                <a:gd name="connsiteX1" fmla="*/ 58726 w 124572"/>
                <a:gd name="connsiteY1" fmla="*/ 124327 h 124572"/>
                <a:gd name="connsiteX2" fmla="*/ -3559 w 124572"/>
                <a:gd name="connsiteY2" fmla="*/ 62041 h 124572"/>
                <a:gd name="connsiteX3" fmla="*/ 58726 w 124572"/>
                <a:gd name="connsiteY3" fmla="*/ -245 h 124572"/>
                <a:gd name="connsiteX4" fmla="*/ 121012 w 124572"/>
                <a:gd name="connsiteY4" fmla="*/ 62041 h 124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72" h="124572">
                  <a:moveTo>
                    <a:pt x="121012" y="62041"/>
                  </a:moveTo>
                  <a:cubicBezTo>
                    <a:pt x="121012" y="96441"/>
                    <a:pt x="93126" y="124327"/>
                    <a:pt x="58726" y="124327"/>
                  </a:cubicBezTo>
                  <a:cubicBezTo>
                    <a:pt x="24327" y="124327"/>
                    <a:pt x="-3559" y="96441"/>
                    <a:pt x="-3559" y="62041"/>
                  </a:cubicBezTo>
                  <a:cubicBezTo>
                    <a:pt x="-3559" y="27641"/>
                    <a:pt x="24327" y="-245"/>
                    <a:pt x="58726" y="-245"/>
                  </a:cubicBezTo>
                  <a:cubicBezTo>
                    <a:pt x="93126" y="-245"/>
                    <a:pt x="121012" y="27642"/>
                    <a:pt x="121012" y="62041"/>
                  </a:cubicBezTo>
                  <a:close/>
                </a:path>
              </a:pathLst>
            </a:custGeom>
            <a:grpFill/>
            <a:ln w="359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DDDC31DE-E560-7F99-8865-BFDE13C3E281}"/>
                </a:ext>
              </a:extLst>
            </p:cNvPr>
            <p:cNvSpPr/>
            <p:nvPr/>
          </p:nvSpPr>
          <p:spPr>
            <a:xfrm>
              <a:off x="2917393" y="661177"/>
              <a:ext cx="786050" cy="327883"/>
            </a:xfrm>
            <a:custGeom>
              <a:avLst/>
              <a:gdLst>
                <a:gd name="connsiteX0" fmla="*/ 786050 w 786050"/>
                <a:gd name="connsiteY0" fmla="*/ 134846 h 327883"/>
                <a:gd name="connsiteX1" fmla="*/ 780914 w 786050"/>
                <a:gd name="connsiteY1" fmla="*/ 143718 h 327883"/>
                <a:gd name="connsiteX2" fmla="*/ 552530 w 786050"/>
                <a:gd name="connsiteY2" fmla="*/ 11854 h 327883"/>
                <a:gd name="connsiteX3" fmla="*/ 5137 w 786050"/>
                <a:gd name="connsiteY3" fmla="*/ 327883 h 327883"/>
                <a:gd name="connsiteX4" fmla="*/ 0 w 786050"/>
                <a:gd name="connsiteY4" fmla="*/ 319011 h 327883"/>
                <a:gd name="connsiteX5" fmla="*/ 552530 w 786050"/>
                <a:gd name="connsiteY5" fmla="*/ 0 h 327883"/>
                <a:gd name="connsiteX6" fmla="*/ 786050 w 786050"/>
                <a:gd name="connsiteY6" fmla="*/ 134846 h 32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050" h="327883">
                  <a:moveTo>
                    <a:pt x="786050" y="134846"/>
                  </a:moveTo>
                  <a:lnTo>
                    <a:pt x="780914" y="143718"/>
                  </a:lnTo>
                  <a:lnTo>
                    <a:pt x="552530" y="11854"/>
                  </a:lnTo>
                  <a:lnTo>
                    <a:pt x="5137" y="327883"/>
                  </a:lnTo>
                  <a:lnTo>
                    <a:pt x="0" y="319011"/>
                  </a:lnTo>
                  <a:lnTo>
                    <a:pt x="552530" y="0"/>
                  </a:lnTo>
                  <a:lnTo>
                    <a:pt x="786050" y="134846"/>
                  </a:lnTo>
                  <a:close/>
                </a:path>
              </a:pathLst>
            </a:custGeom>
            <a:grpFill/>
            <a:ln w="359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FEA9D7DC-8941-5708-7E8D-BDAE2EAD76FA}"/>
                </a:ext>
              </a:extLst>
            </p:cNvPr>
            <p:cNvSpPr/>
            <p:nvPr/>
          </p:nvSpPr>
          <p:spPr>
            <a:xfrm>
              <a:off x="3580271" y="2013192"/>
              <a:ext cx="1110125" cy="910838"/>
            </a:xfrm>
            <a:custGeom>
              <a:avLst/>
              <a:gdLst>
                <a:gd name="connsiteX0" fmla="*/ 1110126 w 1110125"/>
                <a:gd name="connsiteY0" fmla="*/ 320448 h 910838"/>
                <a:gd name="connsiteX1" fmla="*/ 1110126 w 1110125"/>
                <a:gd name="connsiteY1" fmla="*/ 910839 h 910838"/>
                <a:gd name="connsiteX2" fmla="*/ 1099889 w 1110125"/>
                <a:gd name="connsiteY2" fmla="*/ 910839 h 910838"/>
                <a:gd name="connsiteX3" fmla="*/ 1099889 w 1110125"/>
                <a:gd name="connsiteY3" fmla="*/ 326375 h 910838"/>
                <a:gd name="connsiteX4" fmla="*/ 555081 w 1110125"/>
                <a:gd name="connsiteY4" fmla="*/ 11818 h 910838"/>
                <a:gd name="connsiteX5" fmla="*/ 10237 w 1110125"/>
                <a:gd name="connsiteY5" fmla="*/ 326375 h 910838"/>
                <a:gd name="connsiteX6" fmla="*/ 10237 w 1110125"/>
                <a:gd name="connsiteY6" fmla="*/ 611620 h 910838"/>
                <a:gd name="connsiteX7" fmla="*/ 0 w 1110125"/>
                <a:gd name="connsiteY7" fmla="*/ 611620 h 910838"/>
                <a:gd name="connsiteX8" fmla="*/ 0 w 1110125"/>
                <a:gd name="connsiteY8" fmla="*/ 320448 h 910838"/>
                <a:gd name="connsiteX9" fmla="*/ 555081 w 1110125"/>
                <a:gd name="connsiteY9" fmla="*/ 0 h 910838"/>
                <a:gd name="connsiteX10" fmla="*/ 1110126 w 1110125"/>
                <a:gd name="connsiteY10" fmla="*/ 320448 h 9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25" h="910838">
                  <a:moveTo>
                    <a:pt x="1110126" y="320448"/>
                  </a:moveTo>
                  <a:lnTo>
                    <a:pt x="1110126" y="910839"/>
                  </a:lnTo>
                  <a:lnTo>
                    <a:pt x="1099889" y="910839"/>
                  </a:lnTo>
                  <a:lnTo>
                    <a:pt x="1099889" y="326375"/>
                  </a:lnTo>
                  <a:lnTo>
                    <a:pt x="555081" y="11818"/>
                  </a:lnTo>
                  <a:lnTo>
                    <a:pt x="10237" y="326375"/>
                  </a:lnTo>
                  <a:lnTo>
                    <a:pt x="10237" y="611620"/>
                  </a:lnTo>
                  <a:lnTo>
                    <a:pt x="0" y="611620"/>
                  </a:lnTo>
                  <a:lnTo>
                    <a:pt x="0" y="320448"/>
                  </a:lnTo>
                  <a:lnTo>
                    <a:pt x="555081" y="0"/>
                  </a:lnTo>
                  <a:lnTo>
                    <a:pt x="1110126" y="320448"/>
                  </a:lnTo>
                  <a:close/>
                </a:path>
              </a:pathLst>
            </a:custGeom>
            <a:grpFill/>
            <a:ln w="359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F31961AD-AB2A-8F76-48DB-9652A846D4BB}"/>
                </a:ext>
              </a:extLst>
            </p:cNvPr>
            <p:cNvSpPr/>
            <p:nvPr/>
          </p:nvSpPr>
          <p:spPr>
            <a:xfrm>
              <a:off x="3554551" y="2592448"/>
              <a:ext cx="61640" cy="61639"/>
            </a:xfrm>
            <a:custGeom>
              <a:avLst/>
              <a:gdLst>
                <a:gd name="connsiteX0" fmla="*/ 58080 w 61640"/>
                <a:gd name="connsiteY0" fmla="*/ 30574 h 61639"/>
                <a:gd name="connsiteX1" fmla="*/ 27260 w 61640"/>
                <a:gd name="connsiteY1" fmla="*/ 61394 h 61639"/>
                <a:gd name="connsiteX2" fmla="*/ -3560 w 61640"/>
                <a:gd name="connsiteY2" fmla="*/ 30574 h 61639"/>
                <a:gd name="connsiteX3" fmla="*/ 27260 w 61640"/>
                <a:gd name="connsiteY3" fmla="*/ -245 h 61639"/>
                <a:gd name="connsiteX4" fmla="*/ 58080 w 61640"/>
                <a:gd name="connsiteY4" fmla="*/ 30574 h 6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40" h="61639">
                  <a:moveTo>
                    <a:pt x="58080" y="30574"/>
                  </a:moveTo>
                  <a:cubicBezTo>
                    <a:pt x="58080" y="47597"/>
                    <a:pt x="44287" y="61394"/>
                    <a:pt x="27260" y="61394"/>
                  </a:cubicBezTo>
                  <a:cubicBezTo>
                    <a:pt x="10235" y="61394"/>
                    <a:pt x="-3560" y="47597"/>
                    <a:pt x="-3560" y="30574"/>
                  </a:cubicBezTo>
                  <a:cubicBezTo>
                    <a:pt x="-3560" y="13552"/>
                    <a:pt x="10235" y="-245"/>
                    <a:pt x="27260" y="-245"/>
                  </a:cubicBezTo>
                  <a:cubicBezTo>
                    <a:pt x="44287" y="-224"/>
                    <a:pt x="58045" y="13562"/>
                    <a:pt x="58080" y="30574"/>
                  </a:cubicBezTo>
                  <a:close/>
                </a:path>
              </a:pathLst>
            </a:custGeom>
            <a:grpFill/>
            <a:ln w="359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169FDBDF-5B2D-2119-A7A1-8B22803B3E46}"/>
                </a:ext>
              </a:extLst>
            </p:cNvPr>
            <p:cNvSpPr/>
            <p:nvPr/>
          </p:nvSpPr>
          <p:spPr>
            <a:xfrm>
              <a:off x="4635151" y="2871407"/>
              <a:ext cx="100578" cy="100578"/>
            </a:xfrm>
            <a:custGeom>
              <a:avLst/>
              <a:gdLst>
                <a:gd name="connsiteX0" fmla="*/ -3560 w 100578"/>
                <a:gd name="connsiteY0" fmla="*/ 49864 h 100578"/>
                <a:gd name="connsiteX1" fmla="*/ 46550 w 100578"/>
                <a:gd name="connsiteY1" fmla="*/ 100332 h 100578"/>
                <a:gd name="connsiteX2" fmla="*/ 97018 w 100578"/>
                <a:gd name="connsiteY2" fmla="*/ 50223 h 100578"/>
                <a:gd name="connsiteX3" fmla="*/ 46910 w 100578"/>
                <a:gd name="connsiteY3" fmla="*/ -245 h 100578"/>
                <a:gd name="connsiteX4" fmla="*/ 46729 w 100578"/>
                <a:gd name="connsiteY4" fmla="*/ -245 h 100578"/>
                <a:gd name="connsiteX5" fmla="*/ -3560 w 100578"/>
                <a:gd name="connsiteY5" fmla="*/ 49864 h 10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78" h="100578">
                  <a:moveTo>
                    <a:pt x="-3560" y="49864"/>
                  </a:moveTo>
                  <a:cubicBezTo>
                    <a:pt x="-3667" y="77630"/>
                    <a:pt x="18784" y="100224"/>
                    <a:pt x="46550" y="100332"/>
                  </a:cubicBezTo>
                  <a:cubicBezTo>
                    <a:pt x="74317" y="100440"/>
                    <a:pt x="96911" y="77990"/>
                    <a:pt x="97018" y="50223"/>
                  </a:cubicBezTo>
                  <a:cubicBezTo>
                    <a:pt x="97127" y="22456"/>
                    <a:pt x="74676" y="-145"/>
                    <a:pt x="46910" y="-245"/>
                  </a:cubicBezTo>
                  <a:cubicBezTo>
                    <a:pt x="46838" y="-245"/>
                    <a:pt x="46801" y="-245"/>
                    <a:pt x="46729" y="-245"/>
                  </a:cubicBezTo>
                  <a:cubicBezTo>
                    <a:pt x="19034" y="-245"/>
                    <a:pt x="-3451" y="22169"/>
                    <a:pt x="-3560" y="49864"/>
                  </a:cubicBezTo>
                  <a:close/>
                </a:path>
              </a:pathLst>
            </a:custGeom>
            <a:grpFill/>
            <a:ln w="359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A8CA2366-83ED-8446-DA7C-614BF5F49DC4}"/>
                </a:ext>
              </a:extLst>
            </p:cNvPr>
            <p:cNvSpPr/>
            <p:nvPr/>
          </p:nvSpPr>
          <p:spPr>
            <a:xfrm>
              <a:off x="3514896" y="2867815"/>
              <a:ext cx="738491" cy="300403"/>
            </a:xfrm>
            <a:custGeom>
              <a:avLst/>
              <a:gdLst>
                <a:gd name="connsiteX0" fmla="*/ 738491 w 738491"/>
                <a:gd name="connsiteY0" fmla="*/ 134846 h 300403"/>
                <a:gd name="connsiteX1" fmla="*/ 733355 w 738491"/>
                <a:gd name="connsiteY1" fmla="*/ 143718 h 300403"/>
                <a:gd name="connsiteX2" fmla="*/ 504936 w 738491"/>
                <a:gd name="connsiteY2" fmla="*/ 11818 h 300403"/>
                <a:gd name="connsiteX3" fmla="*/ 5137 w 738491"/>
                <a:gd name="connsiteY3" fmla="*/ 300404 h 300403"/>
                <a:gd name="connsiteX4" fmla="*/ 0 w 738491"/>
                <a:gd name="connsiteY4" fmla="*/ 291532 h 300403"/>
                <a:gd name="connsiteX5" fmla="*/ 504936 w 738491"/>
                <a:gd name="connsiteY5" fmla="*/ 0 h 300403"/>
                <a:gd name="connsiteX6" fmla="*/ 738491 w 738491"/>
                <a:gd name="connsiteY6" fmla="*/ 134846 h 30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491" h="300403">
                  <a:moveTo>
                    <a:pt x="738491" y="134846"/>
                  </a:moveTo>
                  <a:lnTo>
                    <a:pt x="733355" y="143718"/>
                  </a:lnTo>
                  <a:lnTo>
                    <a:pt x="504936" y="11818"/>
                  </a:lnTo>
                  <a:lnTo>
                    <a:pt x="5137" y="300404"/>
                  </a:lnTo>
                  <a:lnTo>
                    <a:pt x="0" y="291532"/>
                  </a:lnTo>
                  <a:lnTo>
                    <a:pt x="504936" y="0"/>
                  </a:lnTo>
                  <a:lnTo>
                    <a:pt x="738491" y="134846"/>
                  </a:lnTo>
                  <a:close/>
                </a:path>
              </a:pathLst>
            </a:custGeom>
            <a:grpFill/>
            <a:ln w="359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06213A9A-4D04-4AE5-927C-DF1C491374B0}"/>
                </a:ext>
              </a:extLst>
            </p:cNvPr>
            <p:cNvSpPr/>
            <p:nvPr/>
          </p:nvSpPr>
          <p:spPr>
            <a:xfrm>
              <a:off x="3462171" y="3104527"/>
              <a:ext cx="115603" cy="115608"/>
            </a:xfrm>
            <a:custGeom>
              <a:avLst/>
              <a:gdLst>
                <a:gd name="connsiteX0" fmla="*/ 83110 w 115603"/>
                <a:gd name="connsiteY0" fmla="*/ 107629 h 115608"/>
                <a:gd name="connsiteX1" fmla="*/ 4157 w 115603"/>
                <a:gd name="connsiteY1" fmla="*/ 86436 h 115608"/>
                <a:gd name="connsiteX2" fmla="*/ 25386 w 115603"/>
                <a:gd name="connsiteY2" fmla="*/ 7483 h 115608"/>
                <a:gd name="connsiteX3" fmla="*/ 104268 w 115603"/>
                <a:gd name="connsiteY3" fmla="*/ 28604 h 115608"/>
                <a:gd name="connsiteX4" fmla="*/ 83147 w 115603"/>
                <a:gd name="connsiteY4" fmla="*/ 107629 h 115608"/>
                <a:gd name="connsiteX5" fmla="*/ 83110 w 115603"/>
                <a:gd name="connsiteY5" fmla="*/ 107629 h 11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603" h="115608">
                  <a:moveTo>
                    <a:pt x="83110" y="107629"/>
                  </a:moveTo>
                  <a:cubicBezTo>
                    <a:pt x="55450" y="123578"/>
                    <a:pt x="20105" y="114059"/>
                    <a:pt x="4157" y="86436"/>
                  </a:cubicBezTo>
                  <a:cubicBezTo>
                    <a:pt x="-11757" y="58777"/>
                    <a:pt x="-2273" y="23431"/>
                    <a:pt x="25386" y="7483"/>
                  </a:cubicBezTo>
                  <a:cubicBezTo>
                    <a:pt x="53009" y="-8430"/>
                    <a:pt x="88282" y="1017"/>
                    <a:pt x="104268" y="28604"/>
                  </a:cubicBezTo>
                  <a:cubicBezTo>
                    <a:pt x="120251" y="56263"/>
                    <a:pt x="110805" y="91645"/>
                    <a:pt x="83147" y="107629"/>
                  </a:cubicBezTo>
                  <a:cubicBezTo>
                    <a:pt x="83110" y="107629"/>
                    <a:pt x="83110" y="107629"/>
                    <a:pt x="83110" y="107629"/>
                  </a:cubicBezTo>
                  <a:close/>
                </a:path>
              </a:pathLst>
            </a:custGeom>
            <a:grpFill/>
            <a:ln w="359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88F29CF7-98F2-A658-8A33-BC69EBECCE1D}"/>
                </a:ext>
              </a:extLst>
            </p:cNvPr>
            <p:cNvSpPr/>
            <p:nvPr/>
          </p:nvSpPr>
          <p:spPr>
            <a:xfrm>
              <a:off x="5461577" y="2364747"/>
              <a:ext cx="1368969" cy="409171"/>
            </a:xfrm>
            <a:custGeom>
              <a:avLst/>
              <a:gdLst>
                <a:gd name="connsiteX0" fmla="*/ 1368970 w 1368969"/>
                <a:gd name="connsiteY0" fmla="*/ 392792 h 409171"/>
                <a:gd name="connsiteX1" fmla="*/ 1362289 w 1368969"/>
                <a:gd name="connsiteY1" fmla="*/ 404394 h 409171"/>
                <a:gd name="connsiteX2" fmla="*/ 688634 w 1368969"/>
                <a:gd name="connsiteY2" fmla="*/ 15446 h 409171"/>
                <a:gd name="connsiteX3" fmla="*/ 6717 w 1368969"/>
                <a:gd name="connsiteY3" fmla="*/ 409172 h 409171"/>
                <a:gd name="connsiteX4" fmla="*/ 0 w 1368969"/>
                <a:gd name="connsiteY4" fmla="*/ 397569 h 409171"/>
                <a:gd name="connsiteX5" fmla="*/ 688634 w 1368969"/>
                <a:gd name="connsiteY5" fmla="*/ 0 h 409171"/>
                <a:gd name="connsiteX6" fmla="*/ 1368970 w 1368969"/>
                <a:gd name="connsiteY6" fmla="*/ 392792 h 409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8969" h="409171">
                  <a:moveTo>
                    <a:pt x="1368970" y="392792"/>
                  </a:moveTo>
                  <a:lnTo>
                    <a:pt x="1362289" y="404394"/>
                  </a:lnTo>
                  <a:lnTo>
                    <a:pt x="688634" y="15446"/>
                  </a:lnTo>
                  <a:lnTo>
                    <a:pt x="6717" y="409172"/>
                  </a:lnTo>
                  <a:lnTo>
                    <a:pt x="0" y="397569"/>
                  </a:lnTo>
                  <a:lnTo>
                    <a:pt x="688634" y="0"/>
                  </a:lnTo>
                  <a:lnTo>
                    <a:pt x="1368970" y="392792"/>
                  </a:lnTo>
                  <a:close/>
                </a:path>
              </a:pathLst>
            </a:custGeom>
            <a:grpFill/>
            <a:ln w="359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2FB6D2FF-DFBB-7CC9-A4AE-BF4B31F7CA50}"/>
                </a:ext>
              </a:extLst>
            </p:cNvPr>
            <p:cNvSpPr/>
            <p:nvPr/>
          </p:nvSpPr>
          <p:spPr>
            <a:xfrm>
              <a:off x="5426379" y="2726834"/>
              <a:ext cx="80559" cy="80548"/>
            </a:xfrm>
            <a:custGeom>
              <a:avLst/>
              <a:gdLst>
                <a:gd name="connsiteX0" fmla="*/ 56854 w 80559"/>
                <a:gd name="connsiteY0" fmla="*/ 74893 h 80548"/>
                <a:gd name="connsiteX1" fmla="*/ 1859 w 80559"/>
                <a:gd name="connsiteY1" fmla="*/ 60177 h 80548"/>
                <a:gd name="connsiteX2" fmla="*/ 16550 w 80559"/>
                <a:gd name="connsiteY2" fmla="*/ 5164 h 80548"/>
                <a:gd name="connsiteX3" fmla="*/ 71580 w 80559"/>
                <a:gd name="connsiteY3" fmla="*/ 19881 h 80548"/>
                <a:gd name="connsiteX4" fmla="*/ 71580 w 80559"/>
                <a:gd name="connsiteY4" fmla="*/ 19899 h 80548"/>
                <a:gd name="connsiteX5" fmla="*/ 56889 w 80559"/>
                <a:gd name="connsiteY5" fmla="*/ 74868 h 80548"/>
                <a:gd name="connsiteX6" fmla="*/ 56854 w 80559"/>
                <a:gd name="connsiteY6" fmla="*/ 74893 h 8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559" h="80548">
                  <a:moveTo>
                    <a:pt x="56854" y="74893"/>
                  </a:moveTo>
                  <a:cubicBezTo>
                    <a:pt x="37599" y="86021"/>
                    <a:pt x="12958" y="79430"/>
                    <a:pt x="1859" y="60177"/>
                  </a:cubicBezTo>
                  <a:cubicBezTo>
                    <a:pt x="-9276" y="40920"/>
                    <a:pt x="-2703" y="16292"/>
                    <a:pt x="16550" y="5164"/>
                  </a:cubicBezTo>
                  <a:cubicBezTo>
                    <a:pt x="35803" y="-5964"/>
                    <a:pt x="60446" y="627"/>
                    <a:pt x="71580" y="19881"/>
                  </a:cubicBezTo>
                  <a:cubicBezTo>
                    <a:pt x="71580" y="19888"/>
                    <a:pt x="71580" y="19895"/>
                    <a:pt x="71580" y="19899"/>
                  </a:cubicBezTo>
                  <a:cubicBezTo>
                    <a:pt x="82716" y="39131"/>
                    <a:pt x="76142" y="63744"/>
                    <a:pt x="56889" y="74868"/>
                  </a:cubicBezTo>
                  <a:cubicBezTo>
                    <a:pt x="56889" y="74875"/>
                    <a:pt x="56854" y="74886"/>
                    <a:pt x="56854" y="74893"/>
                  </a:cubicBezTo>
                  <a:close/>
                </a:path>
              </a:pathLst>
            </a:custGeom>
            <a:grpFill/>
            <a:ln w="359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E40EB4A6-54C8-A365-F702-75F50F62BEA1}"/>
                </a:ext>
              </a:extLst>
            </p:cNvPr>
            <p:cNvSpPr/>
            <p:nvPr/>
          </p:nvSpPr>
          <p:spPr>
            <a:xfrm>
              <a:off x="6774646" y="2711801"/>
              <a:ext cx="100593" cy="100594"/>
            </a:xfrm>
            <a:custGeom>
              <a:avLst/>
              <a:gdLst>
                <a:gd name="connsiteX0" fmla="*/ 21627 w 100593"/>
                <a:gd name="connsiteY0" fmla="*/ 93626 h 100594"/>
                <a:gd name="connsiteX1" fmla="*/ 90308 w 100593"/>
                <a:gd name="connsiteY1" fmla="*/ 75156 h 100594"/>
                <a:gd name="connsiteX2" fmla="*/ 71844 w 100593"/>
                <a:gd name="connsiteY2" fmla="*/ 6479 h 100594"/>
                <a:gd name="connsiteX3" fmla="*/ 3201 w 100593"/>
                <a:gd name="connsiteY3" fmla="*/ 24874 h 100594"/>
                <a:gd name="connsiteX4" fmla="*/ 21556 w 100593"/>
                <a:gd name="connsiteY4" fmla="*/ 93583 h 100594"/>
                <a:gd name="connsiteX5" fmla="*/ 21627 w 100593"/>
                <a:gd name="connsiteY5" fmla="*/ 93626 h 10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93" h="100594">
                  <a:moveTo>
                    <a:pt x="21627" y="93626"/>
                  </a:moveTo>
                  <a:cubicBezTo>
                    <a:pt x="45695" y="107491"/>
                    <a:pt x="76443" y="99222"/>
                    <a:pt x="90308" y="75156"/>
                  </a:cubicBezTo>
                  <a:cubicBezTo>
                    <a:pt x="104173" y="51092"/>
                    <a:pt x="95912" y="20344"/>
                    <a:pt x="71844" y="6479"/>
                  </a:cubicBezTo>
                  <a:cubicBezTo>
                    <a:pt x="47814" y="-7372"/>
                    <a:pt x="17102" y="861"/>
                    <a:pt x="3201" y="24874"/>
                  </a:cubicBezTo>
                  <a:cubicBezTo>
                    <a:pt x="-10701" y="48915"/>
                    <a:pt x="-2475" y="79678"/>
                    <a:pt x="21556" y="93583"/>
                  </a:cubicBezTo>
                  <a:cubicBezTo>
                    <a:pt x="21592" y="93597"/>
                    <a:pt x="21592" y="93612"/>
                    <a:pt x="21627" y="93626"/>
                  </a:cubicBezTo>
                  <a:close/>
                </a:path>
              </a:pathLst>
            </a:custGeom>
            <a:grpFill/>
            <a:ln w="359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A1FD8E8D-4B57-B07B-9966-62F9AC0F199D}"/>
                </a:ext>
              </a:extLst>
            </p:cNvPr>
            <p:cNvSpPr/>
            <p:nvPr/>
          </p:nvSpPr>
          <p:spPr>
            <a:xfrm>
              <a:off x="709569" y="1251999"/>
              <a:ext cx="516430" cy="1096368"/>
            </a:xfrm>
            <a:custGeom>
              <a:avLst/>
              <a:gdLst>
                <a:gd name="connsiteX0" fmla="*/ 516430 w 516430"/>
                <a:gd name="connsiteY0" fmla="*/ 295195 h 1096368"/>
                <a:gd name="connsiteX1" fmla="*/ 516430 w 516430"/>
                <a:gd name="connsiteY1" fmla="*/ 936127 h 1096368"/>
                <a:gd name="connsiteX2" fmla="*/ 238872 w 516430"/>
                <a:gd name="connsiteY2" fmla="*/ 1096369 h 1096368"/>
                <a:gd name="connsiteX3" fmla="*/ 233771 w 516430"/>
                <a:gd name="connsiteY3" fmla="*/ 1087496 h 1096368"/>
                <a:gd name="connsiteX4" fmla="*/ 506157 w 516430"/>
                <a:gd name="connsiteY4" fmla="*/ 930200 h 1096368"/>
                <a:gd name="connsiteX5" fmla="*/ 506157 w 516430"/>
                <a:gd name="connsiteY5" fmla="*/ 301086 h 1096368"/>
                <a:gd name="connsiteX6" fmla="*/ 0 w 516430"/>
                <a:gd name="connsiteY6" fmla="*/ 8872 h 1096368"/>
                <a:gd name="connsiteX7" fmla="*/ 5137 w 516430"/>
                <a:gd name="connsiteY7" fmla="*/ 0 h 1096368"/>
                <a:gd name="connsiteX8" fmla="*/ 516430 w 516430"/>
                <a:gd name="connsiteY8" fmla="*/ 295195 h 109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430" h="1096368">
                  <a:moveTo>
                    <a:pt x="516430" y="295195"/>
                  </a:moveTo>
                  <a:lnTo>
                    <a:pt x="516430" y="936127"/>
                  </a:lnTo>
                  <a:lnTo>
                    <a:pt x="238872" y="1096369"/>
                  </a:lnTo>
                  <a:lnTo>
                    <a:pt x="233771" y="1087496"/>
                  </a:lnTo>
                  <a:lnTo>
                    <a:pt x="506157" y="930200"/>
                  </a:lnTo>
                  <a:lnTo>
                    <a:pt x="506157" y="301086"/>
                  </a:lnTo>
                  <a:lnTo>
                    <a:pt x="0" y="8872"/>
                  </a:lnTo>
                  <a:lnTo>
                    <a:pt x="5137" y="0"/>
                  </a:lnTo>
                  <a:lnTo>
                    <a:pt x="516430" y="295195"/>
                  </a:lnTo>
                  <a:close/>
                </a:path>
              </a:pathLst>
            </a:custGeom>
            <a:grpFill/>
            <a:ln w="359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B7F351BD-83F3-0D6C-CC29-CB4002FC9DD1}"/>
                </a:ext>
              </a:extLst>
            </p:cNvPr>
            <p:cNvSpPr/>
            <p:nvPr/>
          </p:nvSpPr>
          <p:spPr>
            <a:xfrm>
              <a:off x="664159" y="1207540"/>
              <a:ext cx="100221" cy="100169"/>
            </a:xfrm>
            <a:custGeom>
              <a:avLst/>
              <a:gdLst>
                <a:gd name="connsiteX0" fmla="*/ 21519 w 100221"/>
                <a:gd name="connsiteY0" fmla="*/ 93281 h 100169"/>
                <a:gd name="connsiteX1" fmla="*/ 3128 w 100221"/>
                <a:gd name="connsiteY1" fmla="*/ 24841 h 100169"/>
                <a:gd name="connsiteX2" fmla="*/ 71593 w 100221"/>
                <a:gd name="connsiteY2" fmla="*/ 6464 h 100169"/>
                <a:gd name="connsiteX3" fmla="*/ 89948 w 100221"/>
                <a:gd name="connsiteY3" fmla="*/ 74904 h 100169"/>
                <a:gd name="connsiteX4" fmla="*/ 89948 w 100221"/>
                <a:gd name="connsiteY4" fmla="*/ 74926 h 100169"/>
                <a:gd name="connsiteX5" fmla="*/ 21519 w 100221"/>
                <a:gd name="connsiteY5" fmla="*/ 93281 h 10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21" h="100169">
                  <a:moveTo>
                    <a:pt x="21519" y="93281"/>
                  </a:moveTo>
                  <a:cubicBezTo>
                    <a:pt x="-2440" y="79455"/>
                    <a:pt x="-10666" y="48815"/>
                    <a:pt x="3128" y="24841"/>
                  </a:cubicBezTo>
                  <a:cubicBezTo>
                    <a:pt x="16958" y="864"/>
                    <a:pt x="47597" y="-7361"/>
                    <a:pt x="71593" y="6464"/>
                  </a:cubicBezTo>
                  <a:cubicBezTo>
                    <a:pt x="95552" y="20287"/>
                    <a:pt x="103777" y="50931"/>
                    <a:pt x="89948" y="74904"/>
                  </a:cubicBezTo>
                  <a:cubicBezTo>
                    <a:pt x="89948" y="74911"/>
                    <a:pt x="89948" y="74918"/>
                    <a:pt x="89948" y="74926"/>
                  </a:cubicBezTo>
                  <a:cubicBezTo>
                    <a:pt x="76047" y="98798"/>
                    <a:pt x="45514" y="106995"/>
                    <a:pt x="21519" y="93281"/>
                  </a:cubicBezTo>
                  <a:close/>
                </a:path>
              </a:pathLst>
            </a:custGeom>
            <a:grpFill/>
            <a:ln w="359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BB7BBDEE-DDDD-E003-0F5E-66425953247A}"/>
                </a:ext>
              </a:extLst>
            </p:cNvPr>
            <p:cNvSpPr/>
            <p:nvPr/>
          </p:nvSpPr>
          <p:spPr>
            <a:xfrm>
              <a:off x="3119733" y="2943679"/>
              <a:ext cx="1953433" cy="1077330"/>
            </a:xfrm>
            <a:custGeom>
              <a:avLst/>
              <a:gdLst>
                <a:gd name="connsiteX0" fmla="*/ 1953434 w 1953433"/>
                <a:gd name="connsiteY0" fmla="*/ 531373 h 1077330"/>
                <a:gd name="connsiteX1" fmla="*/ 1007824 w 1953433"/>
                <a:gd name="connsiteY1" fmla="*/ 1077331 h 1077330"/>
                <a:gd name="connsiteX2" fmla="*/ 1003154 w 1953433"/>
                <a:gd name="connsiteY2" fmla="*/ 1074636 h 1077330"/>
                <a:gd name="connsiteX3" fmla="*/ 0 w 1953433"/>
                <a:gd name="connsiteY3" fmla="*/ 495453 h 1077330"/>
                <a:gd name="connsiteX4" fmla="*/ 0 w 1953433"/>
                <a:gd name="connsiteY4" fmla="*/ 0 h 1077330"/>
                <a:gd name="connsiteX5" fmla="*/ 18607 w 1953433"/>
                <a:gd name="connsiteY5" fmla="*/ 0 h 1077330"/>
                <a:gd name="connsiteX6" fmla="*/ 18607 w 1953433"/>
                <a:gd name="connsiteY6" fmla="*/ 484713 h 1077330"/>
                <a:gd name="connsiteX7" fmla="*/ 1007824 w 1953433"/>
                <a:gd name="connsiteY7" fmla="*/ 1055850 h 1077330"/>
                <a:gd name="connsiteX8" fmla="*/ 1944130 w 1953433"/>
                <a:gd name="connsiteY8" fmla="*/ 515281 h 1077330"/>
                <a:gd name="connsiteX9" fmla="*/ 1953434 w 1953433"/>
                <a:gd name="connsiteY9" fmla="*/ 531373 h 107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3433" h="1077330">
                  <a:moveTo>
                    <a:pt x="1953434" y="531373"/>
                  </a:moveTo>
                  <a:lnTo>
                    <a:pt x="1007824" y="1077331"/>
                  </a:lnTo>
                  <a:lnTo>
                    <a:pt x="1003154" y="1074636"/>
                  </a:lnTo>
                  <a:lnTo>
                    <a:pt x="0" y="495453"/>
                  </a:lnTo>
                  <a:lnTo>
                    <a:pt x="0" y="0"/>
                  </a:lnTo>
                  <a:lnTo>
                    <a:pt x="18607" y="0"/>
                  </a:lnTo>
                  <a:lnTo>
                    <a:pt x="18607" y="484713"/>
                  </a:lnTo>
                  <a:lnTo>
                    <a:pt x="1007824" y="1055850"/>
                  </a:lnTo>
                  <a:lnTo>
                    <a:pt x="1944130" y="515281"/>
                  </a:lnTo>
                  <a:lnTo>
                    <a:pt x="1953434" y="531373"/>
                  </a:lnTo>
                  <a:close/>
                </a:path>
              </a:pathLst>
            </a:custGeom>
            <a:grpFill/>
            <a:ln w="359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16E41E70-1EE7-FABA-1A29-1ACC9F27F63E}"/>
                </a:ext>
              </a:extLst>
            </p:cNvPr>
            <p:cNvSpPr/>
            <p:nvPr/>
          </p:nvSpPr>
          <p:spPr>
            <a:xfrm>
              <a:off x="4995516" y="3398743"/>
              <a:ext cx="139952" cy="139975"/>
            </a:xfrm>
            <a:custGeom>
              <a:avLst/>
              <a:gdLst>
                <a:gd name="connsiteX0" fmla="*/ 31417 w 139952"/>
                <a:gd name="connsiteY0" fmla="*/ 9145 h 139975"/>
                <a:gd name="connsiteX1" fmla="*/ 127001 w 139952"/>
                <a:gd name="connsiteY1" fmla="*/ 34756 h 139975"/>
                <a:gd name="connsiteX2" fmla="*/ 101391 w 139952"/>
                <a:gd name="connsiteY2" fmla="*/ 130341 h 139975"/>
                <a:gd name="connsiteX3" fmla="*/ 5806 w 139952"/>
                <a:gd name="connsiteY3" fmla="*/ 104729 h 139975"/>
                <a:gd name="connsiteX4" fmla="*/ 5806 w 139952"/>
                <a:gd name="connsiteY4" fmla="*/ 104729 h 139975"/>
                <a:gd name="connsiteX5" fmla="*/ 31417 w 139952"/>
                <a:gd name="connsiteY5" fmla="*/ 9145 h 13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952" h="139975">
                  <a:moveTo>
                    <a:pt x="31417" y="9145"/>
                  </a:moveTo>
                  <a:cubicBezTo>
                    <a:pt x="64895" y="-10181"/>
                    <a:pt x="107677" y="1278"/>
                    <a:pt x="127001" y="34756"/>
                  </a:cubicBezTo>
                  <a:cubicBezTo>
                    <a:pt x="146328" y="68234"/>
                    <a:pt x="134868" y="111015"/>
                    <a:pt x="101391" y="130341"/>
                  </a:cubicBezTo>
                  <a:cubicBezTo>
                    <a:pt x="67913" y="149666"/>
                    <a:pt x="25131" y="138207"/>
                    <a:pt x="5806" y="104729"/>
                  </a:cubicBezTo>
                  <a:cubicBezTo>
                    <a:pt x="5806" y="104729"/>
                    <a:pt x="5806" y="104729"/>
                    <a:pt x="5806" y="104729"/>
                  </a:cubicBezTo>
                  <a:cubicBezTo>
                    <a:pt x="-13483" y="71251"/>
                    <a:pt x="-2025" y="28506"/>
                    <a:pt x="31417" y="9145"/>
                  </a:cubicBezTo>
                  <a:close/>
                </a:path>
              </a:pathLst>
            </a:custGeom>
            <a:grpFill/>
            <a:ln w="359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7CD2918A-8CE6-7942-6498-663D3002A12C}"/>
                </a:ext>
              </a:extLst>
            </p:cNvPr>
            <p:cNvSpPr/>
            <p:nvPr/>
          </p:nvSpPr>
          <p:spPr>
            <a:xfrm>
              <a:off x="3038014" y="2857218"/>
              <a:ext cx="181974" cy="181973"/>
            </a:xfrm>
            <a:custGeom>
              <a:avLst/>
              <a:gdLst>
                <a:gd name="connsiteX0" fmla="*/ 178414 w 181974"/>
                <a:gd name="connsiteY0" fmla="*/ 90741 h 181973"/>
                <a:gd name="connsiteX1" fmla="*/ 87427 w 181974"/>
                <a:gd name="connsiteY1" fmla="*/ -245 h 181973"/>
                <a:gd name="connsiteX2" fmla="*/ -3560 w 181974"/>
                <a:gd name="connsiteY2" fmla="*/ 90741 h 181973"/>
                <a:gd name="connsiteX3" fmla="*/ 87427 w 181974"/>
                <a:gd name="connsiteY3" fmla="*/ 181728 h 181973"/>
                <a:gd name="connsiteX4" fmla="*/ 178414 w 181974"/>
                <a:gd name="connsiteY4" fmla="*/ 90741 h 1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974" h="181973">
                  <a:moveTo>
                    <a:pt x="178414" y="90741"/>
                  </a:moveTo>
                  <a:cubicBezTo>
                    <a:pt x="178414" y="40489"/>
                    <a:pt x="137679" y="-245"/>
                    <a:pt x="87427" y="-245"/>
                  </a:cubicBezTo>
                  <a:cubicBezTo>
                    <a:pt x="37173" y="-245"/>
                    <a:pt x="-3560" y="40489"/>
                    <a:pt x="-3560" y="90741"/>
                  </a:cubicBezTo>
                  <a:cubicBezTo>
                    <a:pt x="-3560" y="140994"/>
                    <a:pt x="37173" y="181728"/>
                    <a:pt x="87427" y="181728"/>
                  </a:cubicBezTo>
                  <a:cubicBezTo>
                    <a:pt x="137679" y="181728"/>
                    <a:pt x="178414" y="140994"/>
                    <a:pt x="178414" y="90741"/>
                  </a:cubicBezTo>
                  <a:close/>
                </a:path>
              </a:pathLst>
            </a:custGeom>
            <a:grpFill/>
            <a:ln w="359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87E5CEF1-4626-632E-488F-E8EB08B70F7D}"/>
                </a:ext>
              </a:extLst>
            </p:cNvPr>
            <p:cNvSpPr/>
            <p:nvPr/>
          </p:nvSpPr>
          <p:spPr>
            <a:xfrm rot="19799999">
              <a:off x="3133368" y="1967587"/>
              <a:ext cx="450192" cy="18606"/>
            </a:xfrm>
            <a:custGeom>
              <a:avLst/>
              <a:gdLst>
                <a:gd name="connsiteX0" fmla="*/ -3561 w 450192"/>
                <a:gd name="connsiteY0" fmla="*/ -245 h 18606"/>
                <a:gd name="connsiteX1" fmla="*/ 446632 w 450192"/>
                <a:gd name="connsiteY1" fmla="*/ -245 h 18606"/>
                <a:gd name="connsiteX2" fmla="*/ 446632 w 450192"/>
                <a:gd name="connsiteY2" fmla="*/ 18361 h 18606"/>
                <a:gd name="connsiteX3" fmla="*/ -3561 w 450192"/>
                <a:gd name="connsiteY3" fmla="*/ 18361 h 18606"/>
              </a:gdLst>
              <a:ahLst/>
              <a:cxnLst>
                <a:cxn ang="0">
                  <a:pos x="connsiteX0" y="connsiteY0"/>
                </a:cxn>
                <a:cxn ang="0">
                  <a:pos x="connsiteX1" y="connsiteY1"/>
                </a:cxn>
                <a:cxn ang="0">
                  <a:pos x="connsiteX2" y="connsiteY2"/>
                </a:cxn>
                <a:cxn ang="0">
                  <a:pos x="connsiteX3" y="connsiteY3"/>
                </a:cxn>
              </a:cxnLst>
              <a:rect l="l" t="t" r="r" b="b"/>
              <a:pathLst>
                <a:path w="450192" h="18606">
                  <a:moveTo>
                    <a:pt x="-3561" y="-245"/>
                  </a:moveTo>
                  <a:lnTo>
                    <a:pt x="446632" y="-245"/>
                  </a:lnTo>
                  <a:lnTo>
                    <a:pt x="446632" y="18361"/>
                  </a:lnTo>
                  <a:lnTo>
                    <a:pt x="-3561" y="18361"/>
                  </a:lnTo>
                  <a:close/>
                </a:path>
              </a:pathLst>
            </a:custGeom>
            <a:grpFill/>
            <a:ln w="359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BEA6225B-D7EC-43B3-A131-E58452FBF32D}"/>
                </a:ext>
              </a:extLst>
            </p:cNvPr>
            <p:cNvSpPr/>
            <p:nvPr/>
          </p:nvSpPr>
          <p:spPr>
            <a:xfrm>
              <a:off x="3458519" y="1775740"/>
              <a:ext cx="181935" cy="181931"/>
            </a:xfrm>
            <a:custGeom>
              <a:avLst/>
              <a:gdLst>
                <a:gd name="connsiteX0" fmla="*/ 41933 w 181935"/>
                <a:gd name="connsiteY0" fmla="*/ 11948 h 181931"/>
                <a:gd name="connsiteX1" fmla="*/ 166181 w 181935"/>
                <a:gd name="connsiteY1" fmla="*/ 45254 h 181931"/>
                <a:gd name="connsiteX2" fmla="*/ 132848 w 181935"/>
                <a:gd name="connsiteY2" fmla="*/ 169493 h 181931"/>
                <a:gd name="connsiteX3" fmla="*/ 8634 w 181935"/>
                <a:gd name="connsiteY3" fmla="*/ 136198 h 181931"/>
                <a:gd name="connsiteX4" fmla="*/ 41933 w 181935"/>
                <a:gd name="connsiteY4" fmla="*/ 11956 h 181931"/>
                <a:gd name="connsiteX5" fmla="*/ 41933 w 181935"/>
                <a:gd name="connsiteY5" fmla="*/ 11948 h 18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35" h="181931">
                  <a:moveTo>
                    <a:pt x="41933" y="11948"/>
                  </a:moveTo>
                  <a:cubicBezTo>
                    <a:pt x="85432" y="-13160"/>
                    <a:pt x="141074" y="1751"/>
                    <a:pt x="166181" y="45254"/>
                  </a:cubicBezTo>
                  <a:cubicBezTo>
                    <a:pt x="191291" y="88757"/>
                    <a:pt x="176384" y="144381"/>
                    <a:pt x="132848" y="169493"/>
                  </a:cubicBezTo>
                  <a:cubicBezTo>
                    <a:pt x="89349" y="194598"/>
                    <a:pt x="33744" y="179694"/>
                    <a:pt x="8634" y="136198"/>
                  </a:cubicBezTo>
                  <a:cubicBezTo>
                    <a:pt x="-16473" y="92698"/>
                    <a:pt x="-1567" y="37071"/>
                    <a:pt x="41933" y="11956"/>
                  </a:cubicBezTo>
                  <a:cubicBezTo>
                    <a:pt x="41933" y="11952"/>
                    <a:pt x="41933" y="11952"/>
                    <a:pt x="41933" y="11948"/>
                  </a:cubicBezTo>
                  <a:close/>
                </a:path>
              </a:pathLst>
            </a:custGeom>
            <a:grpFill/>
            <a:ln w="359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A038B67E-89A1-7413-89BE-5543AAFBB45C}"/>
                </a:ext>
              </a:extLst>
            </p:cNvPr>
            <p:cNvSpPr/>
            <p:nvPr/>
          </p:nvSpPr>
          <p:spPr>
            <a:xfrm>
              <a:off x="3123466" y="2046449"/>
              <a:ext cx="83985" cy="83996"/>
            </a:xfrm>
            <a:custGeom>
              <a:avLst/>
              <a:gdLst>
                <a:gd name="connsiteX0" fmla="*/ 17348 w 83985"/>
                <a:gd name="connsiteY0" fmla="*/ 5436 h 83996"/>
                <a:gd name="connsiteX1" fmla="*/ 2119 w 83985"/>
                <a:gd name="connsiteY1" fmla="*/ 62830 h 83996"/>
                <a:gd name="connsiteX2" fmla="*/ 59520 w 83985"/>
                <a:gd name="connsiteY2" fmla="*/ 78071 h 83996"/>
                <a:gd name="connsiteX3" fmla="*/ 74821 w 83985"/>
                <a:gd name="connsiteY3" fmla="*/ 20810 h 83996"/>
                <a:gd name="connsiteX4" fmla="*/ 17492 w 83985"/>
                <a:gd name="connsiteY4" fmla="*/ 5357 h 83996"/>
                <a:gd name="connsiteX5" fmla="*/ 17348 w 83985"/>
                <a:gd name="connsiteY5" fmla="*/ 5436 h 83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985" h="83996">
                  <a:moveTo>
                    <a:pt x="17348" y="5436"/>
                  </a:moveTo>
                  <a:cubicBezTo>
                    <a:pt x="-2696" y="17078"/>
                    <a:pt x="-9520" y="42775"/>
                    <a:pt x="2119" y="62830"/>
                  </a:cubicBezTo>
                  <a:cubicBezTo>
                    <a:pt x="13756" y="82888"/>
                    <a:pt x="39439" y="89713"/>
                    <a:pt x="59520" y="78071"/>
                  </a:cubicBezTo>
                  <a:cubicBezTo>
                    <a:pt x="79527" y="66461"/>
                    <a:pt x="86352" y="40857"/>
                    <a:pt x="74821" y="20810"/>
                  </a:cubicBezTo>
                  <a:cubicBezTo>
                    <a:pt x="63256" y="709"/>
                    <a:pt x="37571" y="-6209"/>
                    <a:pt x="17492" y="5357"/>
                  </a:cubicBezTo>
                  <a:cubicBezTo>
                    <a:pt x="17420" y="5386"/>
                    <a:pt x="17385" y="5411"/>
                    <a:pt x="17348" y="5436"/>
                  </a:cubicBezTo>
                  <a:close/>
                </a:path>
              </a:pathLst>
            </a:custGeom>
            <a:grpFill/>
            <a:ln w="359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AE6DD907-10F0-73BA-76D4-7BDDA6857E16}"/>
                </a:ext>
              </a:extLst>
            </p:cNvPr>
            <p:cNvSpPr/>
            <p:nvPr/>
          </p:nvSpPr>
          <p:spPr>
            <a:xfrm>
              <a:off x="4197746" y="1451179"/>
              <a:ext cx="937635" cy="1990647"/>
            </a:xfrm>
            <a:custGeom>
              <a:avLst/>
              <a:gdLst>
                <a:gd name="connsiteX0" fmla="*/ 937635 w 937635"/>
                <a:gd name="connsiteY0" fmla="*/ 535971 h 1990647"/>
                <a:gd name="connsiteX1" fmla="*/ 937635 w 937635"/>
                <a:gd name="connsiteY1" fmla="*/ 1699727 h 1990647"/>
                <a:gd name="connsiteX2" fmla="*/ 433705 w 937635"/>
                <a:gd name="connsiteY2" fmla="*/ 1990648 h 1990647"/>
                <a:gd name="connsiteX3" fmla="*/ 424402 w 937635"/>
                <a:gd name="connsiteY3" fmla="*/ 1974519 h 1990647"/>
                <a:gd name="connsiteX4" fmla="*/ 919028 w 937635"/>
                <a:gd name="connsiteY4" fmla="*/ 1688986 h 1990647"/>
                <a:gd name="connsiteX5" fmla="*/ 919028 w 937635"/>
                <a:gd name="connsiteY5" fmla="*/ 546711 h 1990647"/>
                <a:gd name="connsiteX6" fmla="*/ 0 w 937635"/>
                <a:gd name="connsiteY6" fmla="*/ 16092 h 1990647"/>
                <a:gd name="connsiteX7" fmla="*/ 9304 w 937635"/>
                <a:gd name="connsiteY7" fmla="*/ 0 h 1990647"/>
                <a:gd name="connsiteX8" fmla="*/ 937635 w 937635"/>
                <a:gd name="connsiteY8" fmla="*/ 535971 h 199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7635" h="1990647">
                  <a:moveTo>
                    <a:pt x="937635" y="535971"/>
                  </a:moveTo>
                  <a:lnTo>
                    <a:pt x="937635" y="1699727"/>
                  </a:lnTo>
                  <a:lnTo>
                    <a:pt x="433705" y="1990648"/>
                  </a:lnTo>
                  <a:lnTo>
                    <a:pt x="424402" y="1974519"/>
                  </a:lnTo>
                  <a:lnTo>
                    <a:pt x="919028" y="1688986"/>
                  </a:lnTo>
                  <a:lnTo>
                    <a:pt x="919028" y="546711"/>
                  </a:lnTo>
                  <a:lnTo>
                    <a:pt x="0" y="16092"/>
                  </a:lnTo>
                  <a:lnTo>
                    <a:pt x="9304" y="0"/>
                  </a:lnTo>
                  <a:lnTo>
                    <a:pt x="937635" y="535971"/>
                  </a:lnTo>
                  <a:close/>
                </a:path>
              </a:pathLst>
            </a:custGeom>
            <a:grpFill/>
            <a:ln w="359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AA1D495C-72DC-8B51-EEC6-CB94EDDA3985}"/>
                </a:ext>
              </a:extLst>
            </p:cNvPr>
            <p:cNvSpPr/>
            <p:nvPr/>
          </p:nvSpPr>
          <p:spPr>
            <a:xfrm>
              <a:off x="4115365" y="1370548"/>
              <a:ext cx="181921" cy="181932"/>
            </a:xfrm>
            <a:custGeom>
              <a:avLst/>
              <a:gdLst>
                <a:gd name="connsiteX0" fmla="*/ 41895 w 181921"/>
                <a:gd name="connsiteY0" fmla="*/ 169469 h 181932"/>
                <a:gd name="connsiteX1" fmla="*/ 8669 w 181921"/>
                <a:gd name="connsiteY1" fmla="*/ 45216 h 181932"/>
                <a:gd name="connsiteX2" fmla="*/ 132918 w 181921"/>
                <a:gd name="connsiteY2" fmla="*/ 11971 h 181932"/>
                <a:gd name="connsiteX3" fmla="*/ 166181 w 181921"/>
                <a:gd name="connsiteY3" fmla="*/ 136170 h 181932"/>
                <a:gd name="connsiteX4" fmla="*/ 41967 w 181921"/>
                <a:gd name="connsiteY4" fmla="*/ 169501 h 181932"/>
                <a:gd name="connsiteX5" fmla="*/ 41895 w 181921"/>
                <a:gd name="connsiteY5" fmla="*/ 169469 h 18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21" h="181932">
                  <a:moveTo>
                    <a:pt x="41895" y="169469"/>
                  </a:moveTo>
                  <a:cubicBezTo>
                    <a:pt x="-1604" y="144339"/>
                    <a:pt x="-16476" y="88708"/>
                    <a:pt x="8669" y="45216"/>
                  </a:cubicBezTo>
                  <a:cubicBezTo>
                    <a:pt x="33776" y="1723"/>
                    <a:pt x="89418" y="-13159"/>
                    <a:pt x="132918" y="11971"/>
                  </a:cubicBezTo>
                  <a:cubicBezTo>
                    <a:pt x="176382" y="37090"/>
                    <a:pt x="191254" y="92681"/>
                    <a:pt x="166181" y="136170"/>
                  </a:cubicBezTo>
                  <a:cubicBezTo>
                    <a:pt x="141072" y="179681"/>
                    <a:pt x="85467" y="194602"/>
                    <a:pt x="41967" y="169501"/>
                  </a:cubicBezTo>
                  <a:cubicBezTo>
                    <a:pt x="41930" y="169490"/>
                    <a:pt x="41895" y="169479"/>
                    <a:pt x="41895" y="169469"/>
                  </a:cubicBezTo>
                  <a:close/>
                </a:path>
              </a:pathLst>
            </a:custGeom>
            <a:grpFill/>
            <a:ln w="359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AEBF3A2B-BFA3-527A-CA4D-F09D87FE2247}"/>
                </a:ext>
              </a:extLst>
            </p:cNvPr>
            <p:cNvSpPr/>
            <p:nvPr/>
          </p:nvSpPr>
          <p:spPr>
            <a:xfrm>
              <a:off x="315018" y="325319"/>
              <a:ext cx="1131965" cy="928762"/>
            </a:xfrm>
            <a:custGeom>
              <a:avLst/>
              <a:gdLst>
                <a:gd name="connsiteX0" fmla="*/ 1131966 w 1131965"/>
                <a:gd name="connsiteY0" fmla="*/ 326770 h 928762"/>
                <a:gd name="connsiteX1" fmla="*/ 1131966 w 1131965"/>
                <a:gd name="connsiteY1" fmla="*/ 928763 h 928762"/>
                <a:gd name="connsiteX2" fmla="*/ 1121513 w 1131965"/>
                <a:gd name="connsiteY2" fmla="*/ 928763 h 928762"/>
                <a:gd name="connsiteX3" fmla="*/ 1121513 w 1131965"/>
                <a:gd name="connsiteY3" fmla="*/ 332804 h 928762"/>
                <a:gd name="connsiteX4" fmla="*/ 565965 w 1131965"/>
                <a:gd name="connsiteY4" fmla="*/ 12069 h 928762"/>
                <a:gd name="connsiteX5" fmla="*/ 10453 w 1131965"/>
                <a:gd name="connsiteY5" fmla="*/ 332804 h 928762"/>
                <a:gd name="connsiteX6" fmla="*/ 10453 w 1131965"/>
                <a:gd name="connsiteY6" fmla="*/ 623689 h 928762"/>
                <a:gd name="connsiteX7" fmla="*/ 0 w 1131965"/>
                <a:gd name="connsiteY7" fmla="*/ 623689 h 928762"/>
                <a:gd name="connsiteX8" fmla="*/ 0 w 1131965"/>
                <a:gd name="connsiteY8" fmla="*/ 326770 h 928762"/>
                <a:gd name="connsiteX9" fmla="*/ 565965 w 1131965"/>
                <a:gd name="connsiteY9" fmla="*/ 0 h 928762"/>
                <a:gd name="connsiteX10" fmla="*/ 1131966 w 1131965"/>
                <a:gd name="connsiteY10" fmla="*/ 326770 h 92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1965" h="928762">
                  <a:moveTo>
                    <a:pt x="1131966" y="326770"/>
                  </a:moveTo>
                  <a:lnTo>
                    <a:pt x="1131966" y="928763"/>
                  </a:lnTo>
                  <a:lnTo>
                    <a:pt x="1121513" y="928763"/>
                  </a:lnTo>
                  <a:lnTo>
                    <a:pt x="1121513" y="332804"/>
                  </a:lnTo>
                  <a:lnTo>
                    <a:pt x="565965" y="12069"/>
                  </a:lnTo>
                  <a:lnTo>
                    <a:pt x="10453" y="332804"/>
                  </a:lnTo>
                  <a:lnTo>
                    <a:pt x="10453" y="623689"/>
                  </a:lnTo>
                  <a:lnTo>
                    <a:pt x="0" y="623689"/>
                  </a:lnTo>
                  <a:lnTo>
                    <a:pt x="0" y="326770"/>
                  </a:lnTo>
                  <a:lnTo>
                    <a:pt x="565965" y="0"/>
                  </a:lnTo>
                  <a:lnTo>
                    <a:pt x="1131966" y="326770"/>
                  </a:lnTo>
                  <a:close/>
                </a:path>
              </a:pathLst>
            </a:custGeom>
            <a:grpFill/>
            <a:ln w="359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5BBBE283-D9C4-CF33-2086-7BCD24920EA0}"/>
                </a:ext>
              </a:extLst>
            </p:cNvPr>
            <p:cNvSpPr/>
            <p:nvPr/>
          </p:nvSpPr>
          <p:spPr>
            <a:xfrm>
              <a:off x="288795" y="915997"/>
              <a:ext cx="62861" cy="62861"/>
            </a:xfrm>
            <a:custGeom>
              <a:avLst/>
              <a:gdLst>
                <a:gd name="connsiteX0" fmla="*/ 59301 w 62861"/>
                <a:gd name="connsiteY0" fmla="*/ 31185 h 62861"/>
                <a:gd name="connsiteX1" fmla="*/ 27870 w 62861"/>
                <a:gd name="connsiteY1" fmla="*/ 62616 h 62861"/>
                <a:gd name="connsiteX2" fmla="*/ -3560 w 62861"/>
                <a:gd name="connsiteY2" fmla="*/ 31185 h 62861"/>
                <a:gd name="connsiteX3" fmla="*/ 27870 w 62861"/>
                <a:gd name="connsiteY3" fmla="*/ -245 h 62861"/>
                <a:gd name="connsiteX4" fmla="*/ 59301 w 62861"/>
                <a:gd name="connsiteY4" fmla="*/ 31185 h 6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61" h="62861">
                  <a:moveTo>
                    <a:pt x="59301" y="31185"/>
                  </a:moveTo>
                  <a:cubicBezTo>
                    <a:pt x="59301" y="48542"/>
                    <a:pt x="45220" y="62616"/>
                    <a:pt x="27870" y="62616"/>
                  </a:cubicBezTo>
                  <a:cubicBezTo>
                    <a:pt x="10521" y="62616"/>
                    <a:pt x="-3560" y="48542"/>
                    <a:pt x="-3560" y="31185"/>
                  </a:cubicBezTo>
                  <a:cubicBezTo>
                    <a:pt x="-3560" y="13828"/>
                    <a:pt x="10521" y="-245"/>
                    <a:pt x="27870" y="-245"/>
                  </a:cubicBezTo>
                  <a:cubicBezTo>
                    <a:pt x="45220" y="-245"/>
                    <a:pt x="59301" y="13828"/>
                    <a:pt x="59301" y="31185"/>
                  </a:cubicBezTo>
                  <a:close/>
                </a:path>
              </a:pathLst>
            </a:custGeom>
            <a:grpFill/>
            <a:ln w="359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1D8E5188-E302-D805-4A6A-4D761744BD3D}"/>
                </a:ext>
              </a:extLst>
            </p:cNvPr>
            <p:cNvSpPr/>
            <p:nvPr/>
          </p:nvSpPr>
          <p:spPr>
            <a:xfrm>
              <a:off x="1390659" y="1200453"/>
              <a:ext cx="102158" cy="102158"/>
            </a:xfrm>
            <a:custGeom>
              <a:avLst/>
              <a:gdLst>
                <a:gd name="connsiteX0" fmla="*/ -3560 w 102158"/>
                <a:gd name="connsiteY0" fmla="*/ 50834 h 102158"/>
                <a:gd name="connsiteX1" fmla="*/ 47519 w 102158"/>
                <a:gd name="connsiteY1" fmla="*/ 101913 h 102158"/>
                <a:gd name="connsiteX2" fmla="*/ 98599 w 102158"/>
                <a:gd name="connsiteY2" fmla="*/ 50834 h 102158"/>
                <a:gd name="connsiteX3" fmla="*/ 47519 w 102158"/>
                <a:gd name="connsiteY3" fmla="*/ -245 h 102158"/>
                <a:gd name="connsiteX4" fmla="*/ -3560 w 102158"/>
                <a:gd name="connsiteY4" fmla="*/ 50834 h 10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58" h="102158">
                  <a:moveTo>
                    <a:pt x="-3560" y="50834"/>
                  </a:moveTo>
                  <a:cubicBezTo>
                    <a:pt x="-3560" y="79046"/>
                    <a:pt x="19322" y="101913"/>
                    <a:pt x="47519" y="101913"/>
                  </a:cubicBezTo>
                  <a:cubicBezTo>
                    <a:pt x="75717" y="101913"/>
                    <a:pt x="98599" y="79042"/>
                    <a:pt x="98599" y="50834"/>
                  </a:cubicBezTo>
                  <a:cubicBezTo>
                    <a:pt x="98599" y="22625"/>
                    <a:pt x="75717" y="-245"/>
                    <a:pt x="47519" y="-245"/>
                  </a:cubicBezTo>
                  <a:cubicBezTo>
                    <a:pt x="19322" y="-245"/>
                    <a:pt x="-3560" y="22625"/>
                    <a:pt x="-3560" y="50834"/>
                  </a:cubicBezTo>
                  <a:close/>
                </a:path>
              </a:pathLst>
            </a:custGeom>
            <a:grpFill/>
            <a:ln w="359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FF141D6A-33A4-78A4-4467-086DE241959E}"/>
                </a:ext>
              </a:extLst>
            </p:cNvPr>
            <p:cNvSpPr/>
            <p:nvPr/>
          </p:nvSpPr>
          <p:spPr>
            <a:xfrm>
              <a:off x="6758274" y="4546564"/>
              <a:ext cx="880736" cy="556984"/>
            </a:xfrm>
            <a:custGeom>
              <a:avLst/>
              <a:gdLst>
                <a:gd name="connsiteX0" fmla="*/ 880737 w 880736"/>
                <a:gd name="connsiteY0" fmla="*/ 326770 h 556984"/>
                <a:gd name="connsiteX1" fmla="*/ 880737 w 880736"/>
                <a:gd name="connsiteY1" fmla="*/ 556985 h 556984"/>
                <a:gd name="connsiteX2" fmla="*/ 870284 w 880736"/>
                <a:gd name="connsiteY2" fmla="*/ 556985 h 556984"/>
                <a:gd name="connsiteX3" fmla="*/ 870284 w 880736"/>
                <a:gd name="connsiteY3" fmla="*/ 332804 h 556984"/>
                <a:gd name="connsiteX4" fmla="*/ 314736 w 880736"/>
                <a:gd name="connsiteY4" fmla="*/ 12069 h 556984"/>
                <a:gd name="connsiteX5" fmla="*/ 5208 w 880736"/>
                <a:gd name="connsiteY5" fmla="*/ 190774 h 556984"/>
                <a:gd name="connsiteX6" fmla="*/ 0 w 880736"/>
                <a:gd name="connsiteY6" fmla="*/ 181722 h 556984"/>
                <a:gd name="connsiteX7" fmla="*/ 314736 w 880736"/>
                <a:gd name="connsiteY7" fmla="*/ 0 h 556984"/>
                <a:gd name="connsiteX8" fmla="*/ 880737 w 880736"/>
                <a:gd name="connsiteY8" fmla="*/ 326770 h 556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0736" h="556984">
                  <a:moveTo>
                    <a:pt x="880737" y="326770"/>
                  </a:moveTo>
                  <a:lnTo>
                    <a:pt x="880737" y="556985"/>
                  </a:lnTo>
                  <a:lnTo>
                    <a:pt x="870284" y="556985"/>
                  </a:lnTo>
                  <a:lnTo>
                    <a:pt x="870284" y="332804"/>
                  </a:lnTo>
                  <a:lnTo>
                    <a:pt x="314736" y="12069"/>
                  </a:lnTo>
                  <a:lnTo>
                    <a:pt x="5208" y="190774"/>
                  </a:lnTo>
                  <a:lnTo>
                    <a:pt x="0" y="181722"/>
                  </a:lnTo>
                  <a:lnTo>
                    <a:pt x="314736" y="0"/>
                  </a:lnTo>
                  <a:lnTo>
                    <a:pt x="880737" y="326770"/>
                  </a:lnTo>
                  <a:close/>
                </a:path>
              </a:pathLst>
            </a:custGeom>
            <a:grpFill/>
            <a:ln w="359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9C84B0F3-CB20-0E80-C9F5-06BA0FE61608}"/>
                </a:ext>
              </a:extLst>
            </p:cNvPr>
            <p:cNvSpPr/>
            <p:nvPr/>
          </p:nvSpPr>
          <p:spPr>
            <a:xfrm>
              <a:off x="6715798" y="4684459"/>
              <a:ext cx="94275" cy="94277"/>
            </a:xfrm>
            <a:custGeom>
              <a:avLst/>
              <a:gdLst>
                <a:gd name="connsiteX0" fmla="*/ 67114 w 94275"/>
                <a:gd name="connsiteY0" fmla="*/ 87728 h 94277"/>
                <a:gd name="connsiteX1" fmla="*/ 2745 w 94275"/>
                <a:gd name="connsiteY1" fmla="*/ 70414 h 94277"/>
                <a:gd name="connsiteX2" fmla="*/ 20058 w 94275"/>
                <a:gd name="connsiteY2" fmla="*/ 6044 h 94277"/>
                <a:gd name="connsiteX3" fmla="*/ 84392 w 94275"/>
                <a:gd name="connsiteY3" fmla="*/ 23322 h 94277"/>
                <a:gd name="connsiteX4" fmla="*/ 67149 w 94275"/>
                <a:gd name="connsiteY4" fmla="*/ 87692 h 94277"/>
                <a:gd name="connsiteX5" fmla="*/ 67114 w 94275"/>
                <a:gd name="connsiteY5" fmla="*/ 87728 h 9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275" h="94277">
                  <a:moveTo>
                    <a:pt x="67114" y="87728"/>
                  </a:moveTo>
                  <a:cubicBezTo>
                    <a:pt x="44555" y="100731"/>
                    <a:pt x="15747" y="92973"/>
                    <a:pt x="2745" y="70414"/>
                  </a:cubicBezTo>
                  <a:cubicBezTo>
                    <a:pt x="-10259" y="47892"/>
                    <a:pt x="-2500" y="19048"/>
                    <a:pt x="20058" y="6044"/>
                  </a:cubicBezTo>
                  <a:cubicBezTo>
                    <a:pt x="42580" y="-6923"/>
                    <a:pt x="71388" y="800"/>
                    <a:pt x="84392" y="23322"/>
                  </a:cubicBezTo>
                  <a:cubicBezTo>
                    <a:pt x="97396" y="45845"/>
                    <a:pt x="89708" y="74689"/>
                    <a:pt x="67149" y="87692"/>
                  </a:cubicBezTo>
                  <a:cubicBezTo>
                    <a:pt x="67149" y="87728"/>
                    <a:pt x="67114" y="87728"/>
                    <a:pt x="67114" y="87728"/>
                  </a:cubicBezTo>
                  <a:close/>
                </a:path>
              </a:pathLst>
            </a:custGeom>
            <a:grpFill/>
            <a:ln w="359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CEEC99B-8B5E-619B-F9F9-30F8F8D33920}"/>
                </a:ext>
              </a:extLst>
            </p:cNvPr>
            <p:cNvSpPr/>
            <p:nvPr/>
          </p:nvSpPr>
          <p:spPr>
            <a:xfrm>
              <a:off x="7598421" y="5066407"/>
              <a:ext cx="70762" cy="70763"/>
            </a:xfrm>
            <a:custGeom>
              <a:avLst/>
              <a:gdLst>
                <a:gd name="connsiteX0" fmla="*/ -3560 w 70762"/>
                <a:gd name="connsiteY0" fmla="*/ 35100 h 70763"/>
                <a:gd name="connsiteX1" fmla="*/ 31785 w 70762"/>
                <a:gd name="connsiteY1" fmla="*/ 70518 h 70763"/>
                <a:gd name="connsiteX2" fmla="*/ 67202 w 70762"/>
                <a:gd name="connsiteY2" fmla="*/ 35172 h 70763"/>
                <a:gd name="connsiteX3" fmla="*/ 31857 w 70762"/>
                <a:gd name="connsiteY3" fmla="*/ -245 h 70763"/>
                <a:gd name="connsiteX4" fmla="*/ 31785 w 70762"/>
                <a:gd name="connsiteY4" fmla="*/ -245 h 70763"/>
                <a:gd name="connsiteX5" fmla="*/ -3560 w 70762"/>
                <a:gd name="connsiteY5" fmla="*/ 35100 h 7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762" h="70763">
                  <a:moveTo>
                    <a:pt x="-3560" y="35100"/>
                  </a:moveTo>
                  <a:cubicBezTo>
                    <a:pt x="-3597" y="54641"/>
                    <a:pt x="12245" y="70482"/>
                    <a:pt x="31785" y="70518"/>
                  </a:cubicBezTo>
                  <a:cubicBezTo>
                    <a:pt x="51326" y="70554"/>
                    <a:pt x="67167" y="54713"/>
                    <a:pt x="67202" y="35172"/>
                  </a:cubicBezTo>
                  <a:cubicBezTo>
                    <a:pt x="67239" y="15631"/>
                    <a:pt x="51398" y="-210"/>
                    <a:pt x="31857" y="-245"/>
                  </a:cubicBezTo>
                  <a:cubicBezTo>
                    <a:pt x="31822" y="-245"/>
                    <a:pt x="31822" y="-245"/>
                    <a:pt x="31785" y="-245"/>
                  </a:cubicBezTo>
                  <a:cubicBezTo>
                    <a:pt x="12280" y="-210"/>
                    <a:pt x="-3525" y="15595"/>
                    <a:pt x="-3560" y="35100"/>
                  </a:cubicBezTo>
                  <a:close/>
                </a:path>
              </a:pathLst>
            </a:custGeom>
            <a:grpFill/>
            <a:ln w="359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599FA87C-AFAE-AC0A-31A1-4BD61077399B}"/>
                </a:ext>
              </a:extLst>
            </p:cNvPr>
            <p:cNvSpPr/>
            <p:nvPr/>
          </p:nvSpPr>
          <p:spPr>
            <a:xfrm>
              <a:off x="7055265" y="3600416"/>
              <a:ext cx="568623" cy="975783"/>
            </a:xfrm>
            <a:custGeom>
              <a:avLst/>
              <a:gdLst>
                <a:gd name="connsiteX0" fmla="*/ 568623 w 568623"/>
                <a:gd name="connsiteY0" fmla="*/ 966767 h 975783"/>
                <a:gd name="connsiteX1" fmla="*/ 563378 w 568623"/>
                <a:gd name="connsiteY1" fmla="*/ 975783 h 975783"/>
                <a:gd name="connsiteX2" fmla="*/ 0 w 568623"/>
                <a:gd name="connsiteY2" fmla="*/ 650522 h 975783"/>
                <a:gd name="connsiteX3" fmla="*/ 0 w 568623"/>
                <a:gd name="connsiteY3" fmla="*/ 0 h 975783"/>
                <a:gd name="connsiteX4" fmla="*/ 10453 w 568623"/>
                <a:gd name="connsiteY4" fmla="*/ 0 h 975783"/>
                <a:gd name="connsiteX5" fmla="*/ 10453 w 568623"/>
                <a:gd name="connsiteY5" fmla="*/ 644488 h 975783"/>
                <a:gd name="connsiteX6" fmla="*/ 568623 w 568623"/>
                <a:gd name="connsiteY6" fmla="*/ 966767 h 975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623" h="975783">
                  <a:moveTo>
                    <a:pt x="568623" y="966767"/>
                  </a:moveTo>
                  <a:lnTo>
                    <a:pt x="563378" y="975783"/>
                  </a:lnTo>
                  <a:lnTo>
                    <a:pt x="0" y="650522"/>
                  </a:lnTo>
                  <a:lnTo>
                    <a:pt x="0" y="0"/>
                  </a:lnTo>
                  <a:lnTo>
                    <a:pt x="10453" y="0"/>
                  </a:lnTo>
                  <a:lnTo>
                    <a:pt x="10453" y="644488"/>
                  </a:lnTo>
                  <a:lnTo>
                    <a:pt x="568623" y="966767"/>
                  </a:lnTo>
                  <a:close/>
                </a:path>
              </a:pathLst>
            </a:custGeom>
            <a:grpFill/>
            <a:ln w="359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3D114E89-1E6D-C88D-7D5C-C25D4560B7B8}"/>
                </a:ext>
              </a:extLst>
            </p:cNvPr>
            <p:cNvSpPr/>
            <p:nvPr/>
          </p:nvSpPr>
          <p:spPr>
            <a:xfrm>
              <a:off x="6626481" y="1365256"/>
              <a:ext cx="1131965" cy="928798"/>
            </a:xfrm>
            <a:custGeom>
              <a:avLst/>
              <a:gdLst>
                <a:gd name="connsiteX0" fmla="*/ 1131966 w 1131965"/>
                <a:gd name="connsiteY0" fmla="*/ 326770 h 928798"/>
                <a:gd name="connsiteX1" fmla="*/ 1131966 w 1131965"/>
                <a:gd name="connsiteY1" fmla="*/ 928799 h 928798"/>
                <a:gd name="connsiteX2" fmla="*/ 1121513 w 1131965"/>
                <a:gd name="connsiteY2" fmla="*/ 928799 h 928798"/>
                <a:gd name="connsiteX3" fmla="*/ 1121513 w 1131965"/>
                <a:gd name="connsiteY3" fmla="*/ 332804 h 928798"/>
                <a:gd name="connsiteX4" fmla="*/ 565965 w 1131965"/>
                <a:gd name="connsiteY4" fmla="*/ 12069 h 928798"/>
                <a:gd name="connsiteX5" fmla="*/ 10453 w 1131965"/>
                <a:gd name="connsiteY5" fmla="*/ 332804 h 928798"/>
                <a:gd name="connsiteX6" fmla="*/ 10453 w 1131965"/>
                <a:gd name="connsiteY6" fmla="*/ 623689 h 928798"/>
                <a:gd name="connsiteX7" fmla="*/ 0 w 1131965"/>
                <a:gd name="connsiteY7" fmla="*/ 623689 h 928798"/>
                <a:gd name="connsiteX8" fmla="*/ 0 w 1131965"/>
                <a:gd name="connsiteY8" fmla="*/ 326770 h 928798"/>
                <a:gd name="connsiteX9" fmla="*/ 2586 w 1131965"/>
                <a:gd name="connsiteY9" fmla="*/ 325261 h 928798"/>
                <a:gd name="connsiteX10" fmla="*/ 565965 w 1131965"/>
                <a:gd name="connsiteY10" fmla="*/ 0 h 928798"/>
                <a:gd name="connsiteX11" fmla="*/ 1131966 w 1131965"/>
                <a:gd name="connsiteY11" fmla="*/ 326770 h 92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1965" h="928798">
                  <a:moveTo>
                    <a:pt x="1131966" y="326770"/>
                  </a:moveTo>
                  <a:lnTo>
                    <a:pt x="1131966" y="928799"/>
                  </a:lnTo>
                  <a:lnTo>
                    <a:pt x="1121513" y="928799"/>
                  </a:lnTo>
                  <a:lnTo>
                    <a:pt x="1121513" y="332804"/>
                  </a:lnTo>
                  <a:lnTo>
                    <a:pt x="565965" y="12069"/>
                  </a:lnTo>
                  <a:lnTo>
                    <a:pt x="10453" y="332804"/>
                  </a:lnTo>
                  <a:lnTo>
                    <a:pt x="10453" y="623689"/>
                  </a:lnTo>
                  <a:lnTo>
                    <a:pt x="0" y="623689"/>
                  </a:lnTo>
                  <a:lnTo>
                    <a:pt x="0" y="326770"/>
                  </a:lnTo>
                  <a:lnTo>
                    <a:pt x="2586" y="325261"/>
                  </a:lnTo>
                  <a:lnTo>
                    <a:pt x="565965" y="0"/>
                  </a:lnTo>
                  <a:lnTo>
                    <a:pt x="1131966" y="326770"/>
                  </a:lnTo>
                  <a:close/>
                </a:path>
              </a:pathLst>
            </a:custGeom>
            <a:grpFill/>
            <a:ln w="359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4FFAEB58-27F9-D565-EA49-EA43810B6736}"/>
                </a:ext>
              </a:extLst>
            </p:cNvPr>
            <p:cNvSpPr/>
            <p:nvPr/>
          </p:nvSpPr>
          <p:spPr>
            <a:xfrm>
              <a:off x="6600260" y="1955935"/>
              <a:ext cx="62861" cy="62861"/>
            </a:xfrm>
            <a:custGeom>
              <a:avLst/>
              <a:gdLst>
                <a:gd name="connsiteX0" fmla="*/ 59301 w 62861"/>
                <a:gd name="connsiteY0" fmla="*/ 31185 h 62861"/>
                <a:gd name="connsiteX1" fmla="*/ 27870 w 62861"/>
                <a:gd name="connsiteY1" fmla="*/ 62616 h 62861"/>
                <a:gd name="connsiteX2" fmla="*/ -3560 w 62861"/>
                <a:gd name="connsiteY2" fmla="*/ 31185 h 62861"/>
                <a:gd name="connsiteX3" fmla="*/ 27870 w 62861"/>
                <a:gd name="connsiteY3" fmla="*/ -245 h 62861"/>
                <a:gd name="connsiteX4" fmla="*/ 27977 w 62861"/>
                <a:gd name="connsiteY4" fmla="*/ -245 h 62861"/>
                <a:gd name="connsiteX5" fmla="*/ 59301 w 62861"/>
                <a:gd name="connsiteY5" fmla="*/ 31185 h 6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61" h="62861">
                  <a:moveTo>
                    <a:pt x="59301" y="31185"/>
                  </a:moveTo>
                  <a:cubicBezTo>
                    <a:pt x="59301" y="48546"/>
                    <a:pt x="45219" y="62616"/>
                    <a:pt x="27870" y="62616"/>
                  </a:cubicBezTo>
                  <a:cubicBezTo>
                    <a:pt x="10520" y="62616"/>
                    <a:pt x="-3560" y="48542"/>
                    <a:pt x="-3560" y="31185"/>
                  </a:cubicBezTo>
                  <a:cubicBezTo>
                    <a:pt x="-3560" y="13825"/>
                    <a:pt x="10520" y="-245"/>
                    <a:pt x="27870" y="-245"/>
                  </a:cubicBezTo>
                  <a:cubicBezTo>
                    <a:pt x="27905" y="-245"/>
                    <a:pt x="27942" y="-245"/>
                    <a:pt x="27977" y="-245"/>
                  </a:cubicBezTo>
                  <a:cubicBezTo>
                    <a:pt x="45290" y="-184"/>
                    <a:pt x="59301" y="13868"/>
                    <a:pt x="59301" y="31185"/>
                  </a:cubicBezTo>
                  <a:close/>
                </a:path>
              </a:pathLst>
            </a:custGeom>
            <a:grpFill/>
            <a:ln w="359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4966F66-6FC1-4F90-FE7A-82987A3971EC}"/>
                </a:ext>
              </a:extLst>
            </p:cNvPr>
            <p:cNvSpPr/>
            <p:nvPr/>
          </p:nvSpPr>
          <p:spPr>
            <a:xfrm>
              <a:off x="7702231" y="2240390"/>
              <a:ext cx="102157" cy="102158"/>
            </a:xfrm>
            <a:custGeom>
              <a:avLst/>
              <a:gdLst>
                <a:gd name="connsiteX0" fmla="*/ -3560 w 102157"/>
                <a:gd name="connsiteY0" fmla="*/ 50834 h 102158"/>
                <a:gd name="connsiteX1" fmla="*/ 47520 w 102157"/>
                <a:gd name="connsiteY1" fmla="*/ 101913 h 102158"/>
                <a:gd name="connsiteX2" fmla="*/ 98598 w 102157"/>
                <a:gd name="connsiteY2" fmla="*/ 50834 h 102158"/>
                <a:gd name="connsiteX3" fmla="*/ 47520 w 102157"/>
                <a:gd name="connsiteY3" fmla="*/ -245 h 102158"/>
                <a:gd name="connsiteX4" fmla="*/ -3560 w 102157"/>
                <a:gd name="connsiteY4" fmla="*/ 50834 h 10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57" h="102158">
                  <a:moveTo>
                    <a:pt x="-3560" y="50834"/>
                  </a:moveTo>
                  <a:cubicBezTo>
                    <a:pt x="-3560" y="79042"/>
                    <a:pt x="19322" y="101913"/>
                    <a:pt x="47520" y="101913"/>
                  </a:cubicBezTo>
                  <a:cubicBezTo>
                    <a:pt x="75716" y="101913"/>
                    <a:pt x="98598" y="79042"/>
                    <a:pt x="98598" y="50834"/>
                  </a:cubicBezTo>
                  <a:cubicBezTo>
                    <a:pt x="98598" y="22622"/>
                    <a:pt x="75716" y="-245"/>
                    <a:pt x="47520" y="-245"/>
                  </a:cubicBezTo>
                  <a:cubicBezTo>
                    <a:pt x="19322" y="-245"/>
                    <a:pt x="-3560" y="22625"/>
                    <a:pt x="-3560" y="50834"/>
                  </a:cubicBezTo>
                  <a:close/>
                </a:path>
              </a:pathLst>
            </a:custGeom>
            <a:grpFill/>
            <a:ln w="359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5271786A-673A-867C-43D7-D7F3D0DD4A77}"/>
                </a:ext>
              </a:extLst>
            </p:cNvPr>
            <p:cNvSpPr/>
            <p:nvPr/>
          </p:nvSpPr>
          <p:spPr>
            <a:xfrm rot="19737602">
              <a:off x="6785855" y="1049181"/>
              <a:ext cx="245158" cy="10237"/>
            </a:xfrm>
            <a:custGeom>
              <a:avLst/>
              <a:gdLst>
                <a:gd name="connsiteX0" fmla="*/ -3560 w 245158"/>
                <a:gd name="connsiteY0" fmla="*/ -245 h 10237"/>
                <a:gd name="connsiteX1" fmla="*/ 241598 w 245158"/>
                <a:gd name="connsiteY1" fmla="*/ -245 h 10237"/>
                <a:gd name="connsiteX2" fmla="*/ 241598 w 245158"/>
                <a:gd name="connsiteY2" fmla="*/ 9992 h 10237"/>
                <a:gd name="connsiteX3" fmla="*/ -3560 w 245158"/>
                <a:gd name="connsiteY3" fmla="*/ 9992 h 10237"/>
              </a:gdLst>
              <a:ahLst/>
              <a:cxnLst>
                <a:cxn ang="0">
                  <a:pos x="connsiteX0" y="connsiteY0"/>
                </a:cxn>
                <a:cxn ang="0">
                  <a:pos x="connsiteX1" y="connsiteY1"/>
                </a:cxn>
                <a:cxn ang="0">
                  <a:pos x="connsiteX2" y="connsiteY2"/>
                </a:cxn>
                <a:cxn ang="0">
                  <a:pos x="connsiteX3" y="connsiteY3"/>
                </a:cxn>
              </a:cxnLst>
              <a:rect l="l" t="t" r="r" b="b"/>
              <a:pathLst>
                <a:path w="245158" h="10237">
                  <a:moveTo>
                    <a:pt x="-3560" y="-245"/>
                  </a:moveTo>
                  <a:lnTo>
                    <a:pt x="241598" y="-245"/>
                  </a:lnTo>
                  <a:lnTo>
                    <a:pt x="241598" y="9992"/>
                  </a:lnTo>
                  <a:lnTo>
                    <a:pt x="-3560" y="9992"/>
                  </a:lnTo>
                  <a:close/>
                </a:path>
              </a:pathLst>
            </a:custGeom>
            <a:grpFill/>
            <a:ln w="359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D24FDFA2-76B3-FFBD-EC48-95787B103D57}"/>
                </a:ext>
              </a:extLst>
            </p:cNvPr>
            <p:cNvSpPr/>
            <p:nvPr/>
          </p:nvSpPr>
          <p:spPr>
            <a:xfrm>
              <a:off x="6962404" y="941573"/>
              <a:ext cx="98139" cy="102059"/>
            </a:xfrm>
            <a:custGeom>
              <a:avLst/>
              <a:gdLst>
                <a:gd name="connsiteX0" fmla="*/ 21015 w 98139"/>
                <a:gd name="connsiteY0" fmla="*/ 6544 h 102059"/>
                <a:gd name="connsiteX1" fmla="*/ 86786 w 98139"/>
                <a:gd name="connsiteY1" fmla="*/ 23132 h 102059"/>
                <a:gd name="connsiteX2" fmla="*/ 87972 w 98139"/>
                <a:gd name="connsiteY2" fmla="*/ 25259 h 102059"/>
                <a:gd name="connsiteX3" fmla="*/ 70012 w 98139"/>
                <a:gd name="connsiteY3" fmla="*/ 95016 h 102059"/>
                <a:gd name="connsiteX4" fmla="*/ 4241 w 98139"/>
                <a:gd name="connsiteY4" fmla="*/ 78453 h 102059"/>
                <a:gd name="connsiteX5" fmla="*/ 3055 w 98139"/>
                <a:gd name="connsiteY5" fmla="*/ 76338 h 102059"/>
                <a:gd name="connsiteX6" fmla="*/ 21015 w 98139"/>
                <a:gd name="connsiteY6" fmla="*/ 6544 h 1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39" h="102059">
                  <a:moveTo>
                    <a:pt x="21015" y="6544"/>
                  </a:moveTo>
                  <a:cubicBezTo>
                    <a:pt x="43753" y="-7034"/>
                    <a:pt x="73209" y="391"/>
                    <a:pt x="86786" y="23132"/>
                  </a:cubicBezTo>
                  <a:cubicBezTo>
                    <a:pt x="87181" y="23829"/>
                    <a:pt x="87577" y="24540"/>
                    <a:pt x="87972" y="25259"/>
                  </a:cubicBezTo>
                  <a:cubicBezTo>
                    <a:pt x="101514" y="49584"/>
                    <a:pt x="93611" y="80260"/>
                    <a:pt x="70012" y="95016"/>
                  </a:cubicBezTo>
                  <a:cubicBezTo>
                    <a:pt x="47274" y="108601"/>
                    <a:pt x="17820" y="101187"/>
                    <a:pt x="4241" y="78453"/>
                  </a:cubicBezTo>
                  <a:cubicBezTo>
                    <a:pt x="3846" y="77757"/>
                    <a:pt x="3415" y="77052"/>
                    <a:pt x="3055" y="76338"/>
                  </a:cubicBezTo>
                  <a:cubicBezTo>
                    <a:pt x="-10487" y="52001"/>
                    <a:pt x="-2621" y="21314"/>
                    <a:pt x="21015" y="6544"/>
                  </a:cubicBezTo>
                  <a:close/>
                </a:path>
              </a:pathLst>
            </a:custGeom>
            <a:grpFill/>
            <a:ln w="359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6813C96A-E85B-9606-F633-0F762663ACA7}"/>
                </a:ext>
              </a:extLst>
            </p:cNvPr>
            <p:cNvSpPr/>
            <p:nvPr/>
          </p:nvSpPr>
          <p:spPr>
            <a:xfrm>
              <a:off x="6781808" y="1093598"/>
              <a:ext cx="45425" cy="47251"/>
            </a:xfrm>
            <a:custGeom>
              <a:avLst/>
              <a:gdLst>
                <a:gd name="connsiteX0" fmla="*/ 7821 w 45425"/>
                <a:gd name="connsiteY0" fmla="*/ 2907 h 47251"/>
                <a:gd name="connsiteX1" fmla="*/ -442 w 45425"/>
                <a:gd name="connsiteY1" fmla="*/ 35235 h 47251"/>
                <a:gd name="connsiteX2" fmla="*/ 29409 w 45425"/>
                <a:gd name="connsiteY2" fmla="*/ 44441 h 47251"/>
                <a:gd name="connsiteX3" fmla="*/ 30450 w 45425"/>
                <a:gd name="connsiteY3" fmla="*/ 43856 h 47251"/>
                <a:gd name="connsiteX4" fmla="*/ 38748 w 45425"/>
                <a:gd name="connsiteY4" fmla="*/ 11527 h 47251"/>
                <a:gd name="connsiteX5" fmla="*/ 8826 w 45425"/>
                <a:gd name="connsiteY5" fmla="*/ 2332 h 47251"/>
                <a:gd name="connsiteX6" fmla="*/ 7821 w 45425"/>
                <a:gd name="connsiteY6" fmla="*/ 2907 h 4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425" h="47251">
                  <a:moveTo>
                    <a:pt x="7821" y="2907"/>
                  </a:moveTo>
                  <a:cubicBezTo>
                    <a:pt x="-3136" y="9728"/>
                    <a:pt x="-6800" y="23985"/>
                    <a:pt x="-442" y="35235"/>
                  </a:cubicBezTo>
                  <a:cubicBezTo>
                    <a:pt x="5271" y="46022"/>
                    <a:pt x="18632" y="50142"/>
                    <a:pt x="29409" y="44441"/>
                  </a:cubicBezTo>
                  <a:cubicBezTo>
                    <a:pt x="29768" y="44255"/>
                    <a:pt x="30128" y="44061"/>
                    <a:pt x="30450" y="43856"/>
                  </a:cubicBezTo>
                  <a:cubicBezTo>
                    <a:pt x="41442" y="37049"/>
                    <a:pt x="45106" y="22785"/>
                    <a:pt x="38748" y="11527"/>
                  </a:cubicBezTo>
                  <a:cubicBezTo>
                    <a:pt x="33037" y="730"/>
                    <a:pt x="19639" y="-3387"/>
                    <a:pt x="8826" y="2332"/>
                  </a:cubicBezTo>
                  <a:cubicBezTo>
                    <a:pt x="8503" y="2515"/>
                    <a:pt x="8144" y="2705"/>
                    <a:pt x="7821" y="2907"/>
                  </a:cubicBezTo>
                  <a:close/>
                </a:path>
              </a:pathLst>
            </a:custGeom>
            <a:grpFill/>
            <a:ln w="359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64DF615E-E8C9-8656-7DEC-468A967A1D5A}"/>
                </a:ext>
              </a:extLst>
            </p:cNvPr>
            <p:cNvSpPr/>
            <p:nvPr/>
          </p:nvSpPr>
          <p:spPr>
            <a:xfrm rot="19799999">
              <a:off x="1465682" y="3051137"/>
              <a:ext cx="647504" cy="10452"/>
            </a:xfrm>
            <a:custGeom>
              <a:avLst/>
              <a:gdLst>
                <a:gd name="connsiteX0" fmla="*/ -3560 w 647504"/>
                <a:gd name="connsiteY0" fmla="*/ -245 h 10452"/>
                <a:gd name="connsiteX1" fmla="*/ 643944 w 647504"/>
                <a:gd name="connsiteY1" fmla="*/ -245 h 10452"/>
                <a:gd name="connsiteX2" fmla="*/ 643944 w 647504"/>
                <a:gd name="connsiteY2" fmla="*/ 10208 h 10452"/>
                <a:gd name="connsiteX3" fmla="*/ -3560 w 647504"/>
                <a:gd name="connsiteY3" fmla="*/ 10208 h 10452"/>
              </a:gdLst>
              <a:ahLst/>
              <a:cxnLst>
                <a:cxn ang="0">
                  <a:pos x="connsiteX0" y="connsiteY0"/>
                </a:cxn>
                <a:cxn ang="0">
                  <a:pos x="connsiteX1" y="connsiteY1"/>
                </a:cxn>
                <a:cxn ang="0">
                  <a:pos x="connsiteX2" y="connsiteY2"/>
                </a:cxn>
                <a:cxn ang="0">
                  <a:pos x="connsiteX3" y="connsiteY3"/>
                </a:cxn>
              </a:cxnLst>
              <a:rect l="l" t="t" r="r" b="b"/>
              <a:pathLst>
                <a:path w="647504" h="10452">
                  <a:moveTo>
                    <a:pt x="-3560" y="-245"/>
                  </a:moveTo>
                  <a:lnTo>
                    <a:pt x="643944" y="-245"/>
                  </a:lnTo>
                  <a:lnTo>
                    <a:pt x="643944" y="10208"/>
                  </a:lnTo>
                  <a:lnTo>
                    <a:pt x="-3560" y="10208"/>
                  </a:lnTo>
                  <a:close/>
                </a:path>
              </a:pathLst>
            </a:custGeom>
            <a:grpFill/>
            <a:ln w="359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5635AE23-FEBA-B989-B234-86AA538D8DC2}"/>
                </a:ext>
              </a:extLst>
            </p:cNvPr>
            <p:cNvSpPr/>
            <p:nvPr/>
          </p:nvSpPr>
          <p:spPr>
            <a:xfrm>
              <a:off x="1093920" y="3389023"/>
              <a:ext cx="753003" cy="306330"/>
            </a:xfrm>
            <a:custGeom>
              <a:avLst/>
              <a:gdLst>
                <a:gd name="connsiteX0" fmla="*/ 753003 w 753003"/>
                <a:gd name="connsiteY0" fmla="*/ 137468 h 306330"/>
                <a:gd name="connsiteX1" fmla="*/ 747795 w 753003"/>
                <a:gd name="connsiteY1" fmla="*/ 146556 h 306330"/>
                <a:gd name="connsiteX2" fmla="*/ 514886 w 753003"/>
                <a:gd name="connsiteY2" fmla="*/ 12069 h 306330"/>
                <a:gd name="connsiteX3" fmla="*/ 5244 w 753003"/>
                <a:gd name="connsiteY3" fmla="*/ 306331 h 306330"/>
                <a:gd name="connsiteX4" fmla="*/ 0 w 753003"/>
                <a:gd name="connsiteY4" fmla="*/ 297279 h 306330"/>
                <a:gd name="connsiteX5" fmla="*/ 514886 w 753003"/>
                <a:gd name="connsiteY5" fmla="*/ 0 h 306330"/>
                <a:gd name="connsiteX6" fmla="*/ 753003 w 753003"/>
                <a:gd name="connsiteY6" fmla="*/ 137468 h 30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003" h="306330">
                  <a:moveTo>
                    <a:pt x="753003" y="137468"/>
                  </a:moveTo>
                  <a:lnTo>
                    <a:pt x="747795" y="146556"/>
                  </a:lnTo>
                  <a:lnTo>
                    <a:pt x="514886" y="12069"/>
                  </a:lnTo>
                  <a:lnTo>
                    <a:pt x="5244" y="306331"/>
                  </a:lnTo>
                  <a:lnTo>
                    <a:pt x="0" y="297279"/>
                  </a:lnTo>
                  <a:lnTo>
                    <a:pt x="514886" y="0"/>
                  </a:lnTo>
                  <a:lnTo>
                    <a:pt x="753003" y="137468"/>
                  </a:lnTo>
                  <a:close/>
                </a:path>
              </a:pathLst>
            </a:custGeom>
            <a:grpFill/>
            <a:ln w="359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463EE40C-A994-9AC3-2A47-0A139CAF434C}"/>
                </a:ext>
              </a:extLst>
            </p:cNvPr>
            <p:cNvSpPr/>
            <p:nvPr/>
          </p:nvSpPr>
          <p:spPr>
            <a:xfrm>
              <a:off x="1040109" y="3630400"/>
              <a:ext cx="117901" cy="117909"/>
            </a:xfrm>
            <a:custGeom>
              <a:avLst/>
              <a:gdLst>
                <a:gd name="connsiteX0" fmla="*/ 84877 w 117901"/>
                <a:gd name="connsiteY0" fmla="*/ 109753 h 117909"/>
                <a:gd name="connsiteX1" fmla="*/ 4344 w 117901"/>
                <a:gd name="connsiteY1" fmla="*/ 88200 h 117909"/>
                <a:gd name="connsiteX2" fmla="*/ 25896 w 117901"/>
                <a:gd name="connsiteY2" fmla="*/ 7666 h 117909"/>
                <a:gd name="connsiteX3" fmla="*/ 106430 w 117901"/>
                <a:gd name="connsiteY3" fmla="*/ 29218 h 117909"/>
                <a:gd name="connsiteX4" fmla="*/ 84877 w 117901"/>
                <a:gd name="connsiteY4" fmla="*/ 109753 h 117909"/>
                <a:gd name="connsiteX5" fmla="*/ 84877 w 117901"/>
                <a:gd name="connsiteY5" fmla="*/ 109753 h 11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01" h="117909">
                  <a:moveTo>
                    <a:pt x="84877" y="109753"/>
                  </a:moveTo>
                  <a:cubicBezTo>
                    <a:pt x="56680" y="126025"/>
                    <a:pt x="20652" y="116398"/>
                    <a:pt x="4344" y="88200"/>
                  </a:cubicBezTo>
                  <a:cubicBezTo>
                    <a:pt x="-11928" y="60003"/>
                    <a:pt x="-2266" y="23938"/>
                    <a:pt x="25896" y="7666"/>
                  </a:cubicBezTo>
                  <a:cubicBezTo>
                    <a:pt x="54094" y="-8606"/>
                    <a:pt x="90158" y="1021"/>
                    <a:pt x="106430" y="29218"/>
                  </a:cubicBezTo>
                  <a:cubicBezTo>
                    <a:pt x="122702" y="57416"/>
                    <a:pt x="113075" y="93445"/>
                    <a:pt x="84877" y="109753"/>
                  </a:cubicBezTo>
                  <a:cubicBezTo>
                    <a:pt x="84877" y="109753"/>
                    <a:pt x="84877" y="109753"/>
                    <a:pt x="84877" y="109753"/>
                  </a:cubicBezTo>
                  <a:close/>
                </a:path>
              </a:pathLst>
            </a:custGeom>
            <a:grpFill/>
            <a:ln w="3590" cap="flat">
              <a:noFill/>
              <a:prstDash val="solid"/>
              <a:miter/>
            </a:ln>
          </p:spPr>
          <p:txBody>
            <a:bodyPr rtlCol="0" anchor="ctr"/>
            <a:lstStyle/>
            <a:p>
              <a:endParaRPr lang="en-US"/>
            </a:p>
          </p:txBody>
        </p:sp>
      </p:grpSp>
      <p:sp>
        <p:nvSpPr>
          <p:cNvPr id="103" name="Rectangle 102">
            <a:extLst>
              <a:ext uri="{FF2B5EF4-FFF2-40B4-BE49-F238E27FC236}">
                <a16:creationId xmlns:a16="http://schemas.microsoft.com/office/drawing/2014/main" id="{2D37B99B-9B7A-52B3-89B5-F03C4F845482}"/>
              </a:ext>
            </a:extLst>
          </p:cNvPr>
          <p:cNvSpPr/>
          <p:nvPr userDrawn="1"/>
        </p:nvSpPr>
        <p:spPr>
          <a:xfrm>
            <a:off x="0" y="-6625"/>
            <a:ext cx="831599" cy="6858000"/>
          </a:xfrm>
          <a:prstGeom prst="rect">
            <a:avLst/>
          </a:prstGeom>
          <a:gradFill flip="none" rotWithShape="1">
            <a:gsLst>
              <a:gs pos="0">
                <a:srgbClr val="4064E6"/>
              </a:gs>
              <a:gs pos="100000">
                <a:srgbClr val="00C0AE">
                  <a:alpha val="95000"/>
                </a:srgbClr>
              </a:gs>
              <a:gs pos="42000">
                <a:schemeClr val="accent4">
                  <a:alpha val="87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Tree>
    <p:extLst>
      <p:ext uri="{BB962C8B-B14F-4D97-AF65-F5344CB8AC3E}">
        <p14:creationId xmlns:p14="http://schemas.microsoft.com/office/powerpoint/2010/main" val="90318766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12NOV">
    <p:spTree>
      <p:nvGrpSpPr>
        <p:cNvPr id="1" name=""/>
        <p:cNvGrpSpPr/>
        <p:nvPr/>
      </p:nvGrpSpPr>
      <p:grpSpPr>
        <a:xfrm>
          <a:off x="0" y="0"/>
          <a:ext cx="0" cy="0"/>
          <a:chOff x="0" y="0"/>
          <a:chExt cx="0" cy="0"/>
        </a:xfrm>
      </p:grpSpPr>
      <p:pic>
        <p:nvPicPr>
          <p:cNvPr id="4" name="Picture Placeholder 6">
            <a:extLst>
              <a:ext uri="{FF2B5EF4-FFF2-40B4-BE49-F238E27FC236}">
                <a16:creationId xmlns:a16="http://schemas.microsoft.com/office/drawing/2014/main" id="{5E9DBF04-715E-2AD2-F518-6C941267DF6C}"/>
              </a:ext>
            </a:extLst>
          </p:cNvPr>
          <p:cNvPicPr>
            <a:picLocks noChangeAspect="1"/>
          </p:cNvPicPr>
          <p:nvPr userDrawn="1"/>
        </p:nvPicPr>
        <p:blipFill>
          <a:blip r:embed="rId2">
            <a:extLst>
              <a:ext uri="{28A0092B-C50C-407E-A947-70E740481C1C}">
                <a14:useLocalDpi xmlns:a14="http://schemas.microsoft.com/office/drawing/2010/main" val="0"/>
              </a:ext>
            </a:extLst>
          </a:blip>
          <a:srcRect t="28753" b="28753"/>
          <a:stretch/>
        </p:blipFill>
        <p:spPr>
          <a:xfrm>
            <a:off x="0" y="0"/>
            <a:ext cx="12192000" cy="2905003"/>
          </a:xfrm>
          <a:prstGeom prst="rect">
            <a:avLst/>
          </a:prstGeom>
        </p:spPr>
      </p:pic>
      <p:sp>
        <p:nvSpPr>
          <p:cNvPr id="5" name="Rectangle 4">
            <a:extLst>
              <a:ext uri="{FF2B5EF4-FFF2-40B4-BE49-F238E27FC236}">
                <a16:creationId xmlns:a16="http://schemas.microsoft.com/office/drawing/2014/main" id="{EB6B5210-F521-A76B-D03B-7676F196B555}"/>
              </a:ext>
            </a:extLst>
          </p:cNvPr>
          <p:cNvSpPr/>
          <p:nvPr userDrawn="1"/>
        </p:nvSpPr>
        <p:spPr>
          <a:xfrm flipH="1">
            <a:off x="0" y="-13508"/>
            <a:ext cx="12192000" cy="2918509"/>
          </a:xfrm>
          <a:prstGeom prst="rect">
            <a:avLst/>
          </a:prstGeom>
          <a:gradFill flip="none" rotWithShape="1">
            <a:gsLst>
              <a:gs pos="5000">
                <a:schemeClr val="accent1">
                  <a:alpha val="85000"/>
                </a:schemeClr>
              </a:gs>
              <a:gs pos="82000">
                <a:srgbClr val="00C0AE">
                  <a:alpha val="80000"/>
                </a:srgbClr>
              </a:gs>
              <a:gs pos="58000">
                <a:schemeClr val="accent4">
                  <a:alpha val="84000"/>
                </a:schemeClr>
              </a:gs>
            </a:gsLst>
            <a:lin ang="1200000" scaled="0"/>
            <a:tileRect/>
          </a:gradFill>
        </p:spPr>
        <p:txBody>
          <a:bodyPr wrap="square" lIns="0" tIns="0" rIns="0" bIns="0" rtlCol="0"/>
          <a:lstStyle/>
          <a:p>
            <a:endParaRPr lang="en-GB">
              <a:solidFill>
                <a:schemeClr val="tx1"/>
              </a:solidFill>
            </a:endParaRPr>
          </a:p>
        </p:txBody>
      </p:sp>
      <p:sp>
        <p:nvSpPr>
          <p:cNvPr id="3" name="Title 1">
            <a:extLst>
              <a:ext uri="{FF2B5EF4-FFF2-40B4-BE49-F238E27FC236}">
                <a16:creationId xmlns:a16="http://schemas.microsoft.com/office/drawing/2014/main" id="{C16B2355-43B8-FDFE-877C-8C639D126608}"/>
              </a:ext>
            </a:extLst>
          </p:cNvPr>
          <p:cNvSpPr>
            <a:spLocks noGrp="1"/>
          </p:cNvSpPr>
          <p:nvPr>
            <p:ph type="title"/>
          </p:nvPr>
        </p:nvSpPr>
        <p:spPr>
          <a:xfrm>
            <a:off x="598968" y="551503"/>
            <a:ext cx="11020726" cy="533400"/>
          </a:xfrm>
        </p:spPr>
        <p:txBody>
          <a:bodyPr/>
          <a:lstStyle>
            <a:lvl1pPr>
              <a:defRPr sz="3200">
                <a:solidFill>
                  <a:schemeClr val="bg1"/>
                </a:solidFill>
              </a:defRPr>
            </a:lvl1pPr>
          </a:lstStyle>
          <a:p>
            <a:r>
              <a:rPr lang="en-US"/>
              <a:t>Click to edit Master title style</a:t>
            </a:r>
          </a:p>
        </p:txBody>
      </p:sp>
      <p:sp>
        <p:nvSpPr>
          <p:cNvPr id="7" name="Text Placeholder 4">
            <a:extLst>
              <a:ext uri="{FF2B5EF4-FFF2-40B4-BE49-F238E27FC236}">
                <a16:creationId xmlns:a16="http://schemas.microsoft.com/office/drawing/2014/main" id="{B6324567-E537-3186-6CA0-355372E61994}"/>
              </a:ext>
            </a:extLst>
          </p:cNvPr>
          <p:cNvSpPr>
            <a:spLocks noGrp="1"/>
          </p:cNvSpPr>
          <p:nvPr>
            <p:ph type="body" sz="quarter" idx="11" hasCustomPrompt="1"/>
          </p:nvPr>
        </p:nvSpPr>
        <p:spPr>
          <a:xfrm>
            <a:off x="598968" y="265313"/>
            <a:ext cx="5334288" cy="169200"/>
          </a:xfrm>
        </p:spPr>
        <p:txBody>
          <a:bodyPr vert="horz" lIns="0" tIns="0" rIns="0" bIns="0" rtlCol="0" anchor="b" anchorCtr="0">
            <a:noAutofit/>
          </a:bodyPr>
          <a:lstStyle>
            <a:lvl1pPr>
              <a:defRPr lang="en-US" dirty="0">
                <a:solidFill>
                  <a:schemeClr val="bg1"/>
                </a:solidFill>
              </a:defRPr>
            </a:lvl1pPr>
          </a:lstStyle>
          <a:p>
            <a:pPr lvl="0">
              <a:spcAft>
                <a:spcPts val="0"/>
              </a:spcAft>
            </a:pPr>
            <a:r>
              <a:rPr lang="en-US"/>
              <a:t>Super title here</a:t>
            </a:r>
          </a:p>
        </p:txBody>
      </p:sp>
      <p:grpSp>
        <p:nvGrpSpPr>
          <p:cNvPr id="2" name="Group 1">
            <a:extLst>
              <a:ext uri="{FF2B5EF4-FFF2-40B4-BE49-F238E27FC236}">
                <a16:creationId xmlns:a16="http://schemas.microsoft.com/office/drawing/2014/main" id="{E692FE09-387B-4B24-30E8-0D9659D62BF9}"/>
              </a:ext>
            </a:extLst>
          </p:cNvPr>
          <p:cNvGrpSpPr/>
          <p:nvPr userDrawn="1"/>
        </p:nvGrpSpPr>
        <p:grpSpPr>
          <a:xfrm>
            <a:off x="9297702" y="-1126461"/>
            <a:ext cx="5558549" cy="3624521"/>
            <a:chOff x="288795" y="168656"/>
            <a:chExt cx="7937877" cy="5175991"/>
          </a:xfrm>
          <a:solidFill>
            <a:srgbClr val="C5FFF9">
              <a:alpha val="51000"/>
            </a:srgbClr>
          </a:solidFill>
        </p:grpSpPr>
        <p:sp>
          <p:nvSpPr>
            <p:cNvPr id="8" name="Freeform: Shape 7">
              <a:extLst>
                <a:ext uri="{FF2B5EF4-FFF2-40B4-BE49-F238E27FC236}">
                  <a16:creationId xmlns:a16="http://schemas.microsoft.com/office/drawing/2014/main" id="{3D229839-2279-7BB7-8C35-5A51BC2FF21F}"/>
                </a:ext>
              </a:extLst>
            </p:cNvPr>
            <p:cNvSpPr/>
            <p:nvPr/>
          </p:nvSpPr>
          <p:spPr>
            <a:xfrm>
              <a:off x="6634132" y="2781103"/>
              <a:ext cx="1075857" cy="593336"/>
            </a:xfrm>
            <a:custGeom>
              <a:avLst/>
              <a:gdLst>
                <a:gd name="connsiteX0" fmla="*/ 1075858 w 1075857"/>
                <a:gd name="connsiteY0" fmla="*/ 300691 h 593336"/>
                <a:gd name="connsiteX1" fmla="*/ 1070757 w 1075857"/>
                <a:gd name="connsiteY1" fmla="*/ 309564 h 593336"/>
                <a:gd name="connsiteX2" fmla="*/ 555081 w 1075857"/>
                <a:gd name="connsiteY2" fmla="*/ 11818 h 593336"/>
                <a:gd name="connsiteX3" fmla="*/ 10237 w 1075857"/>
                <a:gd name="connsiteY3" fmla="*/ 326375 h 593336"/>
                <a:gd name="connsiteX4" fmla="*/ 10237 w 1075857"/>
                <a:gd name="connsiteY4" fmla="*/ 593336 h 593336"/>
                <a:gd name="connsiteX5" fmla="*/ 0 w 1075857"/>
                <a:gd name="connsiteY5" fmla="*/ 593336 h 593336"/>
                <a:gd name="connsiteX6" fmla="*/ 0 w 1075857"/>
                <a:gd name="connsiteY6" fmla="*/ 320448 h 593336"/>
                <a:gd name="connsiteX7" fmla="*/ 555081 w 1075857"/>
                <a:gd name="connsiteY7" fmla="*/ 0 h 593336"/>
                <a:gd name="connsiteX8" fmla="*/ 1075858 w 1075857"/>
                <a:gd name="connsiteY8" fmla="*/ 300691 h 59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5857" h="593336">
                  <a:moveTo>
                    <a:pt x="1075858" y="300691"/>
                  </a:moveTo>
                  <a:lnTo>
                    <a:pt x="1070757" y="309564"/>
                  </a:lnTo>
                  <a:lnTo>
                    <a:pt x="555081" y="11818"/>
                  </a:lnTo>
                  <a:lnTo>
                    <a:pt x="10237" y="326375"/>
                  </a:lnTo>
                  <a:lnTo>
                    <a:pt x="10237" y="593336"/>
                  </a:lnTo>
                  <a:lnTo>
                    <a:pt x="0" y="593336"/>
                  </a:lnTo>
                  <a:lnTo>
                    <a:pt x="0" y="320448"/>
                  </a:lnTo>
                  <a:lnTo>
                    <a:pt x="555081" y="0"/>
                  </a:lnTo>
                  <a:lnTo>
                    <a:pt x="1075858" y="300691"/>
                  </a:lnTo>
                  <a:close/>
                </a:path>
              </a:pathLst>
            </a:custGeom>
            <a:grpFill/>
            <a:ln w="359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1E920D02-7533-1983-C798-A32D105B8CF2}"/>
                </a:ext>
              </a:extLst>
            </p:cNvPr>
            <p:cNvSpPr/>
            <p:nvPr/>
          </p:nvSpPr>
          <p:spPr>
            <a:xfrm>
              <a:off x="7667200" y="3046686"/>
              <a:ext cx="77118" cy="77096"/>
            </a:xfrm>
            <a:custGeom>
              <a:avLst/>
              <a:gdLst>
                <a:gd name="connsiteX0" fmla="*/ 15738 w 77118"/>
                <a:gd name="connsiteY0" fmla="*/ 71682 h 77096"/>
                <a:gd name="connsiteX1" fmla="*/ 68396 w 77118"/>
                <a:gd name="connsiteY1" fmla="*/ 57565 h 77096"/>
                <a:gd name="connsiteX2" fmla="*/ 54281 w 77118"/>
                <a:gd name="connsiteY2" fmla="*/ 4941 h 77096"/>
                <a:gd name="connsiteX3" fmla="*/ 1621 w 77118"/>
                <a:gd name="connsiteY3" fmla="*/ 19022 h 77096"/>
                <a:gd name="connsiteX4" fmla="*/ 1621 w 77118"/>
                <a:gd name="connsiteY4" fmla="*/ 19058 h 77096"/>
                <a:gd name="connsiteX5" fmla="*/ 15629 w 77118"/>
                <a:gd name="connsiteY5" fmla="*/ 71610 h 77096"/>
                <a:gd name="connsiteX6" fmla="*/ 15738 w 77118"/>
                <a:gd name="connsiteY6" fmla="*/ 71682 h 7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118" h="77096">
                  <a:moveTo>
                    <a:pt x="15738" y="71682"/>
                  </a:moveTo>
                  <a:cubicBezTo>
                    <a:pt x="34165" y="82314"/>
                    <a:pt x="57729" y="76028"/>
                    <a:pt x="68396" y="57565"/>
                  </a:cubicBezTo>
                  <a:cubicBezTo>
                    <a:pt x="79031" y="39137"/>
                    <a:pt x="72708" y="15574"/>
                    <a:pt x="54281" y="4941"/>
                  </a:cubicBezTo>
                  <a:cubicBezTo>
                    <a:pt x="35854" y="-5727"/>
                    <a:pt x="12290" y="595"/>
                    <a:pt x="1621" y="19022"/>
                  </a:cubicBezTo>
                  <a:cubicBezTo>
                    <a:pt x="1621" y="19022"/>
                    <a:pt x="1621" y="19058"/>
                    <a:pt x="1621" y="19058"/>
                  </a:cubicBezTo>
                  <a:cubicBezTo>
                    <a:pt x="-9012" y="37449"/>
                    <a:pt x="-2761" y="60977"/>
                    <a:pt x="15629" y="71610"/>
                  </a:cubicBezTo>
                  <a:cubicBezTo>
                    <a:pt x="15666" y="71646"/>
                    <a:pt x="15701" y="71682"/>
                    <a:pt x="15738" y="71682"/>
                  </a:cubicBezTo>
                  <a:close/>
                </a:path>
              </a:pathLst>
            </a:custGeom>
            <a:grpFill/>
            <a:ln w="359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65349B6D-B340-BF35-EFEC-08A99CDD0905}"/>
                </a:ext>
              </a:extLst>
            </p:cNvPr>
            <p:cNvSpPr/>
            <p:nvPr/>
          </p:nvSpPr>
          <p:spPr>
            <a:xfrm>
              <a:off x="6589052" y="3321636"/>
              <a:ext cx="100218" cy="100218"/>
            </a:xfrm>
            <a:custGeom>
              <a:avLst/>
              <a:gdLst>
                <a:gd name="connsiteX0" fmla="*/ 96658 w 100218"/>
                <a:gd name="connsiteY0" fmla="*/ 50043 h 100218"/>
                <a:gd name="connsiteX1" fmla="*/ 46370 w 100218"/>
                <a:gd name="connsiteY1" fmla="*/ 99973 h 100218"/>
                <a:gd name="connsiteX2" fmla="*/ -3560 w 100218"/>
                <a:gd name="connsiteY2" fmla="*/ 49684 h 100218"/>
                <a:gd name="connsiteX3" fmla="*/ 46370 w 100218"/>
                <a:gd name="connsiteY3" fmla="*/ -245 h 100218"/>
                <a:gd name="connsiteX4" fmla="*/ 96658 w 100218"/>
                <a:gd name="connsiteY4" fmla="*/ 50043 h 100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8" h="100218">
                  <a:moveTo>
                    <a:pt x="96658" y="50043"/>
                  </a:moveTo>
                  <a:cubicBezTo>
                    <a:pt x="96551" y="77703"/>
                    <a:pt x="74029" y="100081"/>
                    <a:pt x="46370" y="99973"/>
                  </a:cubicBezTo>
                  <a:cubicBezTo>
                    <a:pt x="18710" y="99865"/>
                    <a:pt x="-3669" y="77343"/>
                    <a:pt x="-3560" y="49684"/>
                  </a:cubicBezTo>
                  <a:cubicBezTo>
                    <a:pt x="-3453" y="22133"/>
                    <a:pt x="18819" y="-138"/>
                    <a:pt x="46370" y="-245"/>
                  </a:cubicBezTo>
                  <a:cubicBezTo>
                    <a:pt x="74136" y="-245"/>
                    <a:pt x="96658" y="22277"/>
                    <a:pt x="96658" y="50043"/>
                  </a:cubicBezTo>
                  <a:close/>
                </a:path>
              </a:pathLst>
            </a:custGeom>
            <a:grpFill/>
            <a:ln w="359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49CA2595-0824-5147-4E09-D69D093CFD12}"/>
                </a:ext>
              </a:extLst>
            </p:cNvPr>
            <p:cNvSpPr/>
            <p:nvPr/>
          </p:nvSpPr>
          <p:spPr>
            <a:xfrm>
              <a:off x="5802678" y="1269744"/>
              <a:ext cx="1104989" cy="327883"/>
            </a:xfrm>
            <a:custGeom>
              <a:avLst/>
              <a:gdLst>
                <a:gd name="connsiteX0" fmla="*/ 1104989 w 1104989"/>
                <a:gd name="connsiteY0" fmla="*/ 8872 h 327883"/>
                <a:gd name="connsiteX1" fmla="*/ 552494 w 1104989"/>
                <a:gd name="connsiteY1" fmla="*/ 327883 h 327883"/>
                <a:gd name="connsiteX2" fmla="*/ 0 w 1104989"/>
                <a:gd name="connsiteY2" fmla="*/ 8872 h 327883"/>
                <a:gd name="connsiteX3" fmla="*/ 5100 w 1104989"/>
                <a:gd name="connsiteY3" fmla="*/ 0 h 327883"/>
                <a:gd name="connsiteX4" fmla="*/ 552494 w 1104989"/>
                <a:gd name="connsiteY4" fmla="*/ 316029 h 327883"/>
                <a:gd name="connsiteX5" fmla="*/ 1099888 w 1104989"/>
                <a:gd name="connsiteY5" fmla="*/ 0 h 327883"/>
                <a:gd name="connsiteX6" fmla="*/ 1104989 w 1104989"/>
                <a:gd name="connsiteY6" fmla="*/ 8872 h 32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4989" h="327883">
                  <a:moveTo>
                    <a:pt x="1104989" y="8872"/>
                  </a:moveTo>
                  <a:lnTo>
                    <a:pt x="552494" y="327883"/>
                  </a:lnTo>
                  <a:lnTo>
                    <a:pt x="0" y="8872"/>
                  </a:lnTo>
                  <a:lnTo>
                    <a:pt x="5100" y="0"/>
                  </a:lnTo>
                  <a:lnTo>
                    <a:pt x="552494" y="316029"/>
                  </a:lnTo>
                  <a:lnTo>
                    <a:pt x="1099888" y="0"/>
                  </a:lnTo>
                  <a:lnTo>
                    <a:pt x="1104989" y="8872"/>
                  </a:lnTo>
                  <a:close/>
                </a:path>
              </a:pathLst>
            </a:custGeom>
            <a:grpFill/>
            <a:ln w="359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CC60D2B2-1C7B-9BC9-337B-EDFCFA5FF54D}"/>
                </a:ext>
              </a:extLst>
            </p:cNvPr>
            <p:cNvSpPr/>
            <p:nvPr/>
          </p:nvSpPr>
          <p:spPr>
            <a:xfrm>
              <a:off x="1861255" y="4015550"/>
              <a:ext cx="901822" cy="579219"/>
            </a:xfrm>
            <a:custGeom>
              <a:avLst/>
              <a:gdLst>
                <a:gd name="connsiteX0" fmla="*/ 901822 w 901822"/>
                <a:gd name="connsiteY0" fmla="*/ 320484 h 579219"/>
                <a:gd name="connsiteX1" fmla="*/ 901822 w 901822"/>
                <a:gd name="connsiteY1" fmla="*/ 579220 h 579219"/>
                <a:gd name="connsiteX2" fmla="*/ 891549 w 901822"/>
                <a:gd name="connsiteY2" fmla="*/ 579220 h 579219"/>
                <a:gd name="connsiteX3" fmla="*/ 891549 w 901822"/>
                <a:gd name="connsiteY3" fmla="*/ 326411 h 579219"/>
                <a:gd name="connsiteX4" fmla="*/ 346741 w 901822"/>
                <a:gd name="connsiteY4" fmla="*/ 11854 h 579219"/>
                <a:gd name="connsiteX5" fmla="*/ 5137 w 901822"/>
                <a:gd name="connsiteY5" fmla="*/ 209094 h 579219"/>
                <a:gd name="connsiteX6" fmla="*/ 0 w 901822"/>
                <a:gd name="connsiteY6" fmla="*/ 200186 h 579219"/>
                <a:gd name="connsiteX7" fmla="*/ 346741 w 901822"/>
                <a:gd name="connsiteY7" fmla="*/ 0 h 579219"/>
                <a:gd name="connsiteX8" fmla="*/ 901822 w 901822"/>
                <a:gd name="connsiteY8" fmla="*/ 320484 h 579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1822" h="579219">
                  <a:moveTo>
                    <a:pt x="901822" y="320484"/>
                  </a:moveTo>
                  <a:lnTo>
                    <a:pt x="901822" y="579220"/>
                  </a:lnTo>
                  <a:lnTo>
                    <a:pt x="891549" y="579220"/>
                  </a:lnTo>
                  <a:lnTo>
                    <a:pt x="891549" y="326411"/>
                  </a:lnTo>
                  <a:lnTo>
                    <a:pt x="346741" y="11854"/>
                  </a:lnTo>
                  <a:lnTo>
                    <a:pt x="5137" y="209094"/>
                  </a:lnTo>
                  <a:lnTo>
                    <a:pt x="0" y="200186"/>
                  </a:lnTo>
                  <a:lnTo>
                    <a:pt x="346741" y="0"/>
                  </a:lnTo>
                  <a:lnTo>
                    <a:pt x="901822" y="320484"/>
                  </a:lnTo>
                  <a:close/>
                </a:path>
              </a:pathLst>
            </a:custGeom>
            <a:grpFill/>
            <a:ln w="359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A00B57D-3317-26A7-5A38-D0D9CB18EC20}"/>
                </a:ext>
              </a:extLst>
            </p:cNvPr>
            <p:cNvSpPr/>
            <p:nvPr/>
          </p:nvSpPr>
          <p:spPr>
            <a:xfrm>
              <a:off x="6398860" y="846040"/>
              <a:ext cx="186384" cy="186386"/>
            </a:xfrm>
            <a:custGeom>
              <a:avLst/>
              <a:gdLst>
                <a:gd name="connsiteX0" fmla="*/ 43021 w 186384"/>
                <a:gd name="connsiteY0" fmla="*/ 173631 h 186386"/>
                <a:gd name="connsiteX1" fmla="*/ 170324 w 186384"/>
                <a:gd name="connsiteY1" fmla="*/ 139556 h 186386"/>
                <a:gd name="connsiteX2" fmla="*/ 136234 w 186384"/>
                <a:gd name="connsiteY2" fmla="*/ 12265 h 186386"/>
                <a:gd name="connsiteX3" fmla="*/ 8932 w 186384"/>
                <a:gd name="connsiteY3" fmla="*/ 46339 h 186386"/>
                <a:gd name="connsiteX4" fmla="*/ 8932 w 186384"/>
                <a:gd name="connsiteY4" fmla="*/ 46364 h 186386"/>
                <a:gd name="connsiteX5" fmla="*/ 43021 w 186384"/>
                <a:gd name="connsiteY5" fmla="*/ 173631 h 18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384" h="186386">
                  <a:moveTo>
                    <a:pt x="43021" y="173631"/>
                  </a:moveTo>
                  <a:cubicBezTo>
                    <a:pt x="87598" y="199371"/>
                    <a:pt x="144569" y="184116"/>
                    <a:pt x="170324" y="139556"/>
                  </a:cubicBezTo>
                  <a:cubicBezTo>
                    <a:pt x="196044" y="94997"/>
                    <a:pt x="180812" y="38005"/>
                    <a:pt x="136234" y="12265"/>
                  </a:cubicBezTo>
                  <a:cubicBezTo>
                    <a:pt x="91693" y="-13476"/>
                    <a:pt x="34687" y="1779"/>
                    <a:pt x="8932" y="46339"/>
                  </a:cubicBezTo>
                  <a:cubicBezTo>
                    <a:pt x="8932" y="46346"/>
                    <a:pt x="8932" y="46357"/>
                    <a:pt x="8932" y="46364"/>
                  </a:cubicBezTo>
                  <a:cubicBezTo>
                    <a:pt x="-16786" y="90924"/>
                    <a:pt x="-1520" y="147894"/>
                    <a:pt x="43021" y="173631"/>
                  </a:cubicBezTo>
                  <a:close/>
                </a:path>
              </a:pathLst>
            </a:custGeom>
            <a:grpFill/>
            <a:ln w="359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FDA1D664-135C-C324-A4F8-161919286BBC}"/>
                </a:ext>
              </a:extLst>
            </p:cNvPr>
            <p:cNvSpPr/>
            <p:nvPr/>
          </p:nvSpPr>
          <p:spPr>
            <a:xfrm>
              <a:off x="1355076" y="4439873"/>
              <a:ext cx="147869" cy="147869"/>
            </a:xfrm>
            <a:custGeom>
              <a:avLst/>
              <a:gdLst>
                <a:gd name="connsiteX0" fmla="*/ 33389 w 147869"/>
                <a:gd name="connsiteY0" fmla="*/ 137696 h 147869"/>
                <a:gd name="connsiteX1" fmla="*/ 6376 w 147869"/>
                <a:gd name="connsiteY1" fmla="*/ 36688 h 147869"/>
                <a:gd name="connsiteX2" fmla="*/ 107349 w 147869"/>
                <a:gd name="connsiteY2" fmla="*/ 9675 h 147869"/>
                <a:gd name="connsiteX3" fmla="*/ 134397 w 147869"/>
                <a:gd name="connsiteY3" fmla="*/ 110648 h 147869"/>
                <a:gd name="connsiteX4" fmla="*/ 33425 w 147869"/>
                <a:gd name="connsiteY4" fmla="*/ 137696 h 147869"/>
                <a:gd name="connsiteX5" fmla="*/ 33389 w 147869"/>
                <a:gd name="connsiteY5" fmla="*/ 137696 h 147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869" h="147869">
                  <a:moveTo>
                    <a:pt x="33389" y="137696"/>
                  </a:moveTo>
                  <a:cubicBezTo>
                    <a:pt x="-1957" y="117257"/>
                    <a:pt x="-14062" y="72069"/>
                    <a:pt x="6376" y="36688"/>
                  </a:cubicBezTo>
                  <a:cubicBezTo>
                    <a:pt x="26779" y="1342"/>
                    <a:pt x="72003" y="-10728"/>
                    <a:pt x="107349" y="9675"/>
                  </a:cubicBezTo>
                  <a:cubicBezTo>
                    <a:pt x="142695" y="30114"/>
                    <a:pt x="154801" y="75302"/>
                    <a:pt x="134397" y="110648"/>
                  </a:cubicBezTo>
                  <a:cubicBezTo>
                    <a:pt x="113994" y="145994"/>
                    <a:pt x="68770" y="158135"/>
                    <a:pt x="33425" y="137696"/>
                  </a:cubicBezTo>
                  <a:cubicBezTo>
                    <a:pt x="33425" y="137696"/>
                    <a:pt x="33389" y="137696"/>
                    <a:pt x="33389" y="137696"/>
                  </a:cubicBezTo>
                  <a:close/>
                </a:path>
              </a:pathLst>
            </a:custGeom>
            <a:grpFill/>
            <a:ln w="359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5E4BCD28-226A-D9F9-00FD-F8CDAEE1C4C0}"/>
                </a:ext>
              </a:extLst>
            </p:cNvPr>
            <p:cNvSpPr/>
            <p:nvPr/>
          </p:nvSpPr>
          <p:spPr>
            <a:xfrm>
              <a:off x="2192802" y="1309041"/>
              <a:ext cx="2307395" cy="1916004"/>
            </a:xfrm>
            <a:custGeom>
              <a:avLst/>
              <a:gdLst>
                <a:gd name="connsiteX0" fmla="*/ 2307395 w 2307395"/>
                <a:gd name="connsiteY0" fmla="*/ 666076 h 1916004"/>
                <a:gd name="connsiteX1" fmla="*/ 2307395 w 2307395"/>
                <a:gd name="connsiteY1" fmla="*/ 1893159 h 1916004"/>
                <a:gd name="connsiteX2" fmla="*/ 2286094 w 2307395"/>
                <a:gd name="connsiteY2" fmla="*/ 1893159 h 1916004"/>
                <a:gd name="connsiteX3" fmla="*/ 2286094 w 2307395"/>
                <a:gd name="connsiteY3" fmla="*/ 678361 h 1916004"/>
                <a:gd name="connsiteX4" fmla="*/ 1153698 w 2307395"/>
                <a:gd name="connsiteY4" fmla="*/ 24606 h 1916004"/>
                <a:gd name="connsiteX5" fmla="*/ 21301 w 2307395"/>
                <a:gd name="connsiteY5" fmla="*/ 678361 h 1916004"/>
                <a:gd name="connsiteX6" fmla="*/ 21301 w 2307395"/>
                <a:gd name="connsiteY6" fmla="*/ 1916005 h 1916004"/>
                <a:gd name="connsiteX7" fmla="*/ 0 w 2307395"/>
                <a:gd name="connsiteY7" fmla="*/ 1916005 h 1916004"/>
                <a:gd name="connsiteX8" fmla="*/ 0 w 2307395"/>
                <a:gd name="connsiteY8" fmla="*/ 666076 h 1916004"/>
                <a:gd name="connsiteX9" fmla="*/ 1153698 w 2307395"/>
                <a:gd name="connsiteY9" fmla="*/ 0 h 1916004"/>
                <a:gd name="connsiteX10" fmla="*/ 1159014 w 2307395"/>
                <a:gd name="connsiteY10" fmla="*/ 3053 h 1916004"/>
                <a:gd name="connsiteX11" fmla="*/ 2307395 w 2307395"/>
                <a:gd name="connsiteY11" fmla="*/ 666076 h 191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07395" h="1916004">
                  <a:moveTo>
                    <a:pt x="2307395" y="666076"/>
                  </a:moveTo>
                  <a:lnTo>
                    <a:pt x="2307395" y="1893159"/>
                  </a:lnTo>
                  <a:lnTo>
                    <a:pt x="2286094" y="1893159"/>
                  </a:lnTo>
                  <a:lnTo>
                    <a:pt x="2286094" y="678361"/>
                  </a:lnTo>
                  <a:lnTo>
                    <a:pt x="1153698" y="24606"/>
                  </a:lnTo>
                  <a:lnTo>
                    <a:pt x="21301" y="678361"/>
                  </a:lnTo>
                  <a:lnTo>
                    <a:pt x="21301" y="1916005"/>
                  </a:lnTo>
                  <a:lnTo>
                    <a:pt x="0" y="1916005"/>
                  </a:lnTo>
                  <a:lnTo>
                    <a:pt x="0" y="666076"/>
                  </a:lnTo>
                  <a:lnTo>
                    <a:pt x="1153698" y="0"/>
                  </a:lnTo>
                  <a:lnTo>
                    <a:pt x="1159014" y="3053"/>
                  </a:lnTo>
                  <a:lnTo>
                    <a:pt x="2307395" y="666076"/>
                  </a:lnTo>
                  <a:close/>
                </a:path>
              </a:pathLst>
            </a:custGeom>
            <a:grpFill/>
            <a:ln w="359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5313031-2C66-65DF-C0D7-818821DC7699}"/>
                </a:ext>
              </a:extLst>
            </p:cNvPr>
            <p:cNvSpPr/>
            <p:nvPr/>
          </p:nvSpPr>
          <p:spPr>
            <a:xfrm>
              <a:off x="2123332" y="3140919"/>
              <a:ext cx="160205" cy="160205"/>
            </a:xfrm>
            <a:custGeom>
              <a:avLst/>
              <a:gdLst>
                <a:gd name="connsiteX0" fmla="*/ 160206 w 160205"/>
                <a:gd name="connsiteY0" fmla="*/ 80103 h 160205"/>
                <a:gd name="connsiteX1" fmla="*/ 80103 w 160205"/>
                <a:gd name="connsiteY1" fmla="*/ 160206 h 160205"/>
                <a:gd name="connsiteX2" fmla="*/ 0 w 160205"/>
                <a:gd name="connsiteY2" fmla="*/ 80103 h 160205"/>
                <a:gd name="connsiteX3" fmla="*/ 80103 w 160205"/>
                <a:gd name="connsiteY3" fmla="*/ 0 h 160205"/>
                <a:gd name="connsiteX4" fmla="*/ 160206 w 160205"/>
                <a:gd name="connsiteY4" fmla="*/ 80103 h 160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205" h="160205">
                  <a:moveTo>
                    <a:pt x="160206" y="80103"/>
                  </a:moveTo>
                  <a:cubicBezTo>
                    <a:pt x="160206" y="124343"/>
                    <a:pt x="124343" y="160206"/>
                    <a:pt x="80103" y="160206"/>
                  </a:cubicBezTo>
                  <a:cubicBezTo>
                    <a:pt x="35863" y="160206"/>
                    <a:pt x="0" y="124342"/>
                    <a:pt x="0" y="80103"/>
                  </a:cubicBezTo>
                  <a:cubicBezTo>
                    <a:pt x="0" y="35863"/>
                    <a:pt x="35863" y="0"/>
                    <a:pt x="80103" y="0"/>
                  </a:cubicBezTo>
                  <a:cubicBezTo>
                    <a:pt x="124343" y="0"/>
                    <a:pt x="160206" y="35863"/>
                    <a:pt x="160206" y="80103"/>
                  </a:cubicBezTo>
                  <a:close/>
                </a:path>
              </a:pathLst>
            </a:custGeom>
            <a:grpFill/>
            <a:ln w="359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813567A-C5E0-F95B-452D-6C9698CD8D2D}"/>
                </a:ext>
              </a:extLst>
            </p:cNvPr>
            <p:cNvSpPr/>
            <p:nvPr/>
          </p:nvSpPr>
          <p:spPr>
            <a:xfrm>
              <a:off x="4385396" y="3092822"/>
              <a:ext cx="208339" cy="208339"/>
            </a:xfrm>
            <a:custGeom>
              <a:avLst/>
              <a:gdLst>
                <a:gd name="connsiteX0" fmla="*/ -3560 w 208339"/>
                <a:gd name="connsiteY0" fmla="*/ 103924 h 208339"/>
                <a:gd name="connsiteX1" fmla="*/ 100610 w 208339"/>
                <a:gd name="connsiteY1" fmla="*/ 208094 h 208339"/>
                <a:gd name="connsiteX2" fmla="*/ 204779 w 208339"/>
                <a:gd name="connsiteY2" fmla="*/ 103924 h 208339"/>
                <a:gd name="connsiteX3" fmla="*/ 100610 w 208339"/>
                <a:gd name="connsiteY3" fmla="*/ -245 h 208339"/>
                <a:gd name="connsiteX4" fmla="*/ -3560 w 208339"/>
                <a:gd name="connsiteY4" fmla="*/ 103924 h 208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339" h="208339">
                  <a:moveTo>
                    <a:pt x="-3560" y="103924"/>
                  </a:moveTo>
                  <a:cubicBezTo>
                    <a:pt x="-3560" y="161469"/>
                    <a:pt x="43065" y="208094"/>
                    <a:pt x="100610" y="208094"/>
                  </a:cubicBezTo>
                  <a:cubicBezTo>
                    <a:pt x="158154" y="208094"/>
                    <a:pt x="204779" y="161469"/>
                    <a:pt x="204779" y="103924"/>
                  </a:cubicBezTo>
                  <a:cubicBezTo>
                    <a:pt x="204779" y="46379"/>
                    <a:pt x="158154" y="-245"/>
                    <a:pt x="100610" y="-245"/>
                  </a:cubicBezTo>
                  <a:cubicBezTo>
                    <a:pt x="43065" y="-245"/>
                    <a:pt x="-3560" y="46379"/>
                    <a:pt x="-3560" y="103924"/>
                  </a:cubicBezTo>
                  <a:close/>
                </a:path>
              </a:pathLst>
            </a:custGeom>
            <a:grpFill/>
            <a:ln w="359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2080AF58-3884-4324-ABB5-B0DF0341FCDA}"/>
                </a:ext>
              </a:extLst>
            </p:cNvPr>
            <p:cNvSpPr/>
            <p:nvPr/>
          </p:nvSpPr>
          <p:spPr>
            <a:xfrm>
              <a:off x="5419585" y="4733818"/>
              <a:ext cx="1107575" cy="610829"/>
            </a:xfrm>
            <a:custGeom>
              <a:avLst/>
              <a:gdLst>
                <a:gd name="connsiteX0" fmla="*/ 1107575 w 1107575"/>
                <a:gd name="connsiteY0" fmla="*/ 291855 h 610829"/>
                <a:gd name="connsiteX1" fmla="*/ 555081 w 1107575"/>
                <a:gd name="connsiteY1" fmla="*/ 610830 h 610829"/>
                <a:gd name="connsiteX2" fmla="*/ 0 w 1107575"/>
                <a:gd name="connsiteY2" fmla="*/ 290346 h 610829"/>
                <a:gd name="connsiteX3" fmla="*/ 0 w 1107575"/>
                <a:gd name="connsiteY3" fmla="*/ 0 h 610829"/>
                <a:gd name="connsiteX4" fmla="*/ 10237 w 1107575"/>
                <a:gd name="connsiteY4" fmla="*/ 0 h 610829"/>
                <a:gd name="connsiteX5" fmla="*/ 10237 w 1107575"/>
                <a:gd name="connsiteY5" fmla="*/ 284455 h 610829"/>
                <a:gd name="connsiteX6" fmla="*/ 555081 w 1107575"/>
                <a:gd name="connsiteY6" fmla="*/ 599012 h 610829"/>
                <a:gd name="connsiteX7" fmla="*/ 1102439 w 1107575"/>
                <a:gd name="connsiteY7" fmla="*/ 282947 h 610829"/>
                <a:gd name="connsiteX8" fmla="*/ 1107575 w 1107575"/>
                <a:gd name="connsiteY8" fmla="*/ 291855 h 610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575" h="610829">
                  <a:moveTo>
                    <a:pt x="1107575" y="291855"/>
                  </a:moveTo>
                  <a:lnTo>
                    <a:pt x="555081" y="610830"/>
                  </a:lnTo>
                  <a:lnTo>
                    <a:pt x="0" y="290346"/>
                  </a:lnTo>
                  <a:lnTo>
                    <a:pt x="0" y="0"/>
                  </a:lnTo>
                  <a:lnTo>
                    <a:pt x="10237" y="0"/>
                  </a:lnTo>
                  <a:lnTo>
                    <a:pt x="10237" y="284455"/>
                  </a:lnTo>
                  <a:lnTo>
                    <a:pt x="555081" y="599012"/>
                  </a:lnTo>
                  <a:lnTo>
                    <a:pt x="1102439" y="282947"/>
                  </a:lnTo>
                  <a:lnTo>
                    <a:pt x="1107575" y="291855"/>
                  </a:lnTo>
                  <a:close/>
                </a:path>
              </a:pathLst>
            </a:custGeom>
            <a:grpFill/>
            <a:ln w="359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C57A6CB-53EE-160D-8035-A7B2067AD9B0}"/>
                </a:ext>
              </a:extLst>
            </p:cNvPr>
            <p:cNvSpPr/>
            <p:nvPr/>
          </p:nvSpPr>
          <p:spPr>
            <a:xfrm>
              <a:off x="3305299" y="3449046"/>
              <a:ext cx="557631" cy="1105097"/>
            </a:xfrm>
            <a:custGeom>
              <a:avLst/>
              <a:gdLst>
                <a:gd name="connsiteX0" fmla="*/ 557631 w 557631"/>
                <a:gd name="connsiteY0" fmla="*/ 8873 h 1105097"/>
                <a:gd name="connsiteX1" fmla="*/ 10237 w 557631"/>
                <a:gd name="connsiteY1" fmla="*/ 324902 h 1105097"/>
                <a:gd name="connsiteX2" fmla="*/ 10237 w 557631"/>
                <a:gd name="connsiteY2" fmla="*/ 954015 h 1105097"/>
                <a:gd name="connsiteX3" fmla="*/ 256581 w 557631"/>
                <a:gd name="connsiteY3" fmla="*/ 1096225 h 1105097"/>
                <a:gd name="connsiteX4" fmla="*/ 251444 w 557631"/>
                <a:gd name="connsiteY4" fmla="*/ 1105097 h 1105097"/>
                <a:gd name="connsiteX5" fmla="*/ 0 w 557631"/>
                <a:gd name="connsiteY5" fmla="*/ 959906 h 1105097"/>
                <a:gd name="connsiteX6" fmla="*/ 0 w 557631"/>
                <a:gd name="connsiteY6" fmla="*/ 318975 h 1105097"/>
                <a:gd name="connsiteX7" fmla="*/ 552495 w 557631"/>
                <a:gd name="connsiteY7" fmla="*/ 0 h 1105097"/>
                <a:gd name="connsiteX8" fmla="*/ 557631 w 557631"/>
                <a:gd name="connsiteY8" fmla="*/ 8873 h 110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31" h="1105097">
                  <a:moveTo>
                    <a:pt x="557631" y="8873"/>
                  </a:moveTo>
                  <a:lnTo>
                    <a:pt x="10237" y="324902"/>
                  </a:lnTo>
                  <a:lnTo>
                    <a:pt x="10237" y="954015"/>
                  </a:lnTo>
                  <a:lnTo>
                    <a:pt x="256581" y="1096225"/>
                  </a:lnTo>
                  <a:lnTo>
                    <a:pt x="251444" y="1105097"/>
                  </a:lnTo>
                  <a:lnTo>
                    <a:pt x="0" y="959906"/>
                  </a:lnTo>
                  <a:lnTo>
                    <a:pt x="0" y="318975"/>
                  </a:lnTo>
                  <a:lnTo>
                    <a:pt x="552495" y="0"/>
                  </a:lnTo>
                  <a:lnTo>
                    <a:pt x="557631" y="8873"/>
                  </a:lnTo>
                  <a:close/>
                </a:path>
              </a:pathLst>
            </a:custGeom>
            <a:grpFill/>
            <a:ln w="359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31D4D4D6-EFE3-4A8D-D5EA-7DCF7DCE56D7}"/>
                </a:ext>
              </a:extLst>
            </p:cNvPr>
            <p:cNvSpPr/>
            <p:nvPr/>
          </p:nvSpPr>
          <p:spPr>
            <a:xfrm rot="18000001">
              <a:off x="3704402" y="4462459"/>
              <a:ext cx="10237" cy="347603"/>
            </a:xfrm>
            <a:custGeom>
              <a:avLst/>
              <a:gdLst>
                <a:gd name="connsiteX0" fmla="*/ -3560 w 10237"/>
                <a:gd name="connsiteY0" fmla="*/ -245 h 347603"/>
                <a:gd name="connsiteX1" fmla="*/ 6678 w 10237"/>
                <a:gd name="connsiteY1" fmla="*/ -245 h 347603"/>
                <a:gd name="connsiteX2" fmla="*/ 6678 w 10237"/>
                <a:gd name="connsiteY2" fmla="*/ 347358 h 347603"/>
                <a:gd name="connsiteX3" fmla="*/ -3560 w 10237"/>
                <a:gd name="connsiteY3" fmla="*/ 347358 h 347603"/>
              </a:gdLst>
              <a:ahLst/>
              <a:cxnLst>
                <a:cxn ang="0">
                  <a:pos x="connsiteX0" y="connsiteY0"/>
                </a:cxn>
                <a:cxn ang="0">
                  <a:pos x="connsiteX1" y="connsiteY1"/>
                </a:cxn>
                <a:cxn ang="0">
                  <a:pos x="connsiteX2" y="connsiteY2"/>
                </a:cxn>
                <a:cxn ang="0">
                  <a:pos x="connsiteX3" y="connsiteY3"/>
                </a:cxn>
              </a:cxnLst>
              <a:rect l="l" t="t" r="r" b="b"/>
              <a:pathLst>
                <a:path w="10237" h="347603">
                  <a:moveTo>
                    <a:pt x="-3560" y="-245"/>
                  </a:moveTo>
                  <a:lnTo>
                    <a:pt x="6678" y="-245"/>
                  </a:lnTo>
                  <a:lnTo>
                    <a:pt x="6678" y="347358"/>
                  </a:lnTo>
                  <a:lnTo>
                    <a:pt x="-3560" y="347358"/>
                  </a:lnTo>
                  <a:close/>
                </a:path>
              </a:pathLst>
            </a:custGeom>
            <a:grpFill/>
            <a:ln w="359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54EF438-A29D-6AE7-7B37-E9762CE39AC8}"/>
                </a:ext>
              </a:extLst>
            </p:cNvPr>
            <p:cNvSpPr/>
            <p:nvPr/>
          </p:nvSpPr>
          <p:spPr>
            <a:xfrm>
              <a:off x="640781" y="1711962"/>
              <a:ext cx="1739239" cy="1472457"/>
            </a:xfrm>
            <a:custGeom>
              <a:avLst/>
              <a:gdLst>
                <a:gd name="connsiteX0" fmla="*/ 1739239 w 1739239"/>
                <a:gd name="connsiteY0" fmla="*/ 486078 h 1472457"/>
                <a:gd name="connsiteX1" fmla="*/ 1730978 w 1739239"/>
                <a:gd name="connsiteY1" fmla="*/ 500410 h 1472457"/>
                <a:gd name="connsiteX2" fmla="*/ 897332 w 1739239"/>
                <a:gd name="connsiteY2" fmla="*/ 19110 h 1472457"/>
                <a:gd name="connsiteX3" fmla="*/ 16595 w 1739239"/>
                <a:gd name="connsiteY3" fmla="*/ 527638 h 1472457"/>
                <a:gd name="connsiteX4" fmla="*/ 16595 w 1739239"/>
                <a:gd name="connsiteY4" fmla="*/ 1472457 h 1472457"/>
                <a:gd name="connsiteX5" fmla="*/ 0 w 1739239"/>
                <a:gd name="connsiteY5" fmla="*/ 1472457 h 1472457"/>
                <a:gd name="connsiteX6" fmla="*/ 0 w 1739239"/>
                <a:gd name="connsiteY6" fmla="*/ 518047 h 1472457"/>
                <a:gd name="connsiteX7" fmla="*/ 897332 w 1739239"/>
                <a:gd name="connsiteY7" fmla="*/ 0 h 1472457"/>
                <a:gd name="connsiteX8" fmla="*/ 901463 w 1739239"/>
                <a:gd name="connsiteY8" fmla="*/ 2371 h 1472457"/>
                <a:gd name="connsiteX9" fmla="*/ 1739239 w 1739239"/>
                <a:gd name="connsiteY9" fmla="*/ 486078 h 147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239" h="1472457">
                  <a:moveTo>
                    <a:pt x="1739239" y="486078"/>
                  </a:moveTo>
                  <a:lnTo>
                    <a:pt x="1730978" y="500410"/>
                  </a:lnTo>
                  <a:lnTo>
                    <a:pt x="897332" y="19110"/>
                  </a:lnTo>
                  <a:lnTo>
                    <a:pt x="16595" y="527638"/>
                  </a:lnTo>
                  <a:lnTo>
                    <a:pt x="16595" y="1472457"/>
                  </a:lnTo>
                  <a:lnTo>
                    <a:pt x="0" y="1472457"/>
                  </a:lnTo>
                  <a:lnTo>
                    <a:pt x="0" y="518047"/>
                  </a:lnTo>
                  <a:lnTo>
                    <a:pt x="897332" y="0"/>
                  </a:lnTo>
                  <a:lnTo>
                    <a:pt x="901463" y="2371"/>
                  </a:lnTo>
                  <a:lnTo>
                    <a:pt x="1739239" y="486078"/>
                  </a:lnTo>
                  <a:close/>
                </a:path>
              </a:pathLst>
            </a:custGeom>
            <a:grpFill/>
            <a:ln w="359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4C1D25-753D-E918-7113-89E9CDEA498D}"/>
                </a:ext>
              </a:extLst>
            </p:cNvPr>
            <p:cNvSpPr/>
            <p:nvPr/>
          </p:nvSpPr>
          <p:spPr>
            <a:xfrm>
              <a:off x="568042" y="3099395"/>
              <a:ext cx="162002" cy="162002"/>
            </a:xfrm>
            <a:custGeom>
              <a:avLst/>
              <a:gdLst>
                <a:gd name="connsiteX0" fmla="*/ 158442 w 162002"/>
                <a:gd name="connsiteY0" fmla="*/ 80720 h 162002"/>
                <a:gd name="connsiteX1" fmla="*/ 77477 w 162002"/>
                <a:gd name="connsiteY1" fmla="*/ 161757 h 162002"/>
                <a:gd name="connsiteX2" fmla="*/ -3560 w 162002"/>
                <a:gd name="connsiteY2" fmla="*/ 80792 h 162002"/>
                <a:gd name="connsiteX3" fmla="*/ 77405 w 162002"/>
                <a:gd name="connsiteY3" fmla="*/ -245 h 162002"/>
                <a:gd name="connsiteX4" fmla="*/ 77441 w 162002"/>
                <a:gd name="connsiteY4" fmla="*/ -245 h 162002"/>
                <a:gd name="connsiteX5" fmla="*/ 158442 w 162002"/>
                <a:gd name="connsiteY5" fmla="*/ 80720 h 16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002" h="162002">
                  <a:moveTo>
                    <a:pt x="158442" y="80720"/>
                  </a:moveTo>
                  <a:cubicBezTo>
                    <a:pt x="158478" y="125441"/>
                    <a:pt x="122198" y="161721"/>
                    <a:pt x="77477" y="161757"/>
                  </a:cubicBezTo>
                  <a:cubicBezTo>
                    <a:pt x="32756" y="161792"/>
                    <a:pt x="-3524" y="125513"/>
                    <a:pt x="-3560" y="80792"/>
                  </a:cubicBezTo>
                  <a:cubicBezTo>
                    <a:pt x="-3596" y="36070"/>
                    <a:pt x="32684" y="-209"/>
                    <a:pt x="77405" y="-245"/>
                  </a:cubicBezTo>
                  <a:cubicBezTo>
                    <a:pt x="77405" y="-245"/>
                    <a:pt x="77441" y="-245"/>
                    <a:pt x="77441" y="-245"/>
                  </a:cubicBezTo>
                  <a:cubicBezTo>
                    <a:pt x="122162" y="-209"/>
                    <a:pt x="158406" y="35999"/>
                    <a:pt x="158442" y="80720"/>
                  </a:cubicBezTo>
                  <a:close/>
                </a:path>
              </a:pathLst>
            </a:custGeom>
            <a:grpFill/>
            <a:ln w="359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653597E4-E010-543D-2EBB-855138F4031B}"/>
                </a:ext>
              </a:extLst>
            </p:cNvPr>
            <p:cNvSpPr/>
            <p:nvPr/>
          </p:nvSpPr>
          <p:spPr>
            <a:xfrm>
              <a:off x="2310846" y="2141374"/>
              <a:ext cx="124687" cy="124664"/>
            </a:xfrm>
            <a:custGeom>
              <a:avLst/>
              <a:gdLst>
                <a:gd name="connsiteX0" fmla="*/ 27610 w 124687"/>
                <a:gd name="connsiteY0" fmla="*/ 116049 h 124664"/>
                <a:gd name="connsiteX1" fmla="*/ 112742 w 124687"/>
                <a:gd name="connsiteY1" fmla="*/ 93264 h 124664"/>
                <a:gd name="connsiteX2" fmla="*/ 89969 w 124687"/>
                <a:gd name="connsiteY2" fmla="*/ 8125 h 124664"/>
                <a:gd name="connsiteX3" fmla="*/ 4836 w 124687"/>
                <a:gd name="connsiteY3" fmla="*/ 30906 h 124664"/>
                <a:gd name="connsiteX4" fmla="*/ 4801 w 124687"/>
                <a:gd name="connsiteY4" fmla="*/ 30953 h 124664"/>
                <a:gd name="connsiteX5" fmla="*/ 27575 w 124687"/>
                <a:gd name="connsiteY5" fmla="*/ 116038 h 124664"/>
                <a:gd name="connsiteX6" fmla="*/ 27610 w 124687"/>
                <a:gd name="connsiteY6" fmla="*/ 116049 h 12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687" h="124664">
                  <a:moveTo>
                    <a:pt x="27610" y="116049"/>
                  </a:moveTo>
                  <a:cubicBezTo>
                    <a:pt x="57425" y="133269"/>
                    <a:pt x="95536" y="123067"/>
                    <a:pt x="112742" y="93264"/>
                  </a:cubicBezTo>
                  <a:cubicBezTo>
                    <a:pt x="129983" y="63461"/>
                    <a:pt x="119782" y="25342"/>
                    <a:pt x="89969" y="8125"/>
                  </a:cubicBezTo>
                  <a:cubicBezTo>
                    <a:pt x="60154" y="-9095"/>
                    <a:pt x="22043" y="1106"/>
                    <a:pt x="4836" y="30906"/>
                  </a:cubicBezTo>
                  <a:cubicBezTo>
                    <a:pt x="4801" y="30924"/>
                    <a:pt x="4801" y="30938"/>
                    <a:pt x="4801" y="30953"/>
                  </a:cubicBezTo>
                  <a:cubicBezTo>
                    <a:pt x="-12405" y="60742"/>
                    <a:pt x="-2204" y="98835"/>
                    <a:pt x="27575" y="116038"/>
                  </a:cubicBezTo>
                  <a:cubicBezTo>
                    <a:pt x="27610" y="116041"/>
                    <a:pt x="27610" y="116045"/>
                    <a:pt x="27610" y="116049"/>
                  </a:cubicBezTo>
                  <a:close/>
                </a:path>
              </a:pathLst>
            </a:custGeom>
            <a:grpFill/>
            <a:ln w="359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1580980-6719-B4BE-05C6-78E788D68243}"/>
                </a:ext>
              </a:extLst>
            </p:cNvPr>
            <p:cNvSpPr/>
            <p:nvPr/>
          </p:nvSpPr>
          <p:spPr>
            <a:xfrm>
              <a:off x="1400035" y="2308172"/>
              <a:ext cx="1225036" cy="368293"/>
            </a:xfrm>
            <a:custGeom>
              <a:avLst/>
              <a:gdLst>
                <a:gd name="connsiteX0" fmla="*/ 1225036 w 1225036"/>
                <a:gd name="connsiteY0" fmla="*/ 10345 h 368293"/>
                <a:gd name="connsiteX1" fmla="*/ 605118 w 1225036"/>
                <a:gd name="connsiteY1" fmla="*/ 368294 h 368293"/>
                <a:gd name="connsiteX2" fmla="*/ 0 w 1225036"/>
                <a:gd name="connsiteY2" fmla="*/ 18930 h 368293"/>
                <a:gd name="connsiteX3" fmla="*/ 5963 w 1225036"/>
                <a:gd name="connsiteY3" fmla="*/ 8549 h 368293"/>
                <a:gd name="connsiteX4" fmla="*/ 605118 w 1225036"/>
                <a:gd name="connsiteY4" fmla="*/ 354464 h 368293"/>
                <a:gd name="connsiteX5" fmla="*/ 1219073 w 1225036"/>
                <a:gd name="connsiteY5" fmla="*/ 0 h 368293"/>
                <a:gd name="connsiteX6" fmla="*/ 1225036 w 1225036"/>
                <a:gd name="connsiteY6" fmla="*/ 10345 h 368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5036" h="368293">
                  <a:moveTo>
                    <a:pt x="1225036" y="10345"/>
                  </a:moveTo>
                  <a:lnTo>
                    <a:pt x="605118" y="368294"/>
                  </a:lnTo>
                  <a:lnTo>
                    <a:pt x="0" y="18930"/>
                  </a:lnTo>
                  <a:lnTo>
                    <a:pt x="5963" y="8549"/>
                  </a:lnTo>
                  <a:lnTo>
                    <a:pt x="605118" y="354464"/>
                  </a:lnTo>
                  <a:lnTo>
                    <a:pt x="1219073" y="0"/>
                  </a:lnTo>
                  <a:lnTo>
                    <a:pt x="1225036" y="10345"/>
                  </a:lnTo>
                  <a:close/>
                </a:path>
              </a:pathLst>
            </a:custGeom>
            <a:grpFill/>
            <a:ln w="359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43DC2805-708A-73A3-4EBD-0D150758A802}"/>
                </a:ext>
              </a:extLst>
            </p:cNvPr>
            <p:cNvSpPr/>
            <p:nvPr/>
          </p:nvSpPr>
          <p:spPr>
            <a:xfrm>
              <a:off x="2589289" y="2282585"/>
              <a:ext cx="63097" cy="63085"/>
            </a:xfrm>
            <a:custGeom>
              <a:avLst/>
              <a:gdLst>
                <a:gd name="connsiteX0" fmla="*/ 12249 w 63097"/>
                <a:gd name="connsiteY0" fmla="*/ 3969 h 63085"/>
                <a:gd name="connsiteX1" fmla="*/ 55319 w 63097"/>
                <a:gd name="connsiteY1" fmla="*/ 15553 h 63085"/>
                <a:gd name="connsiteX2" fmla="*/ 43752 w 63097"/>
                <a:gd name="connsiteY2" fmla="*/ 58626 h 63085"/>
                <a:gd name="connsiteX3" fmla="*/ 682 w 63097"/>
                <a:gd name="connsiteY3" fmla="*/ 47074 h 63085"/>
                <a:gd name="connsiteX4" fmla="*/ 12214 w 63097"/>
                <a:gd name="connsiteY4" fmla="*/ 3987 h 63085"/>
                <a:gd name="connsiteX5" fmla="*/ 12249 w 63097"/>
                <a:gd name="connsiteY5" fmla="*/ 3969 h 6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097" h="63085">
                  <a:moveTo>
                    <a:pt x="12249" y="3969"/>
                  </a:moveTo>
                  <a:cubicBezTo>
                    <a:pt x="27337" y="-4724"/>
                    <a:pt x="46625" y="463"/>
                    <a:pt x="55319" y="15553"/>
                  </a:cubicBezTo>
                  <a:cubicBezTo>
                    <a:pt x="64012" y="30647"/>
                    <a:pt x="58839" y="49933"/>
                    <a:pt x="43752" y="58626"/>
                  </a:cubicBezTo>
                  <a:cubicBezTo>
                    <a:pt x="28665" y="67311"/>
                    <a:pt x="9377" y="62142"/>
                    <a:pt x="682" y="47074"/>
                  </a:cubicBezTo>
                  <a:cubicBezTo>
                    <a:pt x="-8045" y="31991"/>
                    <a:pt x="-2873" y="12701"/>
                    <a:pt x="12214" y="3987"/>
                  </a:cubicBezTo>
                  <a:cubicBezTo>
                    <a:pt x="12214" y="3983"/>
                    <a:pt x="12249" y="3976"/>
                    <a:pt x="12249" y="3969"/>
                  </a:cubicBezTo>
                  <a:close/>
                </a:path>
              </a:pathLst>
            </a:custGeom>
            <a:grpFill/>
            <a:ln w="359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D1FA648-28B2-C562-8948-F96E1B640B7D}"/>
                </a:ext>
              </a:extLst>
            </p:cNvPr>
            <p:cNvSpPr/>
            <p:nvPr/>
          </p:nvSpPr>
          <p:spPr>
            <a:xfrm>
              <a:off x="1355490" y="2273509"/>
              <a:ext cx="99085" cy="99085"/>
            </a:xfrm>
            <a:custGeom>
              <a:avLst/>
              <a:gdLst>
                <a:gd name="connsiteX0" fmla="*/ 70871 w 99085"/>
                <a:gd name="connsiteY0" fmla="*/ 6471 h 99085"/>
                <a:gd name="connsiteX1" fmla="*/ 3160 w 99085"/>
                <a:gd name="connsiteY1" fmla="*/ 24406 h 99085"/>
                <a:gd name="connsiteX2" fmla="*/ 21084 w 99085"/>
                <a:gd name="connsiteY2" fmla="*/ 92124 h 99085"/>
                <a:gd name="connsiteX3" fmla="*/ 88795 w 99085"/>
                <a:gd name="connsiteY3" fmla="*/ 74189 h 99085"/>
                <a:gd name="connsiteX4" fmla="*/ 88831 w 99085"/>
                <a:gd name="connsiteY4" fmla="*/ 74145 h 99085"/>
                <a:gd name="connsiteX5" fmla="*/ 70871 w 99085"/>
                <a:gd name="connsiteY5" fmla="*/ 6471 h 9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85" h="99085">
                  <a:moveTo>
                    <a:pt x="70871" y="6471"/>
                  </a:moveTo>
                  <a:cubicBezTo>
                    <a:pt x="47235" y="-7276"/>
                    <a:pt x="16918" y="752"/>
                    <a:pt x="3160" y="24406"/>
                  </a:cubicBezTo>
                  <a:cubicBezTo>
                    <a:pt x="-10598" y="48060"/>
                    <a:pt x="-2552" y="78377"/>
                    <a:pt x="21084" y="92124"/>
                  </a:cubicBezTo>
                  <a:cubicBezTo>
                    <a:pt x="44756" y="105871"/>
                    <a:pt x="75073" y="97842"/>
                    <a:pt x="88795" y="74189"/>
                  </a:cubicBezTo>
                  <a:cubicBezTo>
                    <a:pt x="88831" y="74174"/>
                    <a:pt x="88831" y="74160"/>
                    <a:pt x="88831" y="74145"/>
                  </a:cubicBezTo>
                  <a:cubicBezTo>
                    <a:pt x="102552" y="50495"/>
                    <a:pt x="94506" y="20207"/>
                    <a:pt x="70871" y="6471"/>
                  </a:cubicBezTo>
                  <a:close/>
                </a:path>
              </a:pathLst>
            </a:custGeom>
            <a:grpFill/>
            <a:ln w="359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28B51AE-285D-B3EB-EB73-72046066F72C}"/>
                </a:ext>
              </a:extLst>
            </p:cNvPr>
            <p:cNvSpPr/>
            <p:nvPr/>
          </p:nvSpPr>
          <p:spPr>
            <a:xfrm>
              <a:off x="5329640" y="3295665"/>
              <a:ext cx="993851" cy="841404"/>
            </a:xfrm>
            <a:custGeom>
              <a:avLst/>
              <a:gdLst>
                <a:gd name="connsiteX0" fmla="*/ 993851 w 993851"/>
                <a:gd name="connsiteY0" fmla="*/ 277774 h 841404"/>
                <a:gd name="connsiteX1" fmla="*/ 989109 w 993851"/>
                <a:gd name="connsiteY1" fmla="*/ 285964 h 841404"/>
                <a:gd name="connsiteX2" fmla="*/ 512731 w 993851"/>
                <a:gd name="connsiteY2" fmla="*/ 10956 h 841404"/>
                <a:gd name="connsiteX3" fmla="*/ 9447 w 993851"/>
                <a:gd name="connsiteY3" fmla="*/ 301517 h 841404"/>
                <a:gd name="connsiteX4" fmla="*/ 9447 w 993851"/>
                <a:gd name="connsiteY4" fmla="*/ 841404 h 841404"/>
                <a:gd name="connsiteX5" fmla="*/ 0 w 993851"/>
                <a:gd name="connsiteY5" fmla="*/ 841404 h 841404"/>
                <a:gd name="connsiteX6" fmla="*/ 0 w 993851"/>
                <a:gd name="connsiteY6" fmla="*/ 296058 h 841404"/>
                <a:gd name="connsiteX7" fmla="*/ 512731 w 993851"/>
                <a:gd name="connsiteY7" fmla="*/ 0 h 841404"/>
                <a:gd name="connsiteX8" fmla="*/ 993851 w 993851"/>
                <a:gd name="connsiteY8" fmla="*/ 277774 h 841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851" h="841404">
                  <a:moveTo>
                    <a:pt x="993851" y="277774"/>
                  </a:moveTo>
                  <a:lnTo>
                    <a:pt x="989109" y="285964"/>
                  </a:lnTo>
                  <a:lnTo>
                    <a:pt x="512731" y="10956"/>
                  </a:lnTo>
                  <a:lnTo>
                    <a:pt x="9447" y="301517"/>
                  </a:lnTo>
                  <a:lnTo>
                    <a:pt x="9447" y="841404"/>
                  </a:lnTo>
                  <a:lnTo>
                    <a:pt x="0" y="841404"/>
                  </a:lnTo>
                  <a:lnTo>
                    <a:pt x="0" y="296058"/>
                  </a:lnTo>
                  <a:lnTo>
                    <a:pt x="512731" y="0"/>
                  </a:lnTo>
                  <a:lnTo>
                    <a:pt x="993851" y="277774"/>
                  </a:lnTo>
                  <a:close/>
                </a:path>
              </a:pathLst>
            </a:custGeom>
            <a:grpFill/>
            <a:ln w="359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359EE548-6266-5A82-C417-6B7299629C46}"/>
                </a:ext>
              </a:extLst>
            </p:cNvPr>
            <p:cNvSpPr/>
            <p:nvPr/>
          </p:nvSpPr>
          <p:spPr>
            <a:xfrm>
              <a:off x="5288080" y="4088469"/>
              <a:ext cx="92532" cy="92531"/>
            </a:xfrm>
            <a:custGeom>
              <a:avLst/>
              <a:gdLst>
                <a:gd name="connsiteX0" fmla="*/ 88972 w 92532"/>
                <a:gd name="connsiteY0" fmla="*/ 46056 h 92531"/>
                <a:gd name="connsiteX1" fmla="*/ 42670 w 92532"/>
                <a:gd name="connsiteY1" fmla="*/ 92286 h 92531"/>
                <a:gd name="connsiteX2" fmla="*/ -3560 w 92532"/>
                <a:gd name="connsiteY2" fmla="*/ 45984 h 92531"/>
                <a:gd name="connsiteX3" fmla="*/ 42705 w 92532"/>
                <a:gd name="connsiteY3" fmla="*/ -245 h 92531"/>
                <a:gd name="connsiteX4" fmla="*/ 88972 w 92532"/>
                <a:gd name="connsiteY4" fmla="*/ 46020 h 92531"/>
                <a:gd name="connsiteX5" fmla="*/ 88972 w 92532"/>
                <a:gd name="connsiteY5" fmla="*/ 46056 h 9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532" h="92531">
                  <a:moveTo>
                    <a:pt x="88972" y="46056"/>
                  </a:moveTo>
                  <a:cubicBezTo>
                    <a:pt x="88935" y="71596"/>
                    <a:pt x="68209" y="92322"/>
                    <a:pt x="42670" y="92286"/>
                  </a:cubicBezTo>
                  <a:cubicBezTo>
                    <a:pt x="17131" y="92250"/>
                    <a:pt x="-3595" y="71524"/>
                    <a:pt x="-3560" y="45984"/>
                  </a:cubicBezTo>
                  <a:cubicBezTo>
                    <a:pt x="-3523" y="20444"/>
                    <a:pt x="17166" y="-245"/>
                    <a:pt x="42705" y="-245"/>
                  </a:cubicBezTo>
                  <a:cubicBezTo>
                    <a:pt x="68246" y="-245"/>
                    <a:pt x="88972" y="20480"/>
                    <a:pt x="88972" y="46020"/>
                  </a:cubicBezTo>
                  <a:cubicBezTo>
                    <a:pt x="88972" y="46020"/>
                    <a:pt x="88972" y="46056"/>
                    <a:pt x="88972" y="46056"/>
                  </a:cubicBezTo>
                  <a:close/>
                </a:path>
              </a:pathLst>
            </a:custGeom>
            <a:grpFill/>
            <a:ln w="359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53812602-18C7-62A2-2C9B-A35E0E6EB099}"/>
                </a:ext>
              </a:extLst>
            </p:cNvPr>
            <p:cNvSpPr/>
            <p:nvPr/>
          </p:nvSpPr>
          <p:spPr>
            <a:xfrm>
              <a:off x="6283942" y="3541018"/>
              <a:ext cx="71207" cy="71200"/>
            </a:xfrm>
            <a:custGeom>
              <a:avLst/>
              <a:gdLst>
                <a:gd name="connsiteX0" fmla="*/ 14257 w 71207"/>
                <a:gd name="connsiteY0" fmla="*/ 66193 h 71200"/>
                <a:gd name="connsiteX1" fmla="*/ 62894 w 71207"/>
                <a:gd name="connsiteY1" fmla="*/ 53153 h 71200"/>
                <a:gd name="connsiteX2" fmla="*/ 49818 w 71207"/>
                <a:gd name="connsiteY2" fmla="*/ 4517 h 71200"/>
                <a:gd name="connsiteX3" fmla="*/ 1219 w 71207"/>
                <a:gd name="connsiteY3" fmla="*/ 17556 h 71200"/>
                <a:gd name="connsiteX4" fmla="*/ 14257 w 71207"/>
                <a:gd name="connsiteY4" fmla="*/ 66193 h 71200"/>
                <a:gd name="connsiteX5" fmla="*/ 14257 w 71207"/>
                <a:gd name="connsiteY5" fmla="*/ 66193 h 7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207" h="71200">
                  <a:moveTo>
                    <a:pt x="14257" y="66193"/>
                  </a:moveTo>
                  <a:cubicBezTo>
                    <a:pt x="31283" y="75999"/>
                    <a:pt x="53051" y="70180"/>
                    <a:pt x="62894" y="53153"/>
                  </a:cubicBezTo>
                  <a:cubicBezTo>
                    <a:pt x="72700" y="36127"/>
                    <a:pt x="66844" y="14359"/>
                    <a:pt x="49818" y="4517"/>
                  </a:cubicBezTo>
                  <a:cubicBezTo>
                    <a:pt x="32791" y="-5290"/>
                    <a:pt x="11060" y="530"/>
                    <a:pt x="1219" y="17556"/>
                  </a:cubicBezTo>
                  <a:cubicBezTo>
                    <a:pt x="-8624" y="34582"/>
                    <a:pt x="-2770" y="56350"/>
                    <a:pt x="14257" y="66193"/>
                  </a:cubicBezTo>
                  <a:cubicBezTo>
                    <a:pt x="14257" y="66193"/>
                    <a:pt x="14257" y="66193"/>
                    <a:pt x="14257" y="66193"/>
                  </a:cubicBezTo>
                  <a:close/>
                </a:path>
              </a:pathLst>
            </a:custGeom>
            <a:grpFill/>
            <a:ln w="359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490DF9ED-7831-1D76-74E8-A46455E94D3D}"/>
                </a:ext>
              </a:extLst>
            </p:cNvPr>
            <p:cNvSpPr/>
            <p:nvPr/>
          </p:nvSpPr>
          <p:spPr>
            <a:xfrm>
              <a:off x="5364195" y="4335423"/>
              <a:ext cx="968059" cy="291064"/>
            </a:xfrm>
            <a:custGeom>
              <a:avLst/>
              <a:gdLst>
                <a:gd name="connsiteX0" fmla="*/ 968060 w 968059"/>
                <a:gd name="connsiteY0" fmla="*/ 8226 h 291064"/>
                <a:gd name="connsiteX1" fmla="*/ 478175 w 968059"/>
                <a:gd name="connsiteY1" fmla="*/ 291065 h 291064"/>
                <a:gd name="connsiteX2" fmla="*/ 0 w 968059"/>
                <a:gd name="connsiteY2" fmla="*/ 14979 h 291064"/>
                <a:gd name="connsiteX3" fmla="*/ 4742 w 968059"/>
                <a:gd name="connsiteY3" fmla="*/ 6789 h 291064"/>
                <a:gd name="connsiteX4" fmla="*/ 478175 w 968059"/>
                <a:gd name="connsiteY4" fmla="*/ 280109 h 291064"/>
                <a:gd name="connsiteX5" fmla="*/ 963319 w 968059"/>
                <a:gd name="connsiteY5" fmla="*/ 0 h 291064"/>
                <a:gd name="connsiteX6" fmla="*/ 968060 w 968059"/>
                <a:gd name="connsiteY6" fmla="*/ 8226 h 29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059" h="291064">
                  <a:moveTo>
                    <a:pt x="968060" y="8226"/>
                  </a:moveTo>
                  <a:lnTo>
                    <a:pt x="478175" y="291065"/>
                  </a:lnTo>
                  <a:lnTo>
                    <a:pt x="0" y="14979"/>
                  </a:lnTo>
                  <a:lnTo>
                    <a:pt x="4742" y="6789"/>
                  </a:lnTo>
                  <a:lnTo>
                    <a:pt x="478175" y="280109"/>
                  </a:lnTo>
                  <a:lnTo>
                    <a:pt x="963319" y="0"/>
                  </a:lnTo>
                  <a:lnTo>
                    <a:pt x="968060" y="8226"/>
                  </a:lnTo>
                  <a:close/>
                </a:path>
              </a:pathLst>
            </a:custGeom>
            <a:grpFill/>
            <a:ln w="359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F86FEDCB-A965-3384-4D6A-9A54FF19E6B5}"/>
                </a:ext>
              </a:extLst>
            </p:cNvPr>
            <p:cNvSpPr/>
            <p:nvPr/>
          </p:nvSpPr>
          <p:spPr>
            <a:xfrm>
              <a:off x="6303869" y="4315226"/>
              <a:ext cx="49877" cy="49877"/>
            </a:xfrm>
            <a:custGeom>
              <a:avLst/>
              <a:gdLst>
                <a:gd name="connsiteX0" fmla="*/ 8914 w 49877"/>
                <a:gd name="connsiteY0" fmla="*/ 3105 h 49877"/>
                <a:gd name="connsiteX1" fmla="*/ 42967 w 49877"/>
                <a:gd name="connsiteY1" fmla="*/ 12229 h 49877"/>
                <a:gd name="connsiteX2" fmla="*/ 33843 w 49877"/>
                <a:gd name="connsiteY2" fmla="*/ 46282 h 49877"/>
                <a:gd name="connsiteX3" fmla="*/ -210 w 49877"/>
                <a:gd name="connsiteY3" fmla="*/ 37158 h 49877"/>
                <a:gd name="connsiteX4" fmla="*/ -210 w 49877"/>
                <a:gd name="connsiteY4" fmla="*/ 37158 h 49877"/>
                <a:gd name="connsiteX5" fmla="*/ 8914 w 49877"/>
                <a:gd name="connsiteY5" fmla="*/ 3105 h 4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77" h="49877">
                  <a:moveTo>
                    <a:pt x="8914" y="3105"/>
                  </a:moveTo>
                  <a:cubicBezTo>
                    <a:pt x="20839" y="-3792"/>
                    <a:pt x="36070" y="303"/>
                    <a:pt x="42967" y="12229"/>
                  </a:cubicBezTo>
                  <a:cubicBezTo>
                    <a:pt x="49863" y="24154"/>
                    <a:pt x="45768" y="39385"/>
                    <a:pt x="33843" y="46282"/>
                  </a:cubicBezTo>
                  <a:cubicBezTo>
                    <a:pt x="21916" y="53179"/>
                    <a:pt x="6687" y="49084"/>
                    <a:pt x="-210" y="37158"/>
                  </a:cubicBezTo>
                  <a:cubicBezTo>
                    <a:pt x="-210" y="37158"/>
                    <a:pt x="-210" y="37158"/>
                    <a:pt x="-210" y="37158"/>
                  </a:cubicBezTo>
                  <a:cubicBezTo>
                    <a:pt x="-7106" y="25232"/>
                    <a:pt x="-3012" y="10002"/>
                    <a:pt x="8914" y="3105"/>
                  </a:cubicBezTo>
                  <a:close/>
                </a:path>
              </a:pathLst>
            </a:custGeom>
            <a:grpFill/>
            <a:ln w="359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1A30290F-A692-8811-2366-562BB1A29C1D}"/>
                </a:ext>
              </a:extLst>
            </p:cNvPr>
            <p:cNvSpPr/>
            <p:nvPr/>
          </p:nvSpPr>
          <p:spPr>
            <a:xfrm>
              <a:off x="5329122" y="4308127"/>
              <a:ext cx="78325" cy="78318"/>
            </a:xfrm>
            <a:custGeom>
              <a:avLst/>
              <a:gdLst>
                <a:gd name="connsiteX0" fmla="*/ 55149 w 78325"/>
                <a:gd name="connsiteY0" fmla="*/ 4995 h 78318"/>
                <a:gd name="connsiteX1" fmla="*/ 1663 w 78325"/>
                <a:gd name="connsiteY1" fmla="*/ 19363 h 78318"/>
                <a:gd name="connsiteX2" fmla="*/ 16068 w 78325"/>
                <a:gd name="connsiteY2" fmla="*/ 72849 h 78318"/>
                <a:gd name="connsiteX3" fmla="*/ 69517 w 78325"/>
                <a:gd name="connsiteY3" fmla="*/ 58481 h 78318"/>
                <a:gd name="connsiteX4" fmla="*/ 55149 w 78325"/>
                <a:gd name="connsiteY4" fmla="*/ 4995 h 78318"/>
                <a:gd name="connsiteX5" fmla="*/ 55149 w 78325"/>
                <a:gd name="connsiteY5" fmla="*/ 4995 h 7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325" h="78318">
                  <a:moveTo>
                    <a:pt x="55149" y="4995"/>
                  </a:moveTo>
                  <a:cubicBezTo>
                    <a:pt x="36399" y="-5817"/>
                    <a:pt x="12476" y="648"/>
                    <a:pt x="1663" y="19363"/>
                  </a:cubicBezTo>
                  <a:cubicBezTo>
                    <a:pt x="-9114" y="38113"/>
                    <a:pt x="-2684" y="62037"/>
                    <a:pt x="16068" y="72849"/>
                  </a:cubicBezTo>
                  <a:cubicBezTo>
                    <a:pt x="34782" y="83625"/>
                    <a:pt x="58706" y="77195"/>
                    <a:pt x="69517" y="58481"/>
                  </a:cubicBezTo>
                  <a:cubicBezTo>
                    <a:pt x="80330" y="39766"/>
                    <a:pt x="73900" y="15807"/>
                    <a:pt x="55149" y="4995"/>
                  </a:cubicBezTo>
                  <a:cubicBezTo>
                    <a:pt x="55149" y="4995"/>
                    <a:pt x="55149" y="4995"/>
                    <a:pt x="55149" y="4995"/>
                  </a:cubicBezTo>
                  <a:close/>
                </a:path>
              </a:pathLst>
            </a:custGeom>
            <a:grpFill/>
            <a:ln w="359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4CD6B991-C858-84C8-E2FF-1B4247577867}"/>
                </a:ext>
              </a:extLst>
            </p:cNvPr>
            <p:cNvSpPr/>
            <p:nvPr/>
          </p:nvSpPr>
          <p:spPr>
            <a:xfrm>
              <a:off x="6460708" y="3677034"/>
              <a:ext cx="9483" cy="508815"/>
            </a:xfrm>
            <a:custGeom>
              <a:avLst/>
              <a:gdLst>
                <a:gd name="connsiteX0" fmla="*/ 0 w 9483"/>
                <a:gd name="connsiteY0" fmla="*/ 0 h 508815"/>
                <a:gd name="connsiteX1" fmla="*/ 9483 w 9483"/>
                <a:gd name="connsiteY1" fmla="*/ 0 h 508815"/>
                <a:gd name="connsiteX2" fmla="*/ 9483 w 9483"/>
                <a:gd name="connsiteY2" fmla="*/ 508815 h 508815"/>
                <a:gd name="connsiteX3" fmla="*/ 0 w 9483"/>
                <a:gd name="connsiteY3" fmla="*/ 508815 h 508815"/>
              </a:gdLst>
              <a:ahLst/>
              <a:cxnLst>
                <a:cxn ang="0">
                  <a:pos x="connsiteX0" y="connsiteY0"/>
                </a:cxn>
                <a:cxn ang="0">
                  <a:pos x="connsiteX1" y="connsiteY1"/>
                </a:cxn>
                <a:cxn ang="0">
                  <a:pos x="connsiteX2" y="connsiteY2"/>
                </a:cxn>
                <a:cxn ang="0">
                  <a:pos x="connsiteX3" y="connsiteY3"/>
                </a:cxn>
              </a:cxnLst>
              <a:rect l="l" t="t" r="r" b="b"/>
              <a:pathLst>
                <a:path w="9483" h="508815">
                  <a:moveTo>
                    <a:pt x="0" y="0"/>
                  </a:moveTo>
                  <a:lnTo>
                    <a:pt x="9483" y="0"/>
                  </a:lnTo>
                  <a:lnTo>
                    <a:pt x="9483" y="508815"/>
                  </a:lnTo>
                  <a:lnTo>
                    <a:pt x="0" y="508815"/>
                  </a:lnTo>
                  <a:close/>
                </a:path>
              </a:pathLst>
            </a:custGeom>
            <a:grpFill/>
            <a:ln w="359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C1B5731C-69E8-B88F-DB18-0E348EC1503E}"/>
                </a:ext>
              </a:extLst>
            </p:cNvPr>
            <p:cNvSpPr/>
            <p:nvPr/>
          </p:nvSpPr>
          <p:spPr>
            <a:xfrm>
              <a:off x="6419147" y="3633032"/>
              <a:ext cx="92604" cy="92603"/>
            </a:xfrm>
            <a:custGeom>
              <a:avLst/>
              <a:gdLst>
                <a:gd name="connsiteX0" fmla="*/ -3560 w 92604"/>
                <a:gd name="connsiteY0" fmla="*/ 46056 h 92603"/>
                <a:gd name="connsiteX1" fmla="*/ 42742 w 92604"/>
                <a:gd name="connsiteY1" fmla="*/ -245 h 92603"/>
                <a:gd name="connsiteX2" fmla="*/ 89044 w 92604"/>
                <a:gd name="connsiteY2" fmla="*/ 46056 h 92603"/>
                <a:gd name="connsiteX3" fmla="*/ 42742 w 92604"/>
                <a:gd name="connsiteY3" fmla="*/ 92358 h 92603"/>
                <a:gd name="connsiteX4" fmla="*/ 42707 w 92604"/>
                <a:gd name="connsiteY4" fmla="*/ 92358 h 92603"/>
                <a:gd name="connsiteX5" fmla="*/ -3560 w 92604"/>
                <a:gd name="connsiteY5" fmla="*/ 46092 h 92603"/>
                <a:gd name="connsiteX6" fmla="*/ -3560 w 92604"/>
                <a:gd name="connsiteY6" fmla="*/ 46056 h 9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604" h="92603">
                  <a:moveTo>
                    <a:pt x="-3560" y="46056"/>
                  </a:moveTo>
                  <a:cubicBezTo>
                    <a:pt x="-3560" y="20481"/>
                    <a:pt x="17166" y="-245"/>
                    <a:pt x="42742" y="-245"/>
                  </a:cubicBezTo>
                  <a:cubicBezTo>
                    <a:pt x="68318" y="-245"/>
                    <a:pt x="89044" y="20481"/>
                    <a:pt x="89044" y="46056"/>
                  </a:cubicBezTo>
                  <a:cubicBezTo>
                    <a:pt x="89044" y="71632"/>
                    <a:pt x="68318" y="92358"/>
                    <a:pt x="42742" y="92358"/>
                  </a:cubicBezTo>
                  <a:cubicBezTo>
                    <a:pt x="42742" y="92358"/>
                    <a:pt x="42707" y="92358"/>
                    <a:pt x="42707" y="92358"/>
                  </a:cubicBezTo>
                  <a:cubicBezTo>
                    <a:pt x="17166" y="92358"/>
                    <a:pt x="-3560" y="71632"/>
                    <a:pt x="-3560" y="46092"/>
                  </a:cubicBezTo>
                  <a:cubicBezTo>
                    <a:pt x="-3560" y="46092"/>
                    <a:pt x="-3560" y="46056"/>
                    <a:pt x="-3560" y="46056"/>
                  </a:cubicBezTo>
                  <a:close/>
                </a:path>
              </a:pathLst>
            </a:custGeom>
            <a:grpFill/>
            <a:ln w="359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E0770E2A-646E-A8BD-0FCF-369ACA3A48F0}"/>
                </a:ext>
              </a:extLst>
            </p:cNvPr>
            <p:cNvSpPr/>
            <p:nvPr/>
          </p:nvSpPr>
          <p:spPr>
            <a:xfrm>
              <a:off x="6429816" y="4148492"/>
              <a:ext cx="71193" cy="71194"/>
            </a:xfrm>
            <a:custGeom>
              <a:avLst/>
              <a:gdLst>
                <a:gd name="connsiteX0" fmla="*/ -3560 w 71193"/>
                <a:gd name="connsiteY0" fmla="*/ 35352 h 71194"/>
                <a:gd name="connsiteX1" fmla="*/ 32038 w 71193"/>
                <a:gd name="connsiteY1" fmla="*/ 70949 h 71194"/>
                <a:gd name="connsiteX2" fmla="*/ 67634 w 71193"/>
                <a:gd name="connsiteY2" fmla="*/ 35352 h 71194"/>
                <a:gd name="connsiteX3" fmla="*/ 32038 w 71193"/>
                <a:gd name="connsiteY3" fmla="*/ -245 h 71194"/>
                <a:gd name="connsiteX4" fmla="*/ -3560 w 71193"/>
                <a:gd name="connsiteY4" fmla="*/ 35352 h 71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93" h="71194">
                  <a:moveTo>
                    <a:pt x="-3560" y="35352"/>
                  </a:moveTo>
                  <a:cubicBezTo>
                    <a:pt x="-3560" y="55000"/>
                    <a:pt x="12388" y="70949"/>
                    <a:pt x="32038" y="70949"/>
                  </a:cubicBezTo>
                  <a:cubicBezTo>
                    <a:pt x="51685" y="70949"/>
                    <a:pt x="67634" y="55000"/>
                    <a:pt x="67634" y="35352"/>
                  </a:cubicBezTo>
                  <a:cubicBezTo>
                    <a:pt x="67634" y="15703"/>
                    <a:pt x="51685" y="-245"/>
                    <a:pt x="32038" y="-245"/>
                  </a:cubicBezTo>
                  <a:cubicBezTo>
                    <a:pt x="12388" y="-245"/>
                    <a:pt x="-3560" y="15703"/>
                    <a:pt x="-3560" y="35352"/>
                  </a:cubicBezTo>
                  <a:close/>
                </a:path>
              </a:pathLst>
            </a:custGeom>
            <a:grpFill/>
            <a:ln w="359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59C2CBB5-EB46-7A29-64B9-0275A45B4CFF}"/>
                </a:ext>
              </a:extLst>
            </p:cNvPr>
            <p:cNvSpPr/>
            <p:nvPr/>
          </p:nvSpPr>
          <p:spPr>
            <a:xfrm>
              <a:off x="5323857" y="1311807"/>
              <a:ext cx="525913" cy="916693"/>
            </a:xfrm>
            <a:custGeom>
              <a:avLst/>
              <a:gdLst>
                <a:gd name="connsiteX0" fmla="*/ 525914 w 525913"/>
                <a:gd name="connsiteY0" fmla="*/ 907821 h 916693"/>
                <a:gd name="connsiteX1" fmla="*/ 520813 w 525913"/>
                <a:gd name="connsiteY1" fmla="*/ 916694 h 916693"/>
                <a:gd name="connsiteX2" fmla="*/ 0 w 525913"/>
                <a:gd name="connsiteY2" fmla="*/ 616002 h 916693"/>
                <a:gd name="connsiteX3" fmla="*/ 0 w 525913"/>
                <a:gd name="connsiteY3" fmla="*/ 0 h 916693"/>
                <a:gd name="connsiteX4" fmla="*/ 10237 w 525913"/>
                <a:gd name="connsiteY4" fmla="*/ 0 h 916693"/>
                <a:gd name="connsiteX5" fmla="*/ 10237 w 525913"/>
                <a:gd name="connsiteY5" fmla="*/ 610111 h 916693"/>
                <a:gd name="connsiteX6" fmla="*/ 525914 w 525913"/>
                <a:gd name="connsiteY6" fmla="*/ 907821 h 91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913" h="916693">
                  <a:moveTo>
                    <a:pt x="525914" y="907821"/>
                  </a:moveTo>
                  <a:lnTo>
                    <a:pt x="520813" y="916694"/>
                  </a:lnTo>
                  <a:lnTo>
                    <a:pt x="0" y="616002"/>
                  </a:lnTo>
                  <a:lnTo>
                    <a:pt x="0" y="0"/>
                  </a:lnTo>
                  <a:lnTo>
                    <a:pt x="10237" y="0"/>
                  </a:lnTo>
                  <a:lnTo>
                    <a:pt x="10237" y="610111"/>
                  </a:lnTo>
                  <a:lnTo>
                    <a:pt x="525914" y="907821"/>
                  </a:lnTo>
                  <a:close/>
                </a:path>
              </a:pathLst>
            </a:custGeom>
            <a:grpFill/>
            <a:ln w="359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843069D0-AD7E-0543-4F7D-4D7782F8445C}"/>
                </a:ext>
              </a:extLst>
            </p:cNvPr>
            <p:cNvSpPr/>
            <p:nvPr/>
          </p:nvSpPr>
          <p:spPr>
            <a:xfrm>
              <a:off x="5807000" y="2184534"/>
              <a:ext cx="77099" cy="77098"/>
            </a:xfrm>
            <a:custGeom>
              <a:avLst/>
              <a:gdLst>
                <a:gd name="connsiteX0" fmla="*/ 54261 w 77099"/>
                <a:gd name="connsiteY0" fmla="*/ 4927 h 77098"/>
                <a:gd name="connsiteX1" fmla="*/ 68379 w 77099"/>
                <a:gd name="connsiteY1" fmla="*/ 57579 h 77098"/>
                <a:gd name="connsiteX2" fmla="*/ 15718 w 77099"/>
                <a:gd name="connsiteY2" fmla="*/ 71682 h 77098"/>
                <a:gd name="connsiteX3" fmla="*/ 1601 w 77099"/>
                <a:gd name="connsiteY3" fmla="*/ 19044 h 77098"/>
                <a:gd name="connsiteX4" fmla="*/ 54261 w 77099"/>
                <a:gd name="connsiteY4" fmla="*/ 4920 h 77098"/>
                <a:gd name="connsiteX5" fmla="*/ 54261 w 77099"/>
                <a:gd name="connsiteY5" fmla="*/ 4927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9" h="77098">
                  <a:moveTo>
                    <a:pt x="54261" y="4927"/>
                  </a:moveTo>
                  <a:cubicBezTo>
                    <a:pt x="72688" y="15570"/>
                    <a:pt x="79011" y="39145"/>
                    <a:pt x="68379" y="57579"/>
                  </a:cubicBezTo>
                  <a:cubicBezTo>
                    <a:pt x="57709" y="76014"/>
                    <a:pt x="34145" y="82325"/>
                    <a:pt x="15718" y="71682"/>
                  </a:cubicBezTo>
                  <a:cubicBezTo>
                    <a:pt x="-2708" y="61038"/>
                    <a:pt x="-9031" y="37478"/>
                    <a:pt x="1601" y="19044"/>
                  </a:cubicBezTo>
                  <a:cubicBezTo>
                    <a:pt x="12233" y="606"/>
                    <a:pt x="35797" y="-5720"/>
                    <a:pt x="54261" y="4920"/>
                  </a:cubicBezTo>
                  <a:cubicBezTo>
                    <a:pt x="54261" y="4923"/>
                    <a:pt x="54261" y="4923"/>
                    <a:pt x="54261" y="4927"/>
                  </a:cubicBezTo>
                  <a:close/>
                </a:path>
              </a:pathLst>
            </a:custGeom>
            <a:grpFill/>
            <a:ln w="359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7C7BCE5D-4E98-808A-1E92-12E47F34ABBE}"/>
                </a:ext>
              </a:extLst>
            </p:cNvPr>
            <p:cNvSpPr/>
            <p:nvPr/>
          </p:nvSpPr>
          <p:spPr>
            <a:xfrm>
              <a:off x="5305824" y="1289823"/>
              <a:ext cx="46267" cy="46265"/>
            </a:xfrm>
            <a:custGeom>
              <a:avLst/>
              <a:gdLst>
                <a:gd name="connsiteX0" fmla="*/ 42707 w 46267"/>
                <a:gd name="connsiteY0" fmla="*/ 22887 h 46265"/>
                <a:gd name="connsiteX1" fmla="*/ 19572 w 46267"/>
                <a:gd name="connsiteY1" fmla="*/ -245 h 46265"/>
                <a:gd name="connsiteX2" fmla="*/ -3560 w 46267"/>
                <a:gd name="connsiteY2" fmla="*/ 22887 h 46265"/>
                <a:gd name="connsiteX3" fmla="*/ 19572 w 46267"/>
                <a:gd name="connsiteY3" fmla="*/ 46020 h 46265"/>
                <a:gd name="connsiteX4" fmla="*/ 42707 w 46267"/>
                <a:gd name="connsiteY4" fmla="*/ 22887 h 4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67" h="46265">
                  <a:moveTo>
                    <a:pt x="42707" y="22887"/>
                  </a:moveTo>
                  <a:cubicBezTo>
                    <a:pt x="42707" y="10110"/>
                    <a:pt x="32360" y="-245"/>
                    <a:pt x="19572" y="-245"/>
                  </a:cubicBezTo>
                  <a:cubicBezTo>
                    <a:pt x="6786" y="-245"/>
                    <a:pt x="-3560" y="10110"/>
                    <a:pt x="-3560" y="22887"/>
                  </a:cubicBezTo>
                  <a:cubicBezTo>
                    <a:pt x="-3560" y="35664"/>
                    <a:pt x="6786" y="46020"/>
                    <a:pt x="19572" y="46020"/>
                  </a:cubicBezTo>
                  <a:cubicBezTo>
                    <a:pt x="32360" y="46020"/>
                    <a:pt x="42707" y="35664"/>
                    <a:pt x="42707" y="22887"/>
                  </a:cubicBezTo>
                  <a:close/>
                </a:path>
              </a:pathLst>
            </a:custGeom>
            <a:grpFill/>
            <a:ln w="359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B6DCC880-C4EB-EE2A-0128-900FB06A5A6D}"/>
                </a:ext>
              </a:extLst>
            </p:cNvPr>
            <p:cNvSpPr/>
            <p:nvPr/>
          </p:nvSpPr>
          <p:spPr>
            <a:xfrm>
              <a:off x="5598362" y="2361442"/>
              <a:ext cx="557667" cy="1120183"/>
            </a:xfrm>
            <a:custGeom>
              <a:avLst/>
              <a:gdLst>
                <a:gd name="connsiteX0" fmla="*/ 557667 w 557667"/>
                <a:gd name="connsiteY0" fmla="*/ 318975 h 1120183"/>
                <a:gd name="connsiteX1" fmla="*/ 557667 w 557667"/>
                <a:gd name="connsiteY1" fmla="*/ 959942 h 1120183"/>
                <a:gd name="connsiteX2" fmla="*/ 280109 w 557667"/>
                <a:gd name="connsiteY2" fmla="*/ 1120184 h 1120183"/>
                <a:gd name="connsiteX3" fmla="*/ 274972 w 557667"/>
                <a:gd name="connsiteY3" fmla="*/ 1111276 h 1120183"/>
                <a:gd name="connsiteX4" fmla="*/ 547394 w 557667"/>
                <a:gd name="connsiteY4" fmla="*/ 954015 h 1120183"/>
                <a:gd name="connsiteX5" fmla="*/ 547394 w 557667"/>
                <a:gd name="connsiteY5" fmla="*/ 324902 h 1120183"/>
                <a:gd name="connsiteX6" fmla="*/ 0 w 557667"/>
                <a:gd name="connsiteY6" fmla="*/ 8872 h 1120183"/>
                <a:gd name="connsiteX7" fmla="*/ 5136 w 557667"/>
                <a:gd name="connsiteY7" fmla="*/ 0 h 1120183"/>
                <a:gd name="connsiteX8" fmla="*/ 557667 w 557667"/>
                <a:gd name="connsiteY8" fmla="*/ 318975 h 112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67" h="1120183">
                  <a:moveTo>
                    <a:pt x="557667" y="318975"/>
                  </a:moveTo>
                  <a:lnTo>
                    <a:pt x="557667" y="959942"/>
                  </a:lnTo>
                  <a:lnTo>
                    <a:pt x="280109" y="1120184"/>
                  </a:lnTo>
                  <a:lnTo>
                    <a:pt x="274972" y="1111276"/>
                  </a:lnTo>
                  <a:lnTo>
                    <a:pt x="547394" y="954015"/>
                  </a:lnTo>
                  <a:lnTo>
                    <a:pt x="547394" y="324902"/>
                  </a:lnTo>
                  <a:lnTo>
                    <a:pt x="0" y="8872"/>
                  </a:lnTo>
                  <a:lnTo>
                    <a:pt x="5136" y="0"/>
                  </a:lnTo>
                  <a:lnTo>
                    <a:pt x="557667" y="318975"/>
                  </a:lnTo>
                  <a:close/>
                </a:path>
              </a:pathLst>
            </a:custGeom>
            <a:grpFill/>
            <a:ln w="359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463409C3-2344-A538-5215-2CEEECA0AA62}"/>
                </a:ext>
              </a:extLst>
            </p:cNvPr>
            <p:cNvSpPr/>
            <p:nvPr/>
          </p:nvSpPr>
          <p:spPr>
            <a:xfrm>
              <a:off x="1914669" y="201824"/>
              <a:ext cx="525949" cy="1236817"/>
            </a:xfrm>
            <a:custGeom>
              <a:avLst/>
              <a:gdLst>
                <a:gd name="connsiteX0" fmla="*/ 525949 w 525949"/>
                <a:gd name="connsiteY0" fmla="*/ 300691 h 1236817"/>
                <a:gd name="connsiteX1" fmla="*/ 525949 w 525949"/>
                <a:gd name="connsiteY1" fmla="*/ 941623 h 1236817"/>
                <a:gd name="connsiteX2" fmla="*/ 14656 w 525949"/>
                <a:gd name="connsiteY2" fmla="*/ 1236818 h 1236817"/>
                <a:gd name="connsiteX3" fmla="*/ 9519 w 525949"/>
                <a:gd name="connsiteY3" fmla="*/ 1227946 h 1236817"/>
                <a:gd name="connsiteX4" fmla="*/ 515676 w 525949"/>
                <a:gd name="connsiteY4" fmla="*/ 935696 h 1236817"/>
                <a:gd name="connsiteX5" fmla="*/ 515676 w 525949"/>
                <a:gd name="connsiteY5" fmla="*/ 306582 h 1236817"/>
                <a:gd name="connsiteX6" fmla="*/ 0 w 525949"/>
                <a:gd name="connsiteY6" fmla="*/ 8872 h 1236817"/>
                <a:gd name="connsiteX7" fmla="*/ 5137 w 525949"/>
                <a:gd name="connsiteY7" fmla="*/ 0 h 1236817"/>
                <a:gd name="connsiteX8" fmla="*/ 525949 w 525949"/>
                <a:gd name="connsiteY8" fmla="*/ 300691 h 123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949" h="1236817">
                  <a:moveTo>
                    <a:pt x="525949" y="300691"/>
                  </a:moveTo>
                  <a:lnTo>
                    <a:pt x="525949" y="941623"/>
                  </a:lnTo>
                  <a:lnTo>
                    <a:pt x="14656" y="1236818"/>
                  </a:lnTo>
                  <a:lnTo>
                    <a:pt x="9519" y="1227946"/>
                  </a:lnTo>
                  <a:lnTo>
                    <a:pt x="515676" y="935696"/>
                  </a:lnTo>
                  <a:lnTo>
                    <a:pt x="515676" y="306582"/>
                  </a:lnTo>
                  <a:lnTo>
                    <a:pt x="0" y="8872"/>
                  </a:lnTo>
                  <a:lnTo>
                    <a:pt x="5137" y="0"/>
                  </a:lnTo>
                  <a:lnTo>
                    <a:pt x="525949" y="300691"/>
                  </a:lnTo>
                  <a:close/>
                </a:path>
              </a:pathLst>
            </a:custGeom>
            <a:grpFill/>
            <a:ln w="359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BD58DEE2-987B-FDB7-D875-71FA7B3D7886}"/>
                </a:ext>
              </a:extLst>
            </p:cNvPr>
            <p:cNvSpPr/>
            <p:nvPr/>
          </p:nvSpPr>
          <p:spPr>
            <a:xfrm>
              <a:off x="1880340" y="168656"/>
              <a:ext cx="77099" cy="77098"/>
            </a:xfrm>
            <a:custGeom>
              <a:avLst/>
              <a:gdLst>
                <a:gd name="connsiteX0" fmla="*/ 15719 w 77099"/>
                <a:gd name="connsiteY0" fmla="*/ 71681 h 77098"/>
                <a:gd name="connsiteX1" fmla="*/ 1601 w 77099"/>
                <a:gd name="connsiteY1" fmla="*/ 19028 h 77098"/>
                <a:gd name="connsiteX2" fmla="*/ 54261 w 77099"/>
                <a:gd name="connsiteY2" fmla="*/ 4926 h 77098"/>
                <a:gd name="connsiteX3" fmla="*/ 68378 w 77099"/>
                <a:gd name="connsiteY3" fmla="*/ 57564 h 77098"/>
                <a:gd name="connsiteX4" fmla="*/ 15719 w 77099"/>
                <a:gd name="connsiteY4" fmla="*/ 71688 h 77098"/>
                <a:gd name="connsiteX5" fmla="*/ 15719 w 77099"/>
                <a:gd name="connsiteY5" fmla="*/ 71681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9" h="77098">
                  <a:moveTo>
                    <a:pt x="15719" y="71681"/>
                  </a:moveTo>
                  <a:cubicBezTo>
                    <a:pt x="-2709" y="61038"/>
                    <a:pt x="-9031" y="37463"/>
                    <a:pt x="1601" y="19028"/>
                  </a:cubicBezTo>
                  <a:cubicBezTo>
                    <a:pt x="12269" y="594"/>
                    <a:pt x="35834" y="-5717"/>
                    <a:pt x="54261" y="4926"/>
                  </a:cubicBezTo>
                  <a:cubicBezTo>
                    <a:pt x="72688" y="15569"/>
                    <a:pt x="79010" y="39130"/>
                    <a:pt x="68378" y="57564"/>
                  </a:cubicBezTo>
                  <a:cubicBezTo>
                    <a:pt x="57746" y="76002"/>
                    <a:pt x="34181" y="82328"/>
                    <a:pt x="15719" y="71688"/>
                  </a:cubicBezTo>
                  <a:cubicBezTo>
                    <a:pt x="15719" y="71684"/>
                    <a:pt x="15719" y="71684"/>
                    <a:pt x="15719" y="71681"/>
                  </a:cubicBezTo>
                  <a:close/>
                </a:path>
              </a:pathLst>
            </a:custGeom>
            <a:grpFill/>
            <a:ln w="359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D621500F-378A-7123-C679-AB671521FDEC}"/>
                </a:ext>
              </a:extLst>
            </p:cNvPr>
            <p:cNvSpPr/>
            <p:nvPr/>
          </p:nvSpPr>
          <p:spPr>
            <a:xfrm rot="18067199">
              <a:off x="1878610" y="1382671"/>
              <a:ext cx="100218" cy="100218"/>
            </a:xfrm>
            <a:custGeom>
              <a:avLst/>
              <a:gdLst>
                <a:gd name="connsiteX0" fmla="*/ 96658 w 100218"/>
                <a:gd name="connsiteY0" fmla="*/ 49864 h 100218"/>
                <a:gd name="connsiteX1" fmla="*/ 46549 w 100218"/>
                <a:gd name="connsiteY1" fmla="*/ 99973 h 100218"/>
                <a:gd name="connsiteX2" fmla="*/ -3560 w 100218"/>
                <a:gd name="connsiteY2" fmla="*/ 49864 h 100218"/>
                <a:gd name="connsiteX3" fmla="*/ 46549 w 100218"/>
                <a:gd name="connsiteY3" fmla="*/ -245 h 100218"/>
                <a:gd name="connsiteX4" fmla="*/ 96658 w 100218"/>
                <a:gd name="connsiteY4" fmla="*/ 49864 h 100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8" h="100218">
                  <a:moveTo>
                    <a:pt x="96658" y="49864"/>
                  </a:moveTo>
                  <a:cubicBezTo>
                    <a:pt x="96658" y="77538"/>
                    <a:pt x="74223" y="99973"/>
                    <a:pt x="46549" y="99973"/>
                  </a:cubicBezTo>
                  <a:cubicBezTo>
                    <a:pt x="18875" y="99973"/>
                    <a:pt x="-3560" y="77539"/>
                    <a:pt x="-3560" y="49864"/>
                  </a:cubicBezTo>
                  <a:cubicBezTo>
                    <a:pt x="-3560" y="22189"/>
                    <a:pt x="18875" y="-245"/>
                    <a:pt x="46549" y="-245"/>
                  </a:cubicBezTo>
                  <a:cubicBezTo>
                    <a:pt x="74223" y="-245"/>
                    <a:pt x="96658" y="22189"/>
                    <a:pt x="96658" y="49864"/>
                  </a:cubicBezTo>
                  <a:close/>
                </a:path>
              </a:pathLst>
            </a:custGeom>
            <a:grpFill/>
            <a:ln w="359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4427A691-E2DF-DA78-186F-F945C09C62EE}"/>
                </a:ext>
              </a:extLst>
            </p:cNvPr>
            <p:cNvSpPr/>
            <p:nvPr/>
          </p:nvSpPr>
          <p:spPr>
            <a:xfrm rot="19799999">
              <a:off x="2117992" y="4193776"/>
              <a:ext cx="635039" cy="10237"/>
            </a:xfrm>
            <a:custGeom>
              <a:avLst/>
              <a:gdLst>
                <a:gd name="connsiteX0" fmla="*/ -3561 w 635039"/>
                <a:gd name="connsiteY0" fmla="*/ -245 h 10237"/>
                <a:gd name="connsiteX1" fmla="*/ 631479 w 635039"/>
                <a:gd name="connsiteY1" fmla="*/ -245 h 10237"/>
                <a:gd name="connsiteX2" fmla="*/ 631479 w 635039"/>
                <a:gd name="connsiteY2" fmla="*/ 9992 h 10237"/>
                <a:gd name="connsiteX3" fmla="*/ -3561 w 635039"/>
                <a:gd name="connsiteY3" fmla="*/ 9992 h 10237"/>
              </a:gdLst>
              <a:ahLst/>
              <a:cxnLst>
                <a:cxn ang="0">
                  <a:pos x="connsiteX0" y="connsiteY0"/>
                </a:cxn>
                <a:cxn ang="0">
                  <a:pos x="connsiteX1" y="connsiteY1"/>
                </a:cxn>
                <a:cxn ang="0">
                  <a:pos x="connsiteX2" y="connsiteY2"/>
                </a:cxn>
                <a:cxn ang="0">
                  <a:pos x="connsiteX3" y="connsiteY3"/>
                </a:cxn>
              </a:cxnLst>
              <a:rect l="l" t="t" r="r" b="b"/>
              <a:pathLst>
                <a:path w="635039" h="10237">
                  <a:moveTo>
                    <a:pt x="-3561" y="-245"/>
                  </a:moveTo>
                  <a:lnTo>
                    <a:pt x="631479" y="-245"/>
                  </a:lnTo>
                  <a:lnTo>
                    <a:pt x="631479" y="9992"/>
                  </a:lnTo>
                  <a:lnTo>
                    <a:pt x="-3561" y="9992"/>
                  </a:lnTo>
                  <a:close/>
                </a:path>
              </a:pathLst>
            </a:custGeom>
            <a:grpFill/>
            <a:ln w="359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775D9211-21B6-017A-F15F-F73CCC899BBA}"/>
                </a:ext>
              </a:extLst>
            </p:cNvPr>
            <p:cNvSpPr/>
            <p:nvPr/>
          </p:nvSpPr>
          <p:spPr>
            <a:xfrm rot="19799999">
              <a:off x="5089898" y="4901722"/>
              <a:ext cx="635039" cy="10237"/>
            </a:xfrm>
            <a:custGeom>
              <a:avLst/>
              <a:gdLst>
                <a:gd name="connsiteX0" fmla="*/ -3560 w 635039"/>
                <a:gd name="connsiteY0" fmla="*/ -246 h 10237"/>
                <a:gd name="connsiteX1" fmla="*/ 631480 w 635039"/>
                <a:gd name="connsiteY1" fmla="*/ -246 h 10237"/>
                <a:gd name="connsiteX2" fmla="*/ 631480 w 635039"/>
                <a:gd name="connsiteY2" fmla="*/ 9992 h 10237"/>
                <a:gd name="connsiteX3" fmla="*/ -3560 w 635039"/>
                <a:gd name="connsiteY3" fmla="*/ 9992 h 10237"/>
              </a:gdLst>
              <a:ahLst/>
              <a:cxnLst>
                <a:cxn ang="0">
                  <a:pos x="connsiteX0" y="connsiteY0"/>
                </a:cxn>
                <a:cxn ang="0">
                  <a:pos x="connsiteX1" y="connsiteY1"/>
                </a:cxn>
                <a:cxn ang="0">
                  <a:pos x="connsiteX2" y="connsiteY2"/>
                </a:cxn>
                <a:cxn ang="0">
                  <a:pos x="connsiteX3" y="connsiteY3"/>
                </a:cxn>
              </a:cxnLst>
              <a:rect l="l" t="t" r="r" b="b"/>
              <a:pathLst>
                <a:path w="635039" h="10237">
                  <a:moveTo>
                    <a:pt x="-3560" y="-246"/>
                  </a:moveTo>
                  <a:lnTo>
                    <a:pt x="631480" y="-246"/>
                  </a:lnTo>
                  <a:lnTo>
                    <a:pt x="631480" y="9992"/>
                  </a:lnTo>
                  <a:lnTo>
                    <a:pt x="-3560" y="9992"/>
                  </a:lnTo>
                  <a:close/>
                </a:path>
              </a:pathLst>
            </a:custGeom>
            <a:grpFill/>
            <a:ln w="359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1BF189FE-9072-2A7D-549E-99C3CB7183DB}"/>
                </a:ext>
              </a:extLst>
            </p:cNvPr>
            <p:cNvSpPr/>
            <p:nvPr/>
          </p:nvSpPr>
          <p:spPr>
            <a:xfrm rot="19799999">
              <a:off x="5756058" y="1312474"/>
              <a:ext cx="569125" cy="10237"/>
            </a:xfrm>
            <a:custGeom>
              <a:avLst/>
              <a:gdLst>
                <a:gd name="connsiteX0" fmla="*/ -3559 w 569125"/>
                <a:gd name="connsiteY0" fmla="*/ -245 h 10237"/>
                <a:gd name="connsiteX1" fmla="*/ 565566 w 569125"/>
                <a:gd name="connsiteY1" fmla="*/ -245 h 10237"/>
                <a:gd name="connsiteX2" fmla="*/ 565566 w 569125"/>
                <a:gd name="connsiteY2" fmla="*/ 9992 h 10237"/>
                <a:gd name="connsiteX3" fmla="*/ -3559 w 569125"/>
                <a:gd name="connsiteY3" fmla="*/ 9992 h 10237"/>
              </a:gdLst>
              <a:ahLst/>
              <a:cxnLst>
                <a:cxn ang="0">
                  <a:pos x="connsiteX0" y="connsiteY0"/>
                </a:cxn>
                <a:cxn ang="0">
                  <a:pos x="connsiteX1" y="connsiteY1"/>
                </a:cxn>
                <a:cxn ang="0">
                  <a:pos x="connsiteX2" y="connsiteY2"/>
                </a:cxn>
                <a:cxn ang="0">
                  <a:pos x="connsiteX3" y="connsiteY3"/>
                </a:cxn>
              </a:cxnLst>
              <a:rect l="l" t="t" r="r" b="b"/>
              <a:pathLst>
                <a:path w="569125" h="10237">
                  <a:moveTo>
                    <a:pt x="-3559" y="-245"/>
                  </a:moveTo>
                  <a:lnTo>
                    <a:pt x="565566" y="-245"/>
                  </a:lnTo>
                  <a:lnTo>
                    <a:pt x="565566" y="9992"/>
                  </a:lnTo>
                  <a:lnTo>
                    <a:pt x="-3559" y="9992"/>
                  </a:lnTo>
                  <a:close/>
                </a:path>
              </a:pathLst>
            </a:custGeom>
            <a:grpFill/>
            <a:ln w="359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5260C024-7B82-2F81-6ECF-02D021375AA4}"/>
                </a:ext>
              </a:extLst>
            </p:cNvPr>
            <p:cNvSpPr/>
            <p:nvPr/>
          </p:nvSpPr>
          <p:spPr>
            <a:xfrm>
              <a:off x="5757287" y="1420338"/>
              <a:ext cx="77105" cy="77097"/>
            </a:xfrm>
            <a:custGeom>
              <a:avLst/>
              <a:gdLst>
                <a:gd name="connsiteX0" fmla="*/ 54260 w 77105"/>
                <a:gd name="connsiteY0" fmla="*/ 71689 h 77097"/>
                <a:gd name="connsiteX1" fmla="*/ 1600 w 77105"/>
                <a:gd name="connsiteY1" fmla="*/ 57565 h 77097"/>
                <a:gd name="connsiteX2" fmla="*/ 15753 w 77105"/>
                <a:gd name="connsiteY2" fmla="*/ 4919 h 77097"/>
                <a:gd name="connsiteX3" fmla="*/ 68376 w 77105"/>
                <a:gd name="connsiteY3" fmla="*/ 19029 h 77097"/>
                <a:gd name="connsiteX4" fmla="*/ 54260 w 77105"/>
                <a:gd name="connsiteY4" fmla="*/ 71682 h 77097"/>
                <a:gd name="connsiteX5" fmla="*/ 54260 w 77105"/>
                <a:gd name="connsiteY5" fmla="*/ 71689 h 77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05" h="77097">
                  <a:moveTo>
                    <a:pt x="54260" y="71689"/>
                  </a:moveTo>
                  <a:cubicBezTo>
                    <a:pt x="35832" y="82325"/>
                    <a:pt x="12269" y="76003"/>
                    <a:pt x="1600" y="57565"/>
                  </a:cubicBezTo>
                  <a:cubicBezTo>
                    <a:pt x="-9032" y="39127"/>
                    <a:pt x="-2711" y="15556"/>
                    <a:pt x="15753" y="4919"/>
                  </a:cubicBezTo>
                  <a:cubicBezTo>
                    <a:pt x="34179" y="-5717"/>
                    <a:pt x="57744" y="602"/>
                    <a:pt x="68376" y="19029"/>
                  </a:cubicBezTo>
                  <a:cubicBezTo>
                    <a:pt x="79008" y="37464"/>
                    <a:pt x="72722" y="61035"/>
                    <a:pt x="54260" y="71682"/>
                  </a:cubicBezTo>
                  <a:cubicBezTo>
                    <a:pt x="54260" y="71685"/>
                    <a:pt x="54260" y="71685"/>
                    <a:pt x="54260" y="71689"/>
                  </a:cubicBezTo>
                  <a:close/>
                </a:path>
              </a:pathLst>
            </a:custGeom>
            <a:grpFill/>
            <a:ln w="359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E06C1CE2-8558-E18A-2EAC-F96B49FC79A0}"/>
                </a:ext>
              </a:extLst>
            </p:cNvPr>
            <p:cNvSpPr/>
            <p:nvPr/>
          </p:nvSpPr>
          <p:spPr>
            <a:xfrm>
              <a:off x="6255077" y="1145251"/>
              <a:ext cx="61636" cy="61649"/>
            </a:xfrm>
            <a:custGeom>
              <a:avLst/>
              <a:gdLst>
                <a:gd name="connsiteX0" fmla="*/ 42691 w 61636"/>
                <a:gd name="connsiteY0" fmla="*/ 57255 h 61649"/>
                <a:gd name="connsiteX1" fmla="*/ 53934 w 61636"/>
                <a:gd name="connsiteY1" fmla="*/ 15142 h 61649"/>
                <a:gd name="connsiteX2" fmla="*/ 11836 w 61636"/>
                <a:gd name="connsiteY2" fmla="*/ 3906 h 61649"/>
                <a:gd name="connsiteX3" fmla="*/ 556 w 61636"/>
                <a:gd name="connsiteY3" fmla="*/ 45976 h 61649"/>
                <a:gd name="connsiteX4" fmla="*/ 42656 w 61636"/>
                <a:gd name="connsiteY4" fmla="*/ 57276 h 61649"/>
                <a:gd name="connsiteX5" fmla="*/ 42691 w 61636"/>
                <a:gd name="connsiteY5" fmla="*/ 57255 h 6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36" h="61649">
                  <a:moveTo>
                    <a:pt x="42691" y="57255"/>
                  </a:moveTo>
                  <a:cubicBezTo>
                    <a:pt x="57419" y="48731"/>
                    <a:pt x="62448" y="29876"/>
                    <a:pt x="53934" y="15142"/>
                  </a:cubicBezTo>
                  <a:cubicBezTo>
                    <a:pt x="45420" y="410"/>
                    <a:pt x="26562" y="-4622"/>
                    <a:pt x="11836" y="3906"/>
                  </a:cubicBezTo>
                  <a:cubicBezTo>
                    <a:pt x="-2892" y="12419"/>
                    <a:pt x="-7920" y="31245"/>
                    <a:pt x="556" y="45976"/>
                  </a:cubicBezTo>
                  <a:cubicBezTo>
                    <a:pt x="9070" y="60721"/>
                    <a:pt x="27892" y="65782"/>
                    <a:pt x="42656" y="57276"/>
                  </a:cubicBezTo>
                  <a:cubicBezTo>
                    <a:pt x="42656" y="57269"/>
                    <a:pt x="42691" y="57262"/>
                    <a:pt x="42691" y="57255"/>
                  </a:cubicBezTo>
                  <a:close/>
                </a:path>
              </a:pathLst>
            </a:custGeom>
            <a:grpFill/>
            <a:ln w="359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1438B204-4822-B057-DA70-3AD74164DBE4}"/>
                </a:ext>
              </a:extLst>
            </p:cNvPr>
            <p:cNvSpPr/>
            <p:nvPr/>
          </p:nvSpPr>
          <p:spPr>
            <a:xfrm>
              <a:off x="2128900" y="1002063"/>
              <a:ext cx="525913" cy="916693"/>
            </a:xfrm>
            <a:custGeom>
              <a:avLst/>
              <a:gdLst>
                <a:gd name="connsiteX0" fmla="*/ 525913 w 525913"/>
                <a:gd name="connsiteY0" fmla="*/ 907821 h 916693"/>
                <a:gd name="connsiteX1" fmla="*/ 520813 w 525913"/>
                <a:gd name="connsiteY1" fmla="*/ 916694 h 916693"/>
                <a:gd name="connsiteX2" fmla="*/ 0 w 525913"/>
                <a:gd name="connsiteY2" fmla="*/ 616038 h 916693"/>
                <a:gd name="connsiteX3" fmla="*/ 0 w 525913"/>
                <a:gd name="connsiteY3" fmla="*/ 0 h 916693"/>
                <a:gd name="connsiteX4" fmla="*/ 10273 w 525913"/>
                <a:gd name="connsiteY4" fmla="*/ 0 h 916693"/>
                <a:gd name="connsiteX5" fmla="*/ 10273 w 525913"/>
                <a:gd name="connsiteY5" fmla="*/ 610111 h 916693"/>
                <a:gd name="connsiteX6" fmla="*/ 525913 w 525913"/>
                <a:gd name="connsiteY6" fmla="*/ 907821 h 91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913" h="916693">
                  <a:moveTo>
                    <a:pt x="525913" y="907821"/>
                  </a:moveTo>
                  <a:lnTo>
                    <a:pt x="520813" y="916694"/>
                  </a:lnTo>
                  <a:lnTo>
                    <a:pt x="0" y="616038"/>
                  </a:lnTo>
                  <a:lnTo>
                    <a:pt x="0" y="0"/>
                  </a:lnTo>
                  <a:lnTo>
                    <a:pt x="10273" y="0"/>
                  </a:lnTo>
                  <a:lnTo>
                    <a:pt x="10273" y="610111"/>
                  </a:lnTo>
                  <a:lnTo>
                    <a:pt x="525913" y="907821"/>
                  </a:lnTo>
                  <a:close/>
                </a:path>
              </a:pathLst>
            </a:custGeom>
            <a:grpFill/>
            <a:ln w="359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DA113ADC-5E9E-23F1-4FFA-68BBFBD2226A}"/>
                </a:ext>
              </a:extLst>
            </p:cNvPr>
            <p:cNvSpPr/>
            <p:nvPr/>
          </p:nvSpPr>
          <p:spPr>
            <a:xfrm>
              <a:off x="2611910" y="1874791"/>
              <a:ext cx="77113" cy="77125"/>
            </a:xfrm>
            <a:custGeom>
              <a:avLst/>
              <a:gdLst>
                <a:gd name="connsiteX0" fmla="*/ 54286 w 77113"/>
                <a:gd name="connsiteY0" fmla="*/ 4962 h 77125"/>
                <a:gd name="connsiteX1" fmla="*/ 68367 w 77113"/>
                <a:gd name="connsiteY1" fmla="*/ 57622 h 77125"/>
                <a:gd name="connsiteX2" fmla="*/ 15706 w 77113"/>
                <a:gd name="connsiteY2" fmla="*/ 71699 h 77125"/>
                <a:gd name="connsiteX3" fmla="*/ 1626 w 77113"/>
                <a:gd name="connsiteY3" fmla="*/ 19043 h 77125"/>
                <a:gd name="connsiteX4" fmla="*/ 54142 w 77113"/>
                <a:gd name="connsiteY4" fmla="*/ 4890 h 77125"/>
                <a:gd name="connsiteX5" fmla="*/ 54286 w 77113"/>
                <a:gd name="connsiteY5" fmla="*/ 4962 h 7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13" h="77125">
                  <a:moveTo>
                    <a:pt x="54286" y="4962"/>
                  </a:moveTo>
                  <a:cubicBezTo>
                    <a:pt x="72713" y="15616"/>
                    <a:pt x="79036" y="39191"/>
                    <a:pt x="68367" y="57622"/>
                  </a:cubicBezTo>
                  <a:cubicBezTo>
                    <a:pt x="57699" y="76049"/>
                    <a:pt x="34135" y="82353"/>
                    <a:pt x="15706" y="71699"/>
                  </a:cubicBezTo>
                  <a:cubicBezTo>
                    <a:pt x="-2720" y="61045"/>
                    <a:pt x="-9042" y="37470"/>
                    <a:pt x="1626" y="19043"/>
                  </a:cubicBezTo>
                  <a:cubicBezTo>
                    <a:pt x="12223" y="626"/>
                    <a:pt x="35750" y="-5710"/>
                    <a:pt x="54142" y="4890"/>
                  </a:cubicBezTo>
                  <a:cubicBezTo>
                    <a:pt x="54214" y="4912"/>
                    <a:pt x="54251" y="4937"/>
                    <a:pt x="54286" y="4962"/>
                  </a:cubicBezTo>
                  <a:close/>
                </a:path>
              </a:pathLst>
            </a:custGeom>
            <a:grpFill/>
            <a:ln w="359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1DB438A8-2BA2-148F-A349-076603411168}"/>
                </a:ext>
              </a:extLst>
            </p:cNvPr>
            <p:cNvSpPr/>
            <p:nvPr/>
          </p:nvSpPr>
          <p:spPr>
            <a:xfrm>
              <a:off x="2110867" y="980080"/>
              <a:ext cx="46266" cy="46265"/>
            </a:xfrm>
            <a:custGeom>
              <a:avLst/>
              <a:gdLst>
                <a:gd name="connsiteX0" fmla="*/ 42706 w 46266"/>
                <a:gd name="connsiteY0" fmla="*/ 22887 h 46265"/>
                <a:gd name="connsiteX1" fmla="*/ 19573 w 46266"/>
                <a:gd name="connsiteY1" fmla="*/ -245 h 46265"/>
                <a:gd name="connsiteX2" fmla="*/ -3560 w 46266"/>
                <a:gd name="connsiteY2" fmla="*/ 22887 h 46265"/>
                <a:gd name="connsiteX3" fmla="*/ 19573 w 46266"/>
                <a:gd name="connsiteY3" fmla="*/ 46020 h 46265"/>
                <a:gd name="connsiteX4" fmla="*/ 42706 w 46266"/>
                <a:gd name="connsiteY4" fmla="*/ 22887 h 4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66" h="46265">
                  <a:moveTo>
                    <a:pt x="42706" y="22887"/>
                  </a:moveTo>
                  <a:cubicBezTo>
                    <a:pt x="42706" y="10111"/>
                    <a:pt x="32360" y="-245"/>
                    <a:pt x="19573" y="-245"/>
                  </a:cubicBezTo>
                  <a:cubicBezTo>
                    <a:pt x="6785" y="-245"/>
                    <a:pt x="-3560" y="10111"/>
                    <a:pt x="-3560" y="22887"/>
                  </a:cubicBezTo>
                  <a:cubicBezTo>
                    <a:pt x="-3560" y="35664"/>
                    <a:pt x="6785" y="46020"/>
                    <a:pt x="19573" y="46020"/>
                  </a:cubicBezTo>
                  <a:cubicBezTo>
                    <a:pt x="32360" y="46020"/>
                    <a:pt x="42706" y="35664"/>
                    <a:pt x="42706" y="22887"/>
                  </a:cubicBezTo>
                  <a:close/>
                </a:path>
              </a:pathLst>
            </a:custGeom>
            <a:grpFill/>
            <a:ln w="359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6607C713-5989-946D-5441-1A341713DC39}"/>
                </a:ext>
              </a:extLst>
            </p:cNvPr>
            <p:cNvSpPr/>
            <p:nvPr/>
          </p:nvSpPr>
          <p:spPr>
            <a:xfrm>
              <a:off x="2937724" y="676479"/>
              <a:ext cx="525949" cy="1236818"/>
            </a:xfrm>
            <a:custGeom>
              <a:avLst/>
              <a:gdLst>
                <a:gd name="connsiteX0" fmla="*/ 525949 w 525949"/>
                <a:gd name="connsiteY0" fmla="*/ 300655 h 1236818"/>
                <a:gd name="connsiteX1" fmla="*/ 525949 w 525949"/>
                <a:gd name="connsiteY1" fmla="*/ 941623 h 1236818"/>
                <a:gd name="connsiteX2" fmla="*/ 14656 w 525949"/>
                <a:gd name="connsiteY2" fmla="*/ 1236818 h 1236818"/>
                <a:gd name="connsiteX3" fmla="*/ 9519 w 525949"/>
                <a:gd name="connsiteY3" fmla="*/ 1227910 h 1236818"/>
                <a:gd name="connsiteX4" fmla="*/ 515676 w 525949"/>
                <a:gd name="connsiteY4" fmla="*/ 935696 h 1236818"/>
                <a:gd name="connsiteX5" fmla="*/ 515676 w 525949"/>
                <a:gd name="connsiteY5" fmla="*/ 306582 h 1236818"/>
                <a:gd name="connsiteX6" fmla="*/ 0 w 525949"/>
                <a:gd name="connsiteY6" fmla="*/ 8872 h 1236818"/>
                <a:gd name="connsiteX7" fmla="*/ 5137 w 525949"/>
                <a:gd name="connsiteY7" fmla="*/ 0 h 1236818"/>
                <a:gd name="connsiteX8" fmla="*/ 525949 w 525949"/>
                <a:gd name="connsiteY8" fmla="*/ 300655 h 123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949" h="1236818">
                  <a:moveTo>
                    <a:pt x="525949" y="300655"/>
                  </a:moveTo>
                  <a:lnTo>
                    <a:pt x="525949" y="941623"/>
                  </a:lnTo>
                  <a:lnTo>
                    <a:pt x="14656" y="1236818"/>
                  </a:lnTo>
                  <a:lnTo>
                    <a:pt x="9519" y="1227910"/>
                  </a:lnTo>
                  <a:lnTo>
                    <a:pt x="515676" y="935696"/>
                  </a:lnTo>
                  <a:lnTo>
                    <a:pt x="515676" y="306582"/>
                  </a:lnTo>
                  <a:lnTo>
                    <a:pt x="0" y="8872"/>
                  </a:lnTo>
                  <a:lnTo>
                    <a:pt x="5137" y="0"/>
                  </a:lnTo>
                  <a:lnTo>
                    <a:pt x="525949" y="300655"/>
                  </a:lnTo>
                  <a:close/>
                </a:path>
              </a:pathLst>
            </a:custGeom>
            <a:grpFill/>
            <a:ln w="359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1144EBA2-D9E0-21F2-F5E6-9C73A07F828F}"/>
                </a:ext>
              </a:extLst>
            </p:cNvPr>
            <p:cNvSpPr/>
            <p:nvPr/>
          </p:nvSpPr>
          <p:spPr>
            <a:xfrm>
              <a:off x="2903395" y="643311"/>
              <a:ext cx="77098" cy="77098"/>
            </a:xfrm>
            <a:custGeom>
              <a:avLst/>
              <a:gdLst>
                <a:gd name="connsiteX0" fmla="*/ 15719 w 77098"/>
                <a:gd name="connsiteY0" fmla="*/ 71681 h 77098"/>
                <a:gd name="connsiteX1" fmla="*/ 1601 w 77098"/>
                <a:gd name="connsiteY1" fmla="*/ 19028 h 77098"/>
                <a:gd name="connsiteX2" fmla="*/ 54261 w 77098"/>
                <a:gd name="connsiteY2" fmla="*/ 4926 h 77098"/>
                <a:gd name="connsiteX3" fmla="*/ 68377 w 77098"/>
                <a:gd name="connsiteY3" fmla="*/ 57564 h 77098"/>
                <a:gd name="connsiteX4" fmla="*/ 15719 w 77098"/>
                <a:gd name="connsiteY4" fmla="*/ 71688 h 77098"/>
                <a:gd name="connsiteX5" fmla="*/ 15719 w 77098"/>
                <a:gd name="connsiteY5" fmla="*/ 71681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8" h="77098">
                  <a:moveTo>
                    <a:pt x="15719" y="71681"/>
                  </a:moveTo>
                  <a:cubicBezTo>
                    <a:pt x="-2710" y="61038"/>
                    <a:pt x="-9031" y="37463"/>
                    <a:pt x="1601" y="19028"/>
                  </a:cubicBezTo>
                  <a:cubicBezTo>
                    <a:pt x="12271" y="594"/>
                    <a:pt x="35833" y="-5717"/>
                    <a:pt x="54261" y="4926"/>
                  </a:cubicBezTo>
                  <a:cubicBezTo>
                    <a:pt x="72688" y="15569"/>
                    <a:pt x="79010" y="39130"/>
                    <a:pt x="68377" y="57564"/>
                  </a:cubicBezTo>
                  <a:cubicBezTo>
                    <a:pt x="57745" y="76002"/>
                    <a:pt x="34181" y="82328"/>
                    <a:pt x="15719" y="71688"/>
                  </a:cubicBezTo>
                  <a:cubicBezTo>
                    <a:pt x="15719" y="71684"/>
                    <a:pt x="15719" y="71684"/>
                    <a:pt x="15719" y="71681"/>
                  </a:cubicBezTo>
                  <a:close/>
                </a:path>
              </a:pathLst>
            </a:custGeom>
            <a:grpFill/>
            <a:ln w="359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D51F3443-84CB-6195-E696-6C0FBD79D134}"/>
                </a:ext>
              </a:extLst>
            </p:cNvPr>
            <p:cNvSpPr/>
            <p:nvPr/>
          </p:nvSpPr>
          <p:spPr>
            <a:xfrm>
              <a:off x="2901817" y="1857471"/>
              <a:ext cx="100237" cy="100248"/>
            </a:xfrm>
            <a:custGeom>
              <a:avLst/>
              <a:gdLst>
                <a:gd name="connsiteX0" fmla="*/ 21534 w 100237"/>
                <a:gd name="connsiteY0" fmla="*/ 6477 h 100248"/>
                <a:gd name="connsiteX1" fmla="*/ 3144 w 100237"/>
                <a:gd name="connsiteY1" fmla="*/ 74916 h 100248"/>
                <a:gd name="connsiteX2" fmla="*/ 71607 w 100237"/>
                <a:gd name="connsiteY2" fmla="*/ 93293 h 100248"/>
                <a:gd name="connsiteX3" fmla="*/ 89964 w 100237"/>
                <a:gd name="connsiteY3" fmla="*/ 24854 h 100248"/>
                <a:gd name="connsiteX4" fmla="*/ 89964 w 100237"/>
                <a:gd name="connsiteY4" fmla="*/ 24832 h 100248"/>
                <a:gd name="connsiteX5" fmla="*/ 21571 w 100237"/>
                <a:gd name="connsiteY5" fmla="*/ 6452 h 100248"/>
                <a:gd name="connsiteX6" fmla="*/ 21534 w 100237"/>
                <a:gd name="connsiteY6" fmla="*/ 6477 h 100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237" h="100248">
                  <a:moveTo>
                    <a:pt x="21534" y="6477"/>
                  </a:moveTo>
                  <a:cubicBezTo>
                    <a:pt x="-2425" y="20303"/>
                    <a:pt x="-10686" y="50943"/>
                    <a:pt x="3144" y="74916"/>
                  </a:cubicBezTo>
                  <a:cubicBezTo>
                    <a:pt x="16972" y="98893"/>
                    <a:pt x="47613" y="107119"/>
                    <a:pt x="71607" y="93293"/>
                  </a:cubicBezTo>
                  <a:cubicBezTo>
                    <a:pt x="95568" y="79471"/>
                    <a:pt x="103794" y="48827"/>
                    <a:pt x="89964" y="24854"/>
                  </a:cubicBezTo>
                  <a:cubicBezTo>
                    <a:pt x="89964" y="24846"/>
                    <a:pt x="89964" y="24839"/>
                    <a:pt x="89964" y="24832"/>
                  </a:cubicBezTo>
                  <a:cubicBezTo>
                    <a:pt x="76169" y="873"/>
                    <a:pt x="45530" y="-7356"/>
                    <a:pt x="21571" y="6452"/>
                  </a:cubicBezTo>
                  <a:cubicBezTo>
                    <a:pt x="21571" y="6462"/>
                    <a:pt x="21534" y="6470"/>
                    <a:pt x="21534" y="6477"/>
                  </a:cubicBezTo>
                  <a:close/>
                </a:path>
              </a:pathLst>
            </a:custGeom>
            <a:grpFill/>
            <a:ln w="359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88923236-5075-FC7E-080E-416F46185949}"/>
                </a:ext>
              </a:extLst>
            </p:cNvPr>
            <p:cNvSpPr/>
            <p:nvPr/>
          </p:nvSpPr>
          <p:spPr>
            <a:xfrm rot="19799999">
              <a:off x="2227667" y="717950"/>
              <a:ext cx="569125" cy="10237"/>
            </a:xfrm>
            <a:custGeom>
              <a:avLst/>
              <a:gdLst>
                <a:gd name="connsiteX0" fmla="*/ -3560 w 569125"/>
                <a:gd name="connsiteY0" fmla="*/ -245 h 10237"/>
                <a:gd name="connsiteX1" fmla="*/ 565566 w 569125"/>
                <a:gd name="connsiteY1" fmla="*/ -245 h 10237"/>
                <a:gd name="connsiteX2" fmla="*/ 565566 w 569125"/>
                <a:gd name="connsiteY2" fmla="*/ 9992 h 10237"/>
                <a:gd name="connsiteX3" fmla="*/ -3560 w 569125"/>
                <a:gd name="connsiteY3" fmla="*/ 9992 h 10237"/>
              </a:gdLst>
              <a:ahLst/>
              <a:cxnLst>
                <a:cxn ang="0">
                  <a:pos x="connsiteX0" y="connsiteY0"/>
                </a:cxn>
                <a:cxn ang="0">
                  <a:pos x="connsiteX1" y="connsiteY1"/>
                </a:cxn>
                <a:cxn ang="0">
                  <a:pos x="connsiteX2" y="connsiteY2"/>
                </a:cxn>
                <a:cxn ang="0">
                  <a:pos x="connsiteX3" y="connsiteY3"/>
                </a:cxn>
              </a:cxnLst>
              <a:rect l="l" t="t" r="r" b="b"/>
              <a:pathLst>
                <a:path w="569125" h="10237">
                  <a:moveTo>
                    <a:pt x="-3560" y="-245"/>
                  </a:moveTo>
                  <a:lnTo>
                    <a:pt x="565566" y="-245"/>
                  </a:lnTo>
                  <a:lnTo>
                    <a:pt x="565566" y="9992"/>
                  </a:lnTo>
                  <a:lnTo>
                    <a:pt x="-3560" y="9992"/>
                  </a:lnTo>
                  <a:close/>
                </a:path>
              </a:pathLst>
            </a:custGeom>
            <a:grpFill/>
            <a:ln w="359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2FEFE9BE-F227-95A3-CB3F-0EA3DFBA2DE0}"/>
                </a:ext>
              </a:extLst>
            </p:cNvPr>
            <p:cNvSpPr/>
            <p:nvPr/>
          </p:nvSpPr>
          <p:spPr>
            <a:xfrm>
              <a:off x="2228914" y="825825"/>
              <a:ext cx="77098" cy="77098"/>
            </a:xfrm>
            <a:custGeom>
              <a:avLst/>
              <a:gdLst>
                <a:gd name="connsiteX0" fmla="*/ 54261 w 77098"/>
                <a:gd name="connsiteY0" fmla="*/ 71680 h 77098"/>
                <a:gd name="connsiteX1" fmla="*/ 1601 w 77098"/>
                <a:gd name="connsiteY1" fmla="*/ 57581 h 77098"/>
                <a:gd name="connsiteX2" fmla="*/ 15719 w 77098"/>
                <a:gd name="connsiteY2" fmla="*/ 4928 h 77098"/>
                <a:gd name="connsiteX3" fmla="*/ 68377 w 77098"/>
                <a:gd name="connsiteY3" fmla="*/ 19027 h 77098"/>
                <a:gd name="connsiteX4" fmla="*/ 68377 w 77098"/>
                <a:gd name="connsiteY4" fmla="*/ 19056 h 77098"/>
                <a:gd name="connsiteX5" fmla="*/ 54261 w 77098"/>
                <a:gd name="connsiteY5" fmla="*/ 71680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8" h="77098">
                  <a:moveTo>
                    <a:pt x="54261" y="71680"/>
                  </a:moveTo>
                  <a:cubicBezTo>
                    <a:pt x="35835" y="82327"/>
                    <a:pt x="12271" y="76012"/>
                    <a:pt x="1601" y="57581"/>
                  </a:cubicBezTo>
                  <a:cubicBezTo>
                    <a:pt x="-9031" y="39146"/>
                    <a:pt x="-2710" y="15572"/>
                    <a:pt x="15719" y="4928"/>
                  </a:cubicBezTo>
                  <a:cubicBezTo>
                    <a:pt x="34146" y="-5718"/>
                    <a:pt x="57710" y="593"/>
                    <a:pt x="68377" y="19027"/>
                  </a:cubicBezTo>
                  <a:cubicBezTo>
                    <a:pt x="68377" y="19038"/>
                    <a:pt x="68377" y="19045"/>
                    <a:pt x="68377" y="19056"/>
                  </a:cubicBezTo>
                  <a:cubicBezTo>
                    <a:pt x="79010" y="37487"/>
                    <a:pt x="72688" y="61040"/>
                    <a:pt x="54261" y="71680"/>
                  </a:cubicBezTo>
                  <a:close/>
                </a:path>
              </a:pathLst>
            </a:custGeom>
            <a:grpFill/>
            <a:ln w="359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5EBD6FA4-CE27-61B1-AFBA-72D64D578233}"/>
                </a:ext>
              </a:extLst>
            </p:cNvPr>
            <p:cNvSpPr/>
            <p:nvPr/>
          </p:nvSpPr>
          <p:spPr>
            <a:xfrm>
              <a:off x="2726509" y="550751"/>
              <a:ext cx="61643" cy="61635"/>
            </a:xfrm>
            <a:custGeom>
              <a:avLst/>
              <a:gdLst>
                <a:gd name="connsiteX0" fmla="*/ 42671 w 61643"/>
                <a:gd name="connsiteY0" fmla="*/ 57270 h 61635"/>
                <a:gd name="connsiteX1" fmla="*/ 53950 w 61643"/>
                <a:gd name="connsiteY1" fmla="*/ 15171 h 61635"/>
                <a:gd name="connsiteX2" fmla="*/ 11851 w 61643"/>
                <a:gd name="connsiteY2" fmla="*/ 3888 h 61635"/>
                <a:gd name="connsiteX3" fmla="*/ 573 w 61643"/>
                <a:gd name="connsiteY3" fmla="*/ 45987 h 61635"/>
                <a:gd name="connsiteX4" fmla="*/ 573 w 61643"/>
                <a:gd name="connsiteY4" fmla="*/ 45991 h 61635"/>
                <a:gd name="connsiteX5" fmla="*/ 42671 w 61643"/>
                <a:gd name="connsiteY5" fmla="*/ 57270 h 61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43" h="61635">
                  <a:moveTo>
                    <a:pt x="42671" y="57270"/>
                  </a:moveTo>
                  <a:cubicBezTo>
                    <a:pt x="57399" y="48760"/>
                    <a:pt x="62464" y="29909"/>
                    <a:pt x="53950" y="15171"/>
                  </a:cubicBezTo>
                  <a:cubicBezTo>
                    <a:pt x="45437" y="429"/>
                    <a:pt x="26578" y="-4622"/>
                    <a:pt x="11851" y="3888"/>
                  </a:cubicBezTo>
                  <a:cubicBezTo>
                    <a:pt x="-2875" y="12398"/>
                    <a:pt x="-7941" y="31245"/>
                    <a:pt x="573" y="45987"/>
                  </a:cubicBezTo>
                  <a:cubicBezTo>
                    <a:pt x="573" y="45991"/>
                    <a:pt x="573" y="45991"/>
                    <a:pt x="573" y="45991"/>
                  </a:cubicBezTo>
                  <a:cubicBezTo>
                    <a:pt x="9085" y="60714"/>
                    <a:pt x="27943" y="65758"/>
                    <a:pt x="42671" y="57270"/>
                  </a:cubicBezTo>
                  <a:close/>
                </a:path>
              </a:pathLst>
            </a:custGeom>
            <a:grpFill/>
            <a:ln w="359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E17BE9ED-FD15-E73E-0165-E9570B9D2D5C}"/>
                </a:ext>
              </a:extLst>
            </p:cNvPr>
            <p:cNvSpPr/>
            <p:nvPr/>
          </p:nvSpPr>
          <p:spPr>
            <a:xfrm>
              <a:off x="1712400" y="2957509"/>
              <a:ext cx="1110161" cy="958433"/>
            </a:xfrm>
            <a:custGeom>
              <a:avLst/>
              <a:gdLst>
                <a:gd name="connsiteX0" fmla="*/ 1110162 w 1110161"/>
                <a:gd name="connsiteY0" fmla="*/ 255755 h 958433"/>
                <a:gd name="connsiteX1" fmla="*/ 1110162 w 1110161"/>
                <a:gd name="connsiteY1" fmla="*/ 637986 h 958433"/>
                <a:gd name="connsiteX2" fmla="*/ 555081 w 1110161"/>
                <a:gd name="connsiteY2" fmla="*/ 958433 h 958433"/>
                <a:gd name="connsiteX3" fmla="*/ 0 w 1110161"/>
                <a:gd name="connsiteY3" fmla="*/ 637986 h 958433"/>
                <a:gd name="connsiteX4" fmla="*/ 0 w 1110161"/>
                <a:gd name="connsiteY4" fmla="*/ 0 h 958433"/>
                <a:gd name="connsiteX5" fmla="*/ 10273 w 1110161"/>
                <a:gd name="connsiteY5" fmla="*/ 0 h 958433"/>
                <a:gd name="connsiteX6" fmla="*/ 10273 w 1110161"/>
                <a:gd name="connsiteY6" fmla="*/ 632059 h 958433"/>
                <a:gd name="connsiteX7" fmla="*/ 555081 w 1110161"/>
                <a:gd name="connsiteY7" fmla="*/ 946616 h 958433"/>
                <a:gd name="connsiteX8" fmla="*/ 1099889 w 1110161"/>
                <a:gd name="connsiteY8" fmla="*/ 632059 h 958433"/>
                <a:gd name="connsiteX9" fmla="*/ 1099889 w 1110161"/>
                <a:gd name="connsiteY9" fmla="*/ 255755 h 958433"/>
                <a:gd name="connsiteX10" fmla="*/ 1110162 w 1110161"/>
                <a:gd name="connsiteY10" fmla="*/ 255755 h 958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61" h="958433">
                  <a:moveTo>
                    <a:pt x="1110162" y="255755"/>
                  </a:moveTo>
                  <a:lnTo>
                    <a:pt x="1110162" y="637986"/>
                  </a:lnTo>
                  <a:lnTo>
                    <a:pt x="555081" y="958433"/>
                  </a:lnTo>
                  <a:lnTo>
                    <a:pt x="0" y="637986"/>
                  </a:lnTo>
                  <a:lnTo>
                    <a:pt x="0" y="0"/>
                  </a:lnTo>
                  <a:lnTo>
                    <a:pt x="10273" y="0"/>
                  </a:lnTo>
                  <a:lnTo>
                    <a:pt x="10273" y="632059"/>
                  </a:lnTo>
                  <a:lnTo>
                    <a:pt x="555081" y="946616"/>
                  </a:lnTo>
                  <a:lnTo>
                    <a:pt x="1099889" y="632059"/>
                  </a:lnTo>
                  <a:lnTo>
                    <a:pt x="1099889" y="255755"/>
                  </a:lnTo>
                  <a:lnTo>
                    <a:pt x="1110162" y="255755"/>
                  </a:lnTo>
                  <a:close/>
                </a:path>
              </a:pathLst>
            </a:custGeom>
            <a:grpFill/>
            <a:ln w="359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15126BB4-D75A-B366-E14D-20806DBBC062}"/>
                </a:ext>
              </a:extLst>
            </p:cNvPr>
            <p:cNvSpPr/>
            <p:nvPr/>
          </p:nvSpPr>
          <p:spPr>
            <a:xfrm>
              <a:off x="6346875" y="2037475"/>
              <a:ext cx="1794664" cy="1549434"/>
            </a:xfrm>
            <a:custGeom>
              <a:avLst/>
              <a:gdLst>
                <a:gd name="connsiteX0" fmla="*/ 1794664 w 1794664"/>
                <a:gd name="connsiteY0" fmla="*/ 502242 h 1549434"/>
                <a:gd name="connsiteX1" fmla="*/ 1794664 w 1794664"/>
                <a:gd name="connsiteY1" fmla="*/ 1031352 h 1549434"/>
                <a:gd name="connsiteX2" fmla="*/ 1790498 w 1794664"/>
                <a:gd name="connsiteY2" fmla="*/ 1033723 h 1549434"/>
                <a:gd name="connsiteX3" fmla="*/ 897332 w 1794664"/>
                <a:gd name="connsiteY3" fmla="*/ 1549435 h 1549434"/>
                <a:gd name="connsiteX4" fmla="*/ 893202 w 1794664"/>
                <a:gd name="connsiteY4" fmla="*/ 1547028 h 1549434"/>
                <a:gd name="connsiteX5" fmla="*/ 0 w 1794664"/>
                <a:gd name="connsiteY5" fmla="*/ 1031352 h 1549434"/>
                <a:gd name="connsiteX6" fmla="*/ 0 w 1794664"/>
                <a:gd name="connsiteY6" fmla="*/ 0 h 1549434"/>
                <a:gd name="connsiteX7" fmla="*/ 16595 w 1794664"/>
                <a:gd name="connsiteY7" fmla="*/ 0 h 1549434"/>
                <a:gd name="connsiteX8" fmla="*/ 16595 w 1794664"/>
                <a:gd name="connsiteY8" fmla="*/ 1021797 h 1549434"/>
                <a:gd name="connsiteX9" fmla="*/ 897332 w 1794664"/>
                <a:gd name="connsiteY9" fmla="*/ 1530289 h 1549434"/>
                <a:gd name="connsiteX10" fmla="*/ 1778069 w 1794664"/>
                <a:gd name="connsiteY10" fmla="*/ 1021797 h 1549434"/>
                <a:gd name="connsiteX11" fmla="*/ 1778069 w 1794664"/>
                <a:gd name="connsiteY11" fmla="*/ 502242 h 1549434"/>
                <a:gd name="connsiteX12" fmla="*/ 1794664 w 1794664"/>
                <a:gd name="connsiteY12" fmla="*/ 502242 h 154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4664" h="1549434">
                  <a:moveTo>
                    <a:pt x="1794664" y="502242"/>
                  </a:moveTo>
                  <a:lnTo>
                    <a:pt x="1794664" y="1031352"/>
                  </a:lnTo>
                  <a:lnTo>
                    <a:pt x="1790498" y="1033723"/>
                  </a:lnTo>
                  <a:lnTo>
                    <a:pt x="897332" y="1549435"/>
                  </a:lnTo>
                  <a:lnTo>
                    <a:pt x="893202" y="1547028"/>
                  </a:lnTo>
                  <a:lnTo>
                    <a:pt x="0" y="1031352"/>
                  </a:lnTo>
                  <a:lnTo>
                    <a:pt x="0" y="0"/>
                  </a:lnTo>
                  <a:lnTo>
                    <a:pt x="16595" y="0"/>
                  </a:lnTo>
                  <a:lnTo>
                    <a:pt x="16595" y="1021797"/>
                  </a:lnTo>
                  <a:lnTo>
                    <a:pt x="897332" y="1530289"/>
                  </a:lnTo>
                  <a:lnTo>
                    <a:pt x="1778069" y="1021797"/>
                  </a:lnTo>
                  <a:lnTo>
                    <a:pt x="1778069" y="502242"/>
                  </a:lnTo>
                  <a:lnTo>
                    <a:pt x="1794664" y="502242"/>
                  </a:lnTo>
                  <a:close/>
                </a:path>
              </a:pathLst>
            </a:custGeom>
            <a:grpFill/>
            <a:ln w="359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B262AA50-8D62-357C-3DDF-9D66851E2455}"/>
                </a:ext>
              </a:extLst>
            </p:cNvPr>
            <p:cNvSpPr/>
            <p:nvPr/>
          </p:nvSpPr>
          <p:spPr>
            <a:xfrm>
              <a:off x="8039885" y="2450992"/>
              <a:ext cx="186787" cy="186787"/>
            </a:xfrm>
            <a:custGeom>
              <a:avLst/>
              <a:gdLst>
                <a:gd name="connsiteX0" fmla="*/ -3560 w 186787"/>
                <a:gd name="connsiteY0" fmla="*/ 93148 h 186787"/>
                <a:gd name="connsiteX1" fmla="*/ 89833 w 186787"/>
                <a:gd name="connsiteY1" fmla="*/ -245 h 186787"/>
                <a:gd name="connsiteX2" fmla="*/ 183227 w 186787"/>
                <a:gd name="connsiteY2" fmla="*/ 93148 h 186787"/>
                <a:gd name="connsiteX3" fmla="*/ 89833 w 186787"/>
                <a:gd name="connsiteY3" fmla="*/ 186542 h 186787"/>
                <a:gd name="connsiteX4" fmla="*/ -3560 w 186787"/>
                <a:gd name="connsiteY4" fmla="*/ 93148 h 186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787" h="186787">
                  <a:moveTo>
                    <a:pt x="-3560" y="93148"/>
                  </a:moveTo>
                  <a:cubicBezTo>
                    <a:pt x="-3560" y="41570"/>
                    <a:pt x="38252" y="-245"/>
                    <a:pt x="89833" y="-245"/>
                  </a:cubicBezTo>
                  <a:cubicBezTo>
                    <a:pt x="141415" y="-245"/>
                    <a:pt x="183227" y="41570"/>
                    <a:pt x="183227" y="93148"/>
                  </a:cubicBezTo>
                  <a:cubicBezTo>
                    <a:pt x="183227" y="144727"/>
                    <a:pt x="141415" y="186542"/>
                    <a:pt x="89833" y="186542"/>
                  </a:cubicBezTo>
                  <a:cubicBezTo>
                    <a:pt x="38252" y="186542"/>
                    <a:pt x="-3560" y="144727"/>
                    <a:pt x="-3560" y="93148"/>
                  </a:cubicBezTo>
                  <a:close/>
                </a:path>
              </a:pathLst>
            </a:custGeom>
            <a:grpFill/>
            <a:ln w="359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F78CCCC3-05A9-C43A-27F0-EA437C35C673}"/>
                </a:ext>
              </a:extLst>
            </p:cNvPr>
            <p:cNvSpPr/>
            <p:nvPr/>
          </p:nvSpPr>
          <p:spPr>
            <a:xfrm>
              <a:off x="4418658" y="3728904"/>
              <a:ext cx="1281898" cy="1047552"/>
            </a:xfrm>
            <a:custGeom>
              <a:avLst/>
              <a:gdLst>
                <a:gd name="connsiteX0" fmla="*/ 1281898 w 1281898"/>
                <a:gd name="connsiteY0" fmla="*/ 0 h 1047552"/>
                <a:gd name="connsiteX1" fmla="*/ 1281898 w 1281898"/>
                <a:gd name="connsiteY1" fmla="*/ 677498 h 1047552"/>
                <a:gd name="connsiteX2" fmla="*/ 1278917 w 1281898"/>
                <a:gd name="connsiteY2" fmla="*/ 679222 h 1047552"/>
                <a:gd name="connsiteX3" fmla="*/ 640967 w 1281898"/>
                <a:gd name="connsiteY3" fmla="*/ 1047552 h 1047552"/>
                <a:gd name="connsiteX4" fmla="*/ 637986 w 1281898"/>
                <a:gd name="connsiteY4" fmla="*/ 1045864 h 1047552"/>
                <a:gd name="connsiteX5" fmla="*/ 0 w 1281898"/>
                <a:gd name="connsiteY5" fmla="*/ 677498 h 1047552"/>
                <a:gd name="connsiteX6" fmla="*/ 0 w 1281898"/>
                <a:gd name="connsiteY6" fmla="*/ 278421 h 1047552"/>
                <a:gd name="connsiteX7" fmla="*/ 11854 w 1281898"/>
                <a:gd name="connsiteY7" fmla="*/ 278421 h 1047552"/>
                <a:gd name="connsiteX8" fmla="*/ 11854 w 1281898"/>
                <a:gd name="connsiteY8" fmla="*/ 670673 h 1047552"/>
                <a:gd name="connsiteX9" fmla="*/ 640967 w 1281898"/>
                <a:gd name="connsiteY9" fmla="*/ 1033902 h 1047552"/>
                <a:gd name="connsiteX10" fmla="*/ 1270045 w 1281898"/>
                <a:gd name="connsiteY10" fmla="*/ 670673 h 1047552"/>
                <a:gd name="connsiteX11" fmla="*/ 1270045 w 1281898"/>
                <a:gd name="connsiteY11" fmla="*/ 0 h 1047552"/>
                <a:gd name="connsiteX12" fmla="*/ 1281898 w 1281898"/>
                <a:gd name="connsiteY12" fmla="*/ 0 h 1047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1898" h="1047552">
                  <a:moveTo>
                    <a:pt x="1281898" y="0"/>
                  </a:moveTo>
                  <a:lnTo>
                    <a:pt x="1281898" y="677498"/>
                  </a:lnTo>
                  <a:lnTo>
                    <a:pt x="1278917" y="679222"/>
                  </a:lnTo>
                  <a:lnTo>
                    <a:pt x="640967" y="1047552"/>
                  </a:lnTo>
                  <a:lnTo>
                    <a:pt x="637986" y="1045864"/>
                  </a:lnTo>
                  <a:lnTo>
                    <a:pt x="0" y="677498"/>
                  </a:lnTo>
                  <a:lnTo>
                    <a:pt x="0" y="278421"/>
                  </a:lnTo>
                  <a:lnTo>
                    <a:pt x="11854" y="278421"/>
                  </a:lnTo>
                  <a:lnTo>
                    <a:pt x="11854" y="670673"/>
                  </a:lnTo>
                  <a:lnTo>
                    <a:pt x="640967" y="1033902"/>
                  </a:lnTo>
                  <a:lnTo>
                    <a:pt x="1270045" y="670673"/>
                  </a:lnTo>
                  <a:lnTo>
                    <a:pt x="1270045" y="0"/>
                  </a:lnTo>
                  <a:lnTo>
                    <a:pt x="1281898" y="0"/>
                  </a:lnTo>
                  <a:close/>
                </a:path>
              </a:pathLst>
            </a:custGeom>
            <a:grpFill/>
            <a:ln w="359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19E0418A-BF8E-2A0C-EFF0-7432A10091E8}"/>
                </a:ext>
              </a:extLst>
            </p:cNvPr>
            <p:cNvSpPr/>
            <p:nvPr/>
          </p:nvSpPr>
          <p:spPr>
            <a:xfrm>
              <a:off x="4380043" y="3965045"/>
              <a:ext cx="89012" cy="89011"/>
            </a:xfrm>
            <a:custGeom>
              <a:avLst/>
              <a:gdLst>
                <a:gd name="connsiteX0" fmla="*/ 85452 w 89012"/>
                <a:gd name="connsiteY0" fmla="*/ 44260 h 89011"/>
                <a:gd name="connsiteX1" fmla="*/ 40946 w 89012"/>
                <a:gd name="connsiteY1" fmla="*/ -245 h 89011"/>
                <a:gd name="connsiteX2" fmla="*/ -3560 w 89012"/>
                <a:gd name="connsiteY2" fmla="*/ 44260 h 89011"/>
                <a:gd name="connsiteX3" fmla="*/ 40946 w 89012"/>
                <a:gd name="connsiteY3" fmla="*/ 88766 h 89011"/>
                <a:gd name="connsiteX4" fmla="*/ 40981 w 89012"/>
                <a:gd name="connsiteY4" fmla="*/ 88766 h 89011"/>
                <a:gd name="connsiteX5" fmla="*/ 85452 w 89012"/>
                <a:gd name="connsiteY5" fmla="*/ 44260 h 8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012" h="89011">
                  <a:moveTo>
                    <a:pt x="85452" y="44260"/>
                  </a:moveTo>
                  <a:cubicBezTo>
                    <a:pt x="85452" y="19691"/>
                    <a:pt x="65515" y="-245"/>
                    <a:pt x="40946" y="-245"/>
                  </a:cubicBezTo>
                  <a:cubicBezTo>
                    <a:pt x="16377" y="-245"/>
                    <a:pt x="-3560" y="19691"/>
                    <a:pt x="-3560" y="44260"/>
                  </a:cubicBezTo>
                  <a:cubicBezTo>
                    <a:pt x="-3560" y="68830"/>
                    <a:pt x="16377" y="88766"/>
                    <a:pt x="40946" y="88766"/>
                  </a:cubicBezTo>
                  <a:cubicBezTo>
                    <a:pt x="40946" y="88766"/>
                    <a:pt x="40981" y="88766"/>
                    <a:pt x="40981" y="88766"/>
                  </a:cubicBezTo>
                  <a:cubicBezTo>
                    <a:pt x="65552" y="88730"/>
                    <a:pt x="85452" y="68830"/>
                    <a:pt x="85452" y="44260"/>
                  </a:cubicBezTo>
                  <a:close/>
                </a:path>
              </a:pathLst>
            </a:custGeom>
            <a:grpFill/>
            <a:ln w="359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05AF246C-BCBC-769F-59A8-CD602DCCF138}"/>
                </a:ext>
              </a:extLst>
            </p:cNvPr>
            <p:cNvSpPr/>
            <p:nvPr/>
          </p:nvSpPr>
          <p:spPr>
            <a:xfrm rot="21261000">
              <a:off x="5632136" y="3671367"/>
              <a:ext cx="124572" cy="124572"/>
            </a:xfrm>
            <a:custGeom>
              <a:avLst/>
              <a:gdLst>
                <a:gd name="connsiteX0" fmla="*/ 121012 w 124572"/>
                <a:gd name="connsiteY0" fmla="*/ 62041 h 124572"/>
                <a:gd name="connsiteX1" fmla="*/ 58726 w 124572"/>
                <a:gd name="connsiteY1" fmla="*/ 124327 h 124572"/>
                <a:gd name="connsiteX2" fmla="*/ -3559 w 124572"/>
                <a:gd name="connsiteY2" fmla="*/ 62041 h 124572"/>
                <a:gd name="connsiteX3" fmla="*/ 58726 w 124572"/>
                <a:gd name="connsiteY3" fmla="*/ -245 h 124572"/>
                <a:gd name="connsiteX4" fmla="*/ 121012 w 124572"/>
                <a:gd name="connsiteY4" fmla="*/ 62041 h 124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72" h="124572">
                  <a:moveTo>
                    <a:pt x="121012" y="62041"/>
                  </a:moveTo>
                  <a:cubicBezTo>
                    <a:pt x="121012" y="96441"/>
                    <a:pt x="93126" y="124327"/>
                    <a:pt x="58726" y="124327"/>
                  </a:cubicBezTo>
                  <a:cubicBezTo>
                    <a:pt x="24327" y="124327"/>
                    <a:pt x="-3559" y="96441"/>
                    <a:pt x="-3559" y="62041"/>
                  </a:cubicBezTo>
                  <a:cubicBezTo>
                    <a:pt x="-3559" y="27641"/>
                    <a:pt x="24327" y="-245"/>
                    <a:pt x="58726" y="-245"/>
                  </a:cubicBezTo>
                  <a:cubicBezTo>
                    <a:pt x="93126" y="-245"/>
                    <a:pt x="121012" y="27642"/>
                    <a:pt x="121012" y="62041"/>
                  </a:cubicBezTo>
                  <a:close/>
                </a:path>
              </a:pathLst>
            </a:custGeom>
            <a:grpFill/>
            <a:ln w="359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19EAC982-8502-5455-0E47-B2AF66398011}"/>
                </a:ext>
              </a:extLst>
            </p:cNvPr>
            <p:cNvSpPr/>
            <p:nvPr/>
          </p:nvSpPr>
          <p:spPr>
            <a:xfrm>
              <a:off x="2917393" y="661177"/>
              <a:ext cx="786050" cy="327883"/>
            </a:xfrm>
            <a:custGeom>
              <a:avLst/>
              <a:gdLst>
                <a:gd name="connsiteX0" fmla="*/ 786050 w 786050"/>
                <a:gd name="connsiteY0" fmla="*/ 134846 h 327883"/>
                <a:gd name="connsiteX1" fmla="*/ 780914 w 786050"/>
                <a:gd name="connsiteY1" fmla="*/ 143718 h 327883"/>
                <a:gd name="connsiteX2" fmla="*/ 552530 w 786050"/>
                <a:gd name="connsiteY2" fmla="*/ 11854 h 327883"/>
                <a:gd name="connsiteX3" fmla="*/ 5137 w 786050"/>
                <a:gd name="connsiteY3" fmla="*/ 327883 h 327883"/>
                <a:gd name="connsiteX4" fmla="*/ 0 w 786050"/>
                <a:gd name="connsiteY4" fmla="*/ 319011 h 327883"/>
                <a:gd name="connsiteX5" fmla="*/ 552530 w 786050"/>
                <a:gd name="connsiteY5" fmla="*/ 0 h 327883"/>
                <a:gd name="connsiteX6" fmla="*/ 786050 w 786050"/>
                <a:gd name="connsiteY6" fmla="*/ 134846 h 32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050" h="327883">
                  <a:moveTo>
                    <a:pt x="786050" y="134846"/>
                  </a:moveTo>
                  <a:lnTo>
                    <a:pt x="780914" y="143718"/>
                  </a:lnTo>
                  <a:lnTo>
                    <a:pt x="552530" y="11854"/>
                  </a:lnTo>
                  <a:lnTo>
                    <a:pt x="5137" y="327883"/>
                  </a:lnTo>
                  <a:lnTo>
                    <a:pt x="0" y="319011"/>
                  </a:lnTo>
                  <a:lnTo>
                    <a:pt x="552530" y="0"/>
                  </a:lnTo>
                  <a:lnTo>
                    <a:pt x="786050" y="134846"/>
                  </a:lnTo>
                  <a:close/>
                </a:path>
              </a:pathLst>
            </a:custGeom>
            <a:grpFill/>
            <a:ln w="359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98D6BFB-1895-E448-4DDF-58AEE172A5F3}"/>
                </a:ext>
              </a:extLst>
            </p:cNvPr>
            <p:cNvSpPr/>
            <p:nvPr/>
          </p:nvSpPr>
          <p:spPr>
            <a:xfrm>
              <a:off x="3580271" y="2013192"/>
              <a:ext cx="1110125" cy="910838"/>
            </a:xfrm>
            <a:custGeom>
              <a:avLst/>
              <a:gdLst>
                <a:gd name="connsiteX0" fmla="*/ 1110126 w 1110125"/>
                <a:gd name="connsiteY0" fmla="*/ 320448 h 910838"/>
                <a:gd name="connsiteX1" fmla="*/ 1110126 w 1110125"/>
                <a:gd name="connsiteY1" fmla="*/ 910839 h 910838"/>
                <a:gd name="connsiteX2" fmla="*/ 1099889 w 1110125"/>
                <a:gd name="connsiteY2" fmla="*/ 910839 h 910838"/>
                <a:gd name="connsiteX3" fmla="*/ 1099889 w 1110125"/>
                <a:gd name="connsiteY3" fmla="*/ 326375 h 910838"/>
                <a:gd name="connsiteX4" fmla="*/ 555081 w 1110125"/>
                <a:gd name="connsiteY4" fmla="*/ 11818 h 910838"/>
                <a:gd name="connsiteX5" fmla="*/ 10237 w 1110125"/>
                <a:gd name="connsiteY5" fmla="*/ 326375 h 910838"/>
                <a:gd name="connsiteX6" fmla="*/ 10237 w 1110125"/>
                <a:gd name="connsiteY6" fmla="*/ 611620 h 910838"/>
                <a:gd name="connsiteX7" fmla="*/ 0 w 1110125"/>
                <a:gd name="connsiteY7" fmla="*/ 611620 h 910838"/>
                <a:gd name="connsiteX8" fmla="*/ 0 w 1110125"/>
                <a:gd name="connsiteY8" fmla="*/ 320448 h 910838"/>
                <a:gd name="connsiteX9" fmla="*/ 555081 w 1110125"/>
                <a:gd name="connsiteY9" fmla="*/ 0 h 910838"/>
                <a:gd name="connsiteX10" fmla="*/ 1110126 w 1110125"/>
                <a:gd name="connsiteY10" fmla="*/ 320448 h 9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25" h="910838">
                  <a:moveTo>
                    <a:pt x="1110126" y="320448"/>
                  </a:moveTo>
                  <a:lnTo>
                    <a:pt x="1110126" y="910839"/>
                  </a:lnTo>
                  <a:lnTo>
                    <a:pt x="1099889" y="910839"/>
                  </a:lnTo>
                  <a:lnTo>
                    <a:pt x="1099889" y="326375"/>
                  </a:lnTo>
                  <a:lnTo>
                    <a:pt x="555081" y="11818"/>
                  </a:lnTo>
                  <a:lnTo>
                    <a:pt x="10237" y="326375"/>
                  </a:lnTo>
                  <a:lnTo>
                    <a:pt x="10237" y="611620"/>
                  </a:lnTo>
                  <a:lnTo>
                    <a:pt x="0" y="611620"/>
                  </a:lnTo>
                  <a:lnTo>
                    <a:pt x="0" y="320448"/>
                  </a:lnTo>
                  <a:lnTo>
                    <a:pt x="555081" y="0"/>
                  </a:lnTo>
                  <a:lnTo>
                    <a:pt x="1110126" y="320448"/>
                  </a:lnTo>
                  <a:close/>
                </a:path>
              </a:pathLst>
            </a:custGeom>
            <a:grpFill/>
            <a:ln w="359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38B46219-28A2-3303-6EC1-3EC0B8DA7156}"/>
                </a:ext>
              </a:extLst>
            </p:cNvPr>
            <p:cNvSpPr/>
            <p:nvPr/>
          </p:nvSpPr>
          <p:spPr>
            <a:xfrm>
              <a:off x="3554551" y="2592448"/>
              <a:ext cx="61640" cy="61639"/>
            </a:xfrm>
            <a:custGeom>
              <a:avLst/>
              <a:gdLst>
                <a:gd name="connsiteX0" fmla="*/ 58080 w 61640"/>
                <a:gd name="connsiteY0" fmla="*/ 30574 h 61639"/>
                <a:gd name="connsiteX1" fmla="*/ 27260 w 61640"/>
                <a:gd name="connsiteY1" fmla="*/ 61394 h 61639"/>
                <a:gd name="connsiteX2" fmla="*/ -3560 w 61640"/>
                <a:gd name="connsiteY2" fmla="*/ 30574 h 61639"/>
                <a:gd name="connsiteX3" fmla="*/ 27260 w 61640"/>
                <a:gd name="connsiteY3" fmla="*/ -245 h 61639"/>
                <a:gd name="connsiteX4" fmla="*/ 58080 w 61640"/>
                <a:gd name="connsiteY4" fmla="*/ 30574 h 6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40" h="61639">
                  <a:moveTo>
                    <a:pt x="58080" y="30574"/>
                  </a:moveTo>
                  <a:cubicBezTo>
                    <a:pt x="58080" y="47597"/>
                    <a:pt x="44287" y="61394"/>
                    <a:pt x="27260" y="61394"/>
                  </a:cubicBezTo>
                  <a:cubicBezTo>
                    <a:pt x="10235" y="61394"/>
                    <a:pt x="-3560" y="47597"/>
                    <a:pt x="-3560" y="30574"/>
                  </a:cubicBezTo>
                  <a:cubicBezTo>
                    <a:pt x="-3560" y="13552"/>
                    <a:pt x="10235" y="-245"/>
                    <a:pt x="27260" y="-245"/>
                  </a:cubicBezTo>
                  <a:cubicBezTo>
                    <a:pt x="44287" y="-224"/>
                    <a:pt x="58045" y="13562"/>
                    <a:pt x="58080" y="30574"/>
                  </a:cubicBezTo>
                  <a:close/>
                </a:path>
              </a:pathLst>
            </a:custGeom>
            <a:grpFill/>
            <a:ln w="359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2967C79A-851F-4B74-9D88-10975ACB7A25}"/>
                </a:ext>
              </a:extLst>
            </p:cNvPr>
            <p:cNvSpPr/>
            <p:nvPr/>
          </p:nvSpPr>
          <p:spPr>
            <a:xfrm>
              <a:off x="4635151" y="2871407"/>
              <a:ext cx="100578" cy="100578"/>
            </a:xfrm>
            <a:custGeom>
              <a:avLst/>
              <a:gdLst>
                <a:gd name="connsiteX0" fmla="*/ -3560 w 100578"/>
                <a:gd name="connsiteY0" fmla="*/ 49864 h 100578"/>
                <a:gd name="connsiteX1" fmla="*/ 46550 w 100578"/>
                <a:gd name="connsiteY1" fmla="*/ 100332 h 100578"/>
                <a:gd name="connsiteX2" fmla="*/ 97018 w 100578"/>
                <a:gd name="connsiteY2" fmla="*/ 50223 h 100578"/>
                <a:gd name="connsiteX3" fmla="*/ 46910 w 100578"/>
                <a:gd name="connsiteY3" fmla="*/ -245 h 100578"/>
                <a:gd name="connsiteX4" fmla="*/ 46729 w 100578"/>
                <a:gd name="connsiteY4" fmla="*/ -245 h 100578"/>
                <a:gd name="connsiteX5" fmla="*/ -3560 w 100578"/>
                <a:gd name="connsiteY5" fmla="*/ 49864 h 10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78" h="100578">
                  <a:moveTo>
                    <a:pt x="-3560" y="49864"/>
                  </a:moveTo>
                  <a:cubicBezTo>
                    <a:pt x="-3667" y="77630"/>
                    <a:pt x="18784" y="100224"/>
                    <a:pt x="46550" y="100332"/>
                  </a:cubicBezTo>
                  <a:cubicBezTo>
                    <a:pt x="74317" y="100440"/>
                    <a:pt x="96911" y="77990"/>
                    <a:pt x="97018" y="50223"/>
                  </a:cubicBezTo>
                  <a:cubicBezTo>
                    <a:pt x="97127" y="22456"/>
                    <a:pt x="74676" y="-145"/>
                    <a:pt x="46910" y="-245"/>
                  </a:cubicBezTo>
                  <a:cubicBezTo>
                    <a:pt x="46838" y="-245"/>
                    <a:pt x="46801" y="-245"/>
                    <a:pt x="46729" y="-245"/>
                  </a:cubicBezTo>
                  <a:cubicBezTo>
                    <a:pt x="19034" y="-245"/>
                    <a:pt x="-3451" y="22169"/>
                    <a:pt x="-3560" y="49864"/>
                  </a:cubicBezTo>
                  <a:close/>
                </a:path>
              </a:pathLst>
            </a:custGeom>
            <a:grpFill/>
            <a:ln w="359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3F508998-EFD5-B909-68C9-8E4231E0BCEF}"/>
                </a:ext>
              </a:extLst>
            </p:cNvPr>
            <p:cNvSpPr/>
            <p:nvPr/>
          </p:nvSpPr>
          <p:spPr>
            <a:xfrm>
              <a:off x="3514896" y="2867815"/>
              <a:ext cx="738491" cy="300403"/>
            </a:xfrm>
            <a:custGeom>
              <a:avLst/>
              <a:gdLst>
                <a:gd name="connsiteX0" fmla="*/ 738491 w 738491"/>
                <a:gd name="connsiteY0" fmla="*/ 134846 h 300403"/>
                <a:gd name="connsiteX1" fmla="*/ 733355 w 738491"/>
                <a:gd name="connsiteY1" fmla="*/ 143718 h 300403"/>
                <a:gd name="connsiteX2" fmla="*/ 504936 w 738491"/>
                <a:gd name="connsiteY2" fmla="*/ 11818 h 300403"/>
                <a:gd name="connsiteX3" fmla="*/ 5137 w 738491"/>
                <a:gd name="connsiteY3" fmla="*/ 300404 h 300403"/>
                <a:gd name="connsiteX4" fmla="*/ 0 w 738491"/>
                <a:gd name="connsiteY4" fmla="*/ 291532 h 300403"/>
                <a:gd name="connsiteX5" fmla="*/ 504936 w 738491"/>
                <a:gd name="connsiteY5" fmla="*/ 0 h 300403"/>
                <a:gd name="connsiteX6" fmla="*/ 738491 w 738491"/>
                <a:gd name="connsiteY6" fmla="*/ 134846 h 30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491" h="300403">
                  <a:moveTo>
                    <a:pt x="738491" y="134846"/>
                  </a:moveTo>
                  <a:lnTo>
                    <a:pt x="733355" y="143718"/>
                  </a:lnTo>
                  <a:lnTo>
                    <a:pt x="504936" y="11818"/>
                  </a:lnTo>
                  <a:lnTo>
                    <a:pt x="5137" y="300404"/>
                  </a:lnTo>
                  <a:lnTo>
                    <a:pt x="0" y="291532"/>
                  </a:lnTo>
                  <a:lnTo>
                    <a:pt x="504936" y="0"/>
                  </a:lnTo>
                  <a:lnTo>
                    <a:pt x="738491" y="134846"/>
                  </a:lnTo>
                  <a:close/>
                </a:path>
              </a:pathLst>
            </a:custGeom>
            <a:grpFill/>
            <a:ln w="359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4F63870F-BA34-8F26-267B-63A2D8EF1D1E}"/>
                </a:ext>
              </a:extLst>
            </p:cNvPr>
            <p:cNvSpPr/>
            <p:nvPr/>
          </p:nvSpPr>
          <p:spPr>
            <a:xfrm>
              <a:off x="3462171" y="3104527"/>
              <a:ext cx="115603" cy="115608"/>
            </a:xfrm>
            <a:custGeom>
              <a:avLst/>
              <a:gdLst>
                <a:gd name="connsiteX0" fmla="*/ 83110 w 115603"/>
                <a:gd name="connsiteY0" fmla="*/ 107629 h 115608"/>
                <a:gd name="connsiteX1" fmla="*/ 4157 w 115603"/>
                <a:gd name="connsiteY1" fmla="*/ 86436 h 115608"/>
                <a:gd name="connsiteX2" fmla="*/ 25386 w 115603"/>
                <a:gd name="connsiteY2" fmla="*/ 7483 h 115608"/>
                <a:gd name="connsiteX3" fmla="*/ 104268 w 115603"/>
                <a:gd name="connsiteY3" fmla="*/ 28604 h 115608"/>
                <a:gd name="connsiteX4" fmla="*/ 83147 w 115603"/>
                <a:gd name="connsiteY4" fmla="*/ 107629 h 115608"/>
                <a:gd name="connsiteX5" fmla="*/ 83110 w 115603"/>
                <a:gd name="connsiteY5" fmla="*/ 107629 h 11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603" h="115608">
                  <a:moveTo>
                    <a:pt x="83110" y="107629"/>
                  </a:moveTo>
                  <a:cubicBezTo>
                    <a:pt x="55450" y="123578"/>
                    <a:pt x="20105" y="114059"/>
                    <a:pt x="4157" y="86436"/>
                  </a:cubicBezTo>
                  <a:cubicBezTo>
                    <a:pt x="-11757" y="58777"/>
                    <a:pt x="-2273" y="23431"/>
                    <a:pt x="25386" y="7483"/>
                  </a:cubicBezTo>
                  <a:cubicBezTo>
                    <a:pt x="53009" y="-8430"/>
                    <a:pt x="88282" y="1017"/>
                    <a:pt x="104268" y="28604"/>
                  </a:cubicBezTo>
                  <a:cubicBezTo>
                    <a:pt x="120251" y="56263"/>
                    <a:pt x="110805" y="91645"/>
                    <a:pt x="83147" y="107629"/>
                  </a:cubicBezTo>
                  <a:cubicBezTo>
                    <a:pt x="83110" y="107629"/>
                    <a:pt x="83110" y="107629"/>
                    <a:pt x="83110" y="107629"/>
                  </a:cubicBezTo>
                  <a:close/>
                </a:path>
              </a:pathLst>
            </a:custGeom>
            <a:grpFill/>
            <a:ln w="359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1FA5F23C-B8A1-5202-EA7A-9EE36932EEDF}"/>
                </a:ext>
              </a:extLst>
            </p:cNvPr>
            <p:cNvSpPr/>
            <p:nvPr/>
          </p:nvSpPr>
          <p:spPr>
            <a:xfrm>
              <a:off x="5461577" y="2364747"/>
              <a:ext cx="1368969" cy="409171"/>
            </a:xfrm>
            <a:custGeom>
              <a:avLst/>
              <a:gdLst>
                <a:gd name="connsiteX0" fmla="*/ 1368970 w 1368969"/>
                <a:gd name="connsiteY0" fmla="*/ 392792 h 409171"/>
                <a:gd name="connsiteX1" fmla="*/ 1362289 w 1368969"/>
                <a:gd name="connsiteY1" fmla="*/ 404394 h 409171"/>
                <a:gd name="connsiteX2" fmla="*/ 688634 w 1368969"/>
                <a:gd name="connsiteY2" fmla="*/ 15446 h 409171"/>
                <a:gd name="connsiteX3" fmla="*/ 6717 w 1368969"/>
                <a:gd name="connsiteY3" fmla="*/ 409172 h 409171"/>
                <a:gd name="connsiteX4" fmla="*/ 0 w 1368969"/>
                <a:gd name="connsiteY4" fmla="*/ 397569 h 409171"/>
                <a:gd name="connsiteX5" fmla="*/ 688634 w 1368969"/>
                <a:gd name="connsiteY5" fmla="*/ 0 h 409171"/>
                <a:gd name="connsiteX6" fmla="*/ 1368970 w 1368969"/>
                <a:gd name="connsiteY6" fmla="*/ 392792 h 409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8969" h="409171">
                  <a:moveTo>
                    <a:pt x="1368970" y="392792"/>
                  </a:moveTo>
                  <a:lnTo>
                    <a:pt x="1362289" y="404394"/>
                  </a:lnTo>
                  <a:lnTo>
                    <a:pt x="688634" y="15446"/>
                  </a:lnTo>
                  <a:lnTo>
                    <a:pt x="6717" y="409172"/>
                  </a:lnTo>
                  <a:lnTo>
                    <a:pt x="0" y="397569"/>
                  </a:lnTo>
                  <a:lnTo>
                    <a:pt x="688634" y="0"/>
                  </a:lnTo>
                  <a:lnTo>
                    <a:pt x="1368970" y="392792"/>
                  </a:lnTo>
                  <a:close/>
                </a:path>
              </a:pathLst>
            </a:custGeom>
            <a:grpFill/>
            <a:ln w="359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EDB7581B-5384-FCFE-48E6-EE12EF0AB438}"/>
                </a:ext>
              </a:extLst>
            </p:cNvPr>
            <p:cNvSpPr/>
            <p:nvPr/>
          </p:nvSpPr>
          <p:spPr>
            <a:xfrm>
              <a:off x="5426379" y="2726834"/>
              <a:ext cx="80559" cy="80548"/>
            </a:xfrm>
            <a:custGeom>
              <a:avLst/>
              <a:gdLst>
                <a:gd name="connsiteX0" fmla="*/ 56854 w 80559"/>
                <a:gd name="connsiteY0" fmla="*/ 74893 h 80548"/>
                <a:gd name="connsiteX1" fmla="*/ 1859 w 80559"/>
                <a:gd name="connsiteY1" fmla="*/ 60177 h 80548"/>
                <a:gd name="connsiteX2" fmla="*/ 16550 w 80559"/>
                <a:gd name="connsiteY2" fmla="*/ 5164 h 80548"/>
                <a:gd name="connsiteX3" fmla="*/ 71580 w 80559"/>
                <a:gd name="connsiteY3" fmla="*/ 19881 h 80548"/>
                <a:gd name="connsiteX4" fmla="*/ 71580 w 80559"/>
                <a:gd name="connsiteY4" fmla="*/ 19899 h 80548"/>
                <a:gd name="connsiteX5" fmla="*/ 56889 w 80559"/>
                <a:gd name="connsiteY5" fmla="*/ 74868 h 80548"/>
                <a:gd name="connsiteX6" fmla="*/ 56854 w 80559"/>
                <a:gd name="connsiteY6" fmla="*/ 74893 h 8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559" h="80548">
                  <a:moveTo>
                    <a:pt x="56854" y="74893"/>
                  </a:moveTo>
                  <a:cubicBezTo>
                    <a:pt x="37599" y="86021"/>
                    <a:pt x="12958" y="79430"/>
                    <a:pt x="1859" y="60177"/>
                  </a:cubicBezTo>
                  <a:cubicBezTo>
                    <a:pt x="-9276" y="40920"/>
                    <a:pt x="-2703" y="16292"/>
                    <a:pt x="16550" y="5164"/>
                  </a:cubicBezTo>
                  <a:cubicBezTo>
                    <a:pt x="35803" y="-5964"/>
                    <a:pt x="60446" y="627"/>
                    <a:pt x="71580" y="19881"/>
                  </a:cubicBezTo>
                  <a:cubicBezTo>
                    <a:pt x="71580" y="19888"/>
                    <a:pt x="71580" y="19895"/>
                    <a:pt x="71580" y="19899"/>
                  </a:cubicBezTo>
                  <a:cubicBezTo>
                    <a:pt x="82716" y="39131"/>
                    <a:pt x="76142" y="63744"/>
                    <a:pt x="56889" y="74868"/>
                  </a:cubicBezTo>
                  <a:cubicBezTo>
                    <a:pt x="56889" y="74875"/>
                    <a:pt x="56854" y="74886"/>
                    <a:pt x="56854" y="74893"/>
                  </a:cubicBezTo>
                  <a:close/>
                </a:path>
              </a:pathLst>
            </a:custGeom>
            <a:grpFill/>
            <a:ln w="359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7BD755EE-BE2F-4601-DE5E-E2D965D35A5F}"/>
                </a:ext>
              </a:extLst>
            </p:cNvPr>
            <p:cNvSpPr/>
            <p:nvPr/>
          </p:nvSpPr>
          <p:spPr>
            <a:xfrm>
              <a:off x="6774646" y="2711801"/>
              <a:ext cx="100593" cy="100594"/>
            </a:xfrm>
            <a:custGeom>
              <a:avLst/>
              <a:gdLst>
                <a:gd name="connsiteX0" fmla="*/ 21627 w 100593"/>
                <a:gd name="connsiteY0" fmla="*/ 93626 h 100594"/>
                <a:gd name="connsiteX1" fmla="*/ 90308 w 100593"/>
                <a:gd name="connsiteY1" fmla="*/ 75156 h 100594"/>
                <a:gd name="connsiteX2" fmla="*/ 71844 w 100593"/>
                <a:gd name="connsiteY2" fmla="*/ 6479 h 100594"/>
                <a:gd name="connsiteX3" fmla="*/ 3201 w 100593"/>
                <a:gd name="connsiteY3" fmla="*/ 24874 h 100594"/>
                <a:gd name="connsiteX4" fmla="*/ 21556 w 100593"/>
                <a:gd name="connsiteY4" fmla="*/ 93583 h 100594"/>
                <a:gd name="connsiteX5" fmla="*/ 21627 w 100593"/>
                <a:gd name="connsiteY5" fmla="*/ 93626 h 10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93" h="100594">
                  <a:moveTo>
                    <a:pt x="21627" y="93626"/>
                  </a:moveTo>
                  <a:cubicBezTo>
                    <a:pt x="45695" y="107491"/>
                    <a:pt x="76443" y="99222"/>
                    <a:pt x="90308" y="75156"/>
                  </a:cubicBezTo>
                  <a:cubicBezTo>
                    <a:pt x="104173" y="51092"/>
                    <a:pt x="95912" y="20344"/>
                    <a:pt x="71844" y="6479"/>
                  </a:cubicBezTo>
                  <a:cubicBezTo>
                    <a:pt x="47814" y="-7372"/>
                    <a:pt x="17102" y="861"/>
                    <a:pt x="3201" y="24874"/>
                  </a:cubicBezTo>
                  <a:cubicBezTo>
                    <a:pt x="-10701" y="48915"/>
                    <a:pt x="-2475" y="79678"/>
                    <a:pt x="21556" y="93583"/>
                  </a:cubicBezTo>
                  <a:cubicBezTo>
                    <a:pt x="21592" y="93597"/>
                    <a:pt x="21592" y="93612"/>
                    <a:pt x="21627" y="93626"/>
                  </a:cubicBezTo>
                  <a:close/>
                </a:path>
              </a:pathLst>
            </a:custGeom>
            <a:grpFill/>
            <a:ln w="359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B75FBDEF-513A-7933-8E7E-034F987C151B}"/>
                </a:ext>
              </a:extLst>
            </p:cNvPr>
            <p:cNvSpPr/>
            <p:nvPr/>
          </p:nvSpPr>
          <p:spPr>
            <a:xfrm>
              <a:off x="709569" y="1251999"/>
              <a:ext cx="516430" cy="1096368"/>
            </a:xfrm>
            <a:custGeom>
              <a:avLst/>
              <a:gdLst>
                <a:gd name="connsiteX0" fmla="*/ 516430 w 516430"/>
                <a:gd name="connsiteY0" fmla="*/ 295195 h 1096368"/>
                <a:gd name="connsiteX1" fmla="*/ 516430 w 516430"/>
                <a:gd name="connsiteY1" fmla="*/ 936127 h 1096368"/>
                <a:gd name="connsiteX2" fmla="*/ 238872 w 516430"/>
                <a:gd name="connsiteY2" fmla="*/ 1096369 h 1096368"/>
                <a:gd name="connsiteX3" fmla="*/ 233771 w 516430"/>
                <a:gd name="connsiteY3" fmla="*/ 1087496 h 1096368"/>
                <a:gd name="connsiteX4" fmla="*/ 506157 w 516430"/>
                <a:gd name="connsiteY4" fmla="*/ 930200 h 1096368"/>
                <a:gd name="connsiteX5" fmla="*/ 506157 w 516430"/>
                <a:gd name="connsiteY5" fmla="*/ 301086 h 1096368"/>
                <a:gd name="connsiteX6" fmla="*/ 0 w 516430"/>
                <a:gd name="connsiteY6" fmla="*/ 8872 h 1096368"/>
                <a:gd name="connsiteX7" fmla="*/ 5137 w 516430"/>
                <a:gd name="connsiteY7" fmla="*/ 0 h 1096368"/>
                <a:gd name="connsiteX8" fmla="*/ 516430 w 516430"/>
                <a:gd name="connsiteY8" fmla="*/ 295195 h 109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430" h="1096368">
                  <a:moveTo>
                    <a:pt x="516430" y="295195"/>
                  </a:moveTo>
                  <a:lnTo>
                    <a:pt x="516430" y="936127"/>
                  </a:lnTo>
                  <a:lnTo>
                    <a:pt x="238872" y="1096369"/>
                  </a:lnTo>
                  <a:lnTo>
                    <a:pt x="233771" y="1087496"/>
                  </a:lnTo>
                  <a:lnTo>
                    <a:pt x="506157" y="930200"/>
                  </a:lnTo>
                  <a:lnTo>
                    <a:pt x="506157" y="301086"/>
                  </a:lnTo>
                  <a:lnTo>
                    <a:pt x="0" y="8872"/>
                  </a:lnTo>
                  <a:lnTo>
                    <a:pt x="5137" y="0"/>
                  </a:lnTo>
                  <a:lnTo>
                    <a:pt x="516430" y="295195"/>
                  </a:lnTo>
                  <a:close/>
                </a:path>
              </a:pathLst>
            </a:custGeom>
            <a:grpFill/>
            <a:ln w="359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C9B288FF-2ED1-A997-0669-1C97DB2C56F9}"/>
                </a:ext>
              </a:extLst>
            </p:cNvPr>
            <p:cNvSpPr/>
            <p:nvPr/>
          </p:nvSpPr>
          <p:spPr>
            <a:xfrm>
              <a:off x="664159" y="1207540"/>
              <a:ext cx="100221" cy="100169"/>
            </a:xfrm>
            <a:custGeom>
              <a:avLst/>
              <a:gdLst>
                <a:gd name="connsiteX0" fmla="*/ 21519 w 100221"/>
                <a:gd name="connsiteY0" fmla="*/ 93281 h 100169"/>
                <a:gd name="connsiteX1" fmla="*/ 3128 w 100221"/>
                <a:gd name="connsiteY1" fmla="*/ 24841 h 100169"/>
                <a:gd name="connsiteX2" fmla="*/ 71593 w 100221"/>
                <a:gd name="connsiteY2" fmla="*/ 6464 h 100169"/>
                <a:gd name="connsiteX3" fmla="*/ 89948 w 100221"/>
                <a:gd name="connsiteY3" fmla="*/ 74904 h 100169"/>
                <a:gd name="connsiteX4" fmla="*/ 89948 w 100221"/>
                <a:gd name="connsiteY4" fmla="*/ 74926 h 100169"/>
                <a:gd name="connsiteX5" fmla="*/ 21519 w 100221"/>
                <a:gd name="connsiteY5" fmla="*/ 93281 h 10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21" h="100169">
                  <a:moveTo>
                    <a:pt x="21519" y="93281"/>
                  </a:moveTo>
                  <a:cubicBezTo>
                    <a:pt x="-2440" y="79455"/>
                    <a:pt x="-10666" y="48815"/>
                    <a:pt x="3128" y="24841"/>
                  </a:cubicBezTo>
                  <a:cubicBezTo>
                    <a:pt x="16958" y="864"/>
                    <a:pt x="47597" y="-7361"/>
                    <a:pt x="71593" y="6464"/>
                  </a:cubicBezTo>
                  <a:cubicBezTo>
                    <a:pt x="95552" y="20287"/>
                    <a:pt x="103777" y="50931"/>
                    <a:pt x="89948" y="74904"/>
                  </a:cubicBezTo>
                  <a:cubicBezTo>
                    <a:pt x="89948" y="74911"/>
                    <a:pt x="89948" y="74918"/>
                    <a:pt x="89948" y="74926"/>
                  </a:cubicBezTo>
                  <a:cubicBezTo>
                    <a:pt x="76047" y="98798"/>
                    <a:pt x="45514" y="106995"/>
                    <a:pt x="21519" y="93281"/>
                  </a:cubicBezTo>
                  <a:close/>
                </a:path>
              </a:pathLst>
            </a:custGeom>
            <a:grpFill/>
            <a:ln w="359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A42B0780-38BF-0142-D288-22F50101F7BF}"/>
                </a:ext>
              </a:extLst>
            </p:cNvPr>
            <p:cNvSpPr/>
            <p:nvPr/>
          </p:nvSpPr>
          <p:spPr>
            <a:xfrm>
              <a:off x="3119733" y="2943679"/>
              <a:ext cx="1953433" cy="1077330"/>
            </a:xfrm>
            <a:custGeom>
              <a:avLst/>
              <a:gdLst>
                <a:gd name="connsiteX0" fmla="*/ 1953434 w 1953433"/>
                <a:gd name="connsiteY0" fmla="*/ 531373 h 1077330"/>
                <a:gd name="connsiteX1" fmla="*/ 1007824 w 1953433"/>
                <a:gd name="connsiteY1" fmla="*/ 1077331 h 1077330"/>
                <a:gd name="connsiteX2" fmla="*/ 1003154 w 1953433"/>
                <a:gd name="connsiteY2" fmla="*/ 1074636 h 1077330"/>
                <a:gd name="connsiteX3" fmla="*/ 0 w 1953433"/>
                <a:gd name="connsiteY3" fmla="*/ 495453 h 1077330"/>
                <a:gd name="connsiteX4" fmla="*/ 0 w 1953433"/>
                <a:gd name="connsiteY4" fmla="*/ 0 h 1077330"/>
                <a:gd name="connsiteX5" fmla="*/ 18607 w 1953433"/>
                <a:gd name="connsiteY5" fmla="*/ 0 h 1077330"/>
                <a:gd name="connsiteX6" fmla="*/ 18607 w 1953433"/>
                <a:gd name="connsiteY6" fmla="*/ 484713 h 1077330"/>
                <a:gd name="connsiteX7" fmla="*/ 1007824 w 1953433"/>
                <a:gd name="connsiteY7" fmla="*/ 1055850 h 1077330"/>
                <a:gd name="connsiteX8" fmla="*/ 1944130 w 1953433"/>
                <a:gd name="connsiteY8" fmla="*/ 515281 h 1077330"/>
                <a:gd name="connsiteX9" fmla="*/ 1953434 w 1953433"/>
                <a:gd name="connsiteY9" fmla="*/ 531373 h 107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3433" h="1077330">
                  <a:moveTo>
                    <a:pt x="1953434" y="531373"/>
                  </a:moveTo>
                  <a:lnTo>
                    <a:pt x="1007824" y="1077331"/>
                  </a:lnTo>
                  <a:lnTo>
                    <a:pt x="1003154" y="1074636"/>
                  </a:lnTo>
                  <a:lnTo>
                    <a:pt x="0" y="495453"/>
                  </a:lnTo>
                  <a:lnTo>
                    <a:pt x="0" y="0"/>
                  </a:lnTo>
                  <a:lnTo>
                    <a:pt x="18607" y="0"/>
                  </a:lnTo>
                  <a:lnTo>
                    <a:pt x="18607" y="484713"/>
                  </a:lnTo>
                  <a:lnTo>
                    <a:pt x="1007824" y="1055850"/>
                  </a:lnTo>
                  <a:lnTo>
                    <a:pt x="1944130" y="515281"/>
                  </a:lnTo>
                  <a:lnTo>
                    <a:pt x="1953434" y="531373"/>
                  </a:lnTo>
                  <a:close/>
                </a:path>
              </a:pathLst>
            </a:custGeom>
            <a:grpFill/>
            <a:ln w="359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E167176C-ED95-D67D-649D-DDDB06337242}"/>
                </a:ext>
              </a:extLst>
            </p:cNvPr>
            <p:cNvSpPr/>
            <p:nvPr/>
          </p:nvSpPr>
          <p:spPr>
            <a:xfrm>
              <a:off x="4995516" y="3398743"/>
              <a:ext cx="139952" cy="139975"/>
            </a:xfrm>
            <a:custGeom>
              <a:avLst/>
              <a:gdLst>
                <a:gd name="connsiteX0" fmla="*/ 31417 w 139952"/>
                <a:gd name="connsiteY0" fmla="*/ 9145 h 139975"/>
                <a:gd name="connsiteX1" fmla="*/ 127001 w 139952"/>
                <a:gd name="connsiteY1" fmla="*/ 34756 h 139975"/>
                <a:gd name="connsiteX2" fmla="*/ 101391 w 139952"/>
                <a:gd name="connsiteY2" fmla="*/ 130341 h 139975"/>
                <a:gd name="connsiteX3" fmla="*/ 5806 w 139952"/>
                <a:gd name="connsiteY3" fmla="*/ 104729 h 139975"/>
                <a:gd name="connsiteX4" fmla="*/ 5806 w 139952"/>
                <a:gd name="connsiteY4" fmla="*/ 104729 h 139975"/>
                <a:gd name="connsiteX5" fmla="*/ 31417 w 139952"/>
                <a:gd name="connsiteY5" fmla="*/ 9145 h 13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952" h="139975">
                  <a:moveTo>
                    <a:pt x="31417" y="9145"/>
                  </a:moveTo>
                  <a:cubicBezTo>
                    <a:pt x="64895" y="-10181"/>
                    <a:pt x="107677" y="1278"/>
                    <a:pt x="127001" y="34756"/>
                  </a:cubicBezTo>
                  <a:cubicBezTo>
                    <a:pt x="146328" y="68234"/>
                    <a:pt x="134868" y="111015"/>
                    <a:pt x="101391" y="130341"/>
                  </a:cubicBezTo>
                  <a:cubicBezTo>
                    <a:pt x="67913" y="149666"/>
                    <a:pt x="25131" y="138207"/>
                    <a:pt x="5806" y="104729"/>
                  </a:cubicBezTo>
                  <a:cubicBezTo>
                    <a:pt x="5806" y="104729"/>
                    <a:pt x="5806" y="104729"/>
                    <a:pt x="5806" y="104729"/>
                  </a:cubicBezTo>
                  <a:cubicBezTo>
                    <a:pt x="-13483" y="71251"/>
                    <a:pt x="-2025" y="28506"/>
                    <a:pt x="31417" y="9145"/>
                  </a:cubicBezTo>
                  <a:close/>
                </a:path>
              </a:pathLst>
            </a:custGeom>
            <a:grpFill/>
            <a:ln w="359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66B75B05-668E-3B22-DB94-5A261DE51C26}"/>
                </a:ext>
              </a:extLst>
            </p:cNvPr>
            <p:cNvSpPr/>
            <p:nvPr/>
          </p:nvSpPr>
          <p:spPr>
            <a:xfrm>
              <a:off x="3038014" y="2857218"/>
              <a:ext cx="181974" cy="181973"/>
            </a:xfrm>
            <a:custGeom>
              <a:avLst/>
              <a:gdLst>
                <a:gd name="connsiteX0" fmla="*/ 178414 w 181974"/>
                <a:gd name="connsiteY0" fmla="*/ 90741 h 181973"/>
                <a:gd name="connsiteX1" fmla="*/ 87427 w 181974"/>
                <a:gd name="connsiteY1" fmla="*/ -245 h 181973"/>
                <a:gd name="connsiteX2" fmla="*/ -3560 w 181974"/>
                <a:gd name="connsiteY2" fmla="*/ 90741 h 181973"/>
                <a:gd name="connsiteX3" fmla="*/ 87427 w 181974"/>
                <a:gd name="connsiteY3" fmla="*/ 181728 h 181973"/>
                <a:gd name="connsiteX4" fmla="*/ 178414 w 181974"/>
                <a:gd name="connsiteY4" fmla="*/ 90741 h 1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974" h="181973">
                  <a:moveTo>
                    <a:pt x="178414" y="90741"/>
                  </a:moveTo>
                  <a:cubicBezTo>
                    <a:pt x="178414" y="40489"/>
                    <a:pt x="137679" y="-245"/>
                    <a:pt x="87427" y="-245"/>
                  </a:cubicBezTo>
                  <a:cubicBezTo>
                    <a:pt x="37173" y="-245"/>
                    <a:pt x="-3560" y="40489"/>
                    <a:pt x="-3560" y="90741"/>
                  </a:cubicBezTo>
                  <a:cubicBezTo>
                    <a:pt x="-3560" y="140994"/>
                    <a:pt x="37173" y="181728"/>
                    <a:pt x="87427" y="181728"/>
                  </a:cubicBezTo>
                  <a:cubicBezTo>
                    <a:pt x="137679" y="181728"/>
                    <a:pt x="178414" y="140994"/>
                    <a:pt x="178414" y="90741"/>
                  </a:cubicBezTo>
                  <a:close/>
                </a:path>
              </a:pathLst>
            </a:custGeom>
            <a:grpFill/>
            <a:ln w="359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DAC55416-22AA-E29A-F4AE-B8C56E4481A6}"/>
                </a:ext>
              </a:extLst>
            </p:cNvPr>
            <p:cNvSpPr/>
            <p:nvPr/>
          </p:nvSpPr>
          <p:spPr>
            <a:xfrm rot="19799999">
              <a:off x="3133368" y="1967587"/>
              <a:ext cx="450192" cy="18606"/>
            </a:xfrm>
            <a:custGeom>
              <a:avLst/>
              <a:gdLst>
                <a:gd name="connsiteX0" fmla="*/ -3561 w 450192"/>
                <a:gd name="connsiteY0" fmla="*/ -245 h 18606"/>
                <a:gd name="connsiteX1" fmla="*/ 446632 w 450192"/>
                <a:gd name="connsiteY1" fmla="*/ -245 h 18606"/>
                <a:gd name="connsiteX2" fmla="*/ 446632 w 450192"/>
                <a:gd name="connsiteY2" fmla="*/ 18361 h 18606"/>
                <a:gd name="connsiteX3" fmla="*/ -3561 w 450192"/>
                <a:gd name="connsiteY3" fmla="*/ 18361 h 18606"/>
              </a:gdLst>
              <a:ahLst/>
              <a:cxnLst>
                <a:cxn ang="0">
                  <a:pos x="connsiteX0" y="connsiteY0"/>
                </a:cxn>
                <a:cxn ang="0">
                  <a:pos x="connsiteX1" y="connsiteY1"/>
                </a:cxn>
                <a:cxn ang="0">
                  <a:pos x="connsiteX2" y="connsiteY2"/>
                </a:cxn>
                <a:cxn ang="0">
                  <a:pos x="connsiteX3" y="connsiteY3"/>
                </a:cxn>
              </a:cxnLst>
              <a:rect l="l" t="t" r="r" b="b"/>
              <a:pathLst>
                <a:path w="450192" h="18606">
                  <a:moveTo>
                    <a:pt x="-3561" y="-245"/>
                  </a:moveTo>
                  <a:lnTo>
                    <a:pt x="446632" y="-245"/>
                  </a:lnTo>
                  <a:lnTo>
                    <a:pt x="446632" y="18361"/>
                  </a:lnTo>
                  <a:lnTo>
                    <a:pt x="-3561" y="18361"/>
                  </a:lnTo>
                  <a:close/>
                </a:path>
              </a:pathLst>
            </a:custGeom>
            <a:grpFill/>
            <a:ln w="359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0FB30D04-F082-DE9B-BAE9-75F361BAF201}"/>
                </a:ext>
              </a:extLst>
            </p:cNvPr>
            <p:cNvSpPr/>
            <p:nvPr/>
          </p:nvSpPr>
          <p:spPr>
            <a:xfrm>
              <a:off x="3458519" y="1775740"/>
              <a:ext cx="181935" cy="181931"/>
            </a:xfrm>
            <a:custGeom>
              <a:avLst/>
              <a:gdLst>
                <a:gd name="connsiteX0" fmla="*/ 41933 w 181935"/>
                <a:gd name="connsiteY0" fmla="*/ 11948 h 181931"/>
                <a:gd name="connsiteX1" fmla="*/ 166181 w 181935"/>
                <a:gd name="connsiteY1" fmla="*/ 45254 h 181931"/>
                <a:gd name="connsiteX2" fmla="*/ 132848 w 181935"/>
                <a:gd name="connsiteY2" fmla="*/ 169493 h 181931"/>
                <a:gd name="connsiteX3" fmla="*/ 8634 w 181935"/>
                <a:gd name="connsiteY3" fmla="*/ 136198 h 181931"/>
                <a:gd name="connsiteX4" fmla="*/ 41933 w 181935"/>
                <a:gd name="connsiteY4" fmla="*/ 11956 h 181931"/>
                <a:gd name="connsiteX5" fmla="*/ 41933 w 181935"/>
                <a:gd name="connsiteY5" fmla="*/ 11948 h 18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35" h="181931">
                  <a:moveTo>
                    <a:pt x="41933" y="11948"/>
                  </a:moveTo>
                  <a:cubicBezTo>
                    <a:pt x="85432" y="-13160"/>
                    <a:pt x="141074" y="1751"/>
                    <a:pt x="166181" y="45254"/>
                  </a:cubicBezTo>
                  <a:cubicBezTo>
                    <a:pt x="191291" y="88757"/>
                    <a:pt x="176384" y="144381"/>
                    <a:pt x="132848" y="169493"/>
                  </a:cubicBezTo>
                  <a:cubicBezTo>
                    <a:pt x="89349" y="194598"/>
                    <a:pt x="33744" y="179694"/>
                    <a:pt x="8634" y="136198"/>
                  </a:cubicBezTo>
                  <a:cubicBezTo>
                    <a:pt x="-16473" y="92698"/>
                    <a:pt x="-1567" y="37071"/>
                    <a:pt x="41933" y="11956"/>
                  </a:cubicBezTo>
                  <a:cubicBezTo>
                    <a:pt x="41933" y="11952"/>
                    <a:pt x="41933" y="11952"/>
                    <a:pt x="41933" y="11948"/>
                  </a:cubicBezTo>
                  <a:close/>
                </a:path>
              </a:pathLst>
            </a:custGeom>
            <a:grpFill/>
            <a:ln w="359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A2DD97D4-FF72-EFBD-3F7A-D2A88ED95BEE}"/>
                </a:ext>
              </a:extLst>
            </p:cNvPr>
            <p:cNvSpPr/>
            <p:nvPr/>
          </p:nvSpPr>
          <p:spPr>
            <a:xfrm>
              <a:off x="3123466" y="2046449"/>
              <a:ext cx="83985" cy="83996"/>
            </a:xfrm>
            <a:custGeom>
              <a:avLst/>
              <a:gdLst>
                <a:gd name="connsiteX0" fmla="*/ 17348 w 83985"/>
                <a:gd name="connsiteY0" fmla="*/ 5436 h 83996"/>
                <a:gd name="connsiteX1" fmla="*/ 2119 w 83985"/>
                <a:gd name="connsiteY1" fmla="*/ 62830 h 83996"/>
                <a:gd name="connsiteX2" fmla="*/ 59520 w 83985"/>
                <a:gd name="connsiteY2" fmla="*/ 78071 h 83996"/>
                <a:gd name="connsiteX3" fmla="*/ 74821 w 83985"/>
                <a:gd name="connsiteY3" fmla="*/ 20810 h 83996"/>
                <a:gd name="connsiteX4" fmla="*/ 17492 w 83985"/>
                <a:gd name="connsiteY4" fmla="*/ 5357 h 83996"/>
                <a:gd name="connsiteX5" fmla="*/ 17348 w 83985"/>
                <a:gd name="connsiteY5" fmla="*/ 5436 h 83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985" h="83996">
                  <a:moveTo>
                    <a:pt x="17348" y="5436"/>
                  </a:moveTo>
                  <a:cubicBezTo>
                    <a:pt x="-2696" y="17078"/>
                    <a:pt x="-9520" y="42775"/>
                    <a:pt x="2119" y="62830"/>
                  </a:cubicBezTo>
                  <a:cubicBezTo>
                    <a:pt x="13756" y="82888"/>
                    <a:pt x="39439" y="89713"/>
                    <a:pt x="59520" y="78071"/>
                  </a:cubicBezTo>
                  <a:cubicBezTo>
                    <a:pt x="79527" y="66461"/>
                    <a:pt x="86352" y="40857"/>
                    <a:pt x="74821" y="20810"/>
                  </a:cubicBezTo>
                  <a:cubicBezTo>
                    <a:pt x="63256" y="709"/>
                    <a:pt x="37571" y="-6209"/>
                    <a:pt x="17492" y="5357"/>
                  </a:cubicBezTo>
                  <a:cubicBezTo>
                    <a:pt x="17420" y="5386"/>
                    <a:pt x="17385" y="5411"/>
                    <a:pt x="17348" y="5436"/>
                  </a:cubicBezTo>
                  <a:close/>
                </a:path>
              </a:pathLst>
            </a:custGeom>
            <a:grpFill/>
            <a:ln w="359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4E1E2540-EFEE-4052-E8DD-10FC851D4C98}"/>
                </a:ext>
              </a:extLst>
            </p:cNvPr>
            <p:cNvSpPr/>
            <p:nvPr/>
          </p:nvSpPr>
          <p:spPr>
            <a:xfrm>
              <a:off x="4197746" y="1451179"/>
              <a:ext cx="937635" cy="1990647"/>
            </a:xfrm>
            <a:custGeom>
              <a:avLst/>
              <a:gdLst>
                <a:gd name="connsiteX0" fmla="*/ 937635 w 937635"/>
                <a:gd name="connsiteY0" fmla="*/ 535971 h 1990647"/>
                <a:gd name="connsiteX1" fmla="*/ 937635 w 937635"/>
                <a:gd name="connsiteY1" fmla="*/ 1699727 h 1990647"/>
                <a:gd name="connsiteX2" fmla="*/ 433705 w 937635"/>
                <a:gd name="connsiteY2" fmla="*/ 1990648 h 1990647"/>
                <a:gd name="connsiteX3" fmla="*/ 424402 w 937635"/>
                <a:gd name="connsiteY3" fmla="*/ 1974519 h 1990647"/>
                <a:gd name="connsiteX4" fmla="*/ 919028 w 937635"/>
                <a:gd name="connsiteY4" fmla="*/ 1688986 h 1990647"/>
                <a:gd name="connsiteX5" fmla="*/ 919028 w 937635"/>
                <a:gd name="connsiteY5" fmla="*/ 546711 h 1990647"/>
                <a:gd name="connsiteX6" fmla="*/ 0 w 937635"/>
                <a:gd name="connsiteY6" fmla="*/ 16092 h 1990647"/>
                <a:gd name="connsiteX7" fmla="*/ 9304 w 937635"/>
                <a:gd name="connsiteY7" fmla="*/ 0 h 1990647"/>
                <a:gd name="connsiteX8" fmla="*/ 937635 w 937635"/>
                <a:gd name="connsiteY8" fmla="*/ 535971 h 199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7635" h="1990647">
                  <a:moveTo>
                    <a:pt x="937635" y="535971"/>
                  </a:moveTo>
                  <a:lnTo>
                    <a:pt x="937635" y="1699727"/>
                  </a:lnTo>
                  <a:lnTo>
                    <a:pt x="433705" y="1990648"/>
                  </a:lnTo>
                  <a:lnTo>
                    <a:pt x="424402" y="1974519"/>
                  </a:lnTo>
                  <a:lnTo>
                    <a:pt x="919028" y="1688986"/>
                  </a:lnTo>
                  <a:lnTo>
                    <a:pt x="919028" y="546711"/>
                  </a:lnTo>
                  <a:lnTo>
                    <a:pt x="0" y="16092"/>
                  </a:lnTo>
                  <a:lnTo>
                    <a:pt x="9304" y="0"/>
                  </a:lnTo>
                  <a:lnTo>
                    <a:pt x="937635" y="535971"/>
                  </a:lnTo>
                  <a:close/>
                </a:path>
              </a:pathLst>
            </a:custGeom>
            <a:grpFill/>
            <a:ln w="359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C03B0C2F-3176-A0D5-CABB-B621A8CA1C2A}"/>
                </a:ext>
              </a:extLst>
            </p:cNvPr>
            <p:cNvSpPr/>
            <p:nvPr/>
          </p:nvSpPr>
          <p:spPr>
            <a:xfrm>
              <a:off x="4115365" y="1370548"/>
              <a:ext cx="181921" cy="181932"/>
            </a:xfrm>
            <a:custGeom>
              <a:avLst/>
              <a:gdLst>
                <a:gd name="connsiteX0" fmla="*/ 41895 w 181921"/>
                <a:gd name="connsiteY0" fmla="*/ 169469 h 181932"/>
                <a:gd name="connsiteX1" fmla="*/ 8669 w 181921"/>
                <a:gd name="connsiteY1" fmla="*/ 45216 h 181932"/>
                <a:gd name="connsiteX2" fmla="*/ 132918 w 181921"/>
                <a:gd name="connsiteY2" fmla="*/ 11971 h 181932"/>
                <a:gd name="connsiteX3" fmla="*/ 166181 w 181921"/>
                <a:gd name="connsiteY3" fmla="*/ 136170 h 181932"/>
                <a:gd name="connsiteX4" fmla="*/ 41967 w 181921"/>
                <a:gd name="connsiteY4" fmla="*/ 169501 h 181932"/>
                <a:gd name="connsiteX5" fmla="*/ 41895 w 181921"/>
                <a:gd name="connsiteY5" fmla="*/ 169469 h 18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21" h="181932">
                  <a:moveTo>
                    <a:pt x="41895" y="169469"/>
                  </a:moveTo>
                  <a:cubicBezTo>
                    <a:pt x="-1604" y="144339"/>
                    <a:pt x="-16476" y="88708"/>
                    <a:pt x="8669" y="45216"/>
                  </a:cubicBezTo>
                  <a:cubicBezTo>
                    <a:pt x="33776" y="1723"/>
                    <a:pt x="89418" y="-13159"/>
                    <a:pt x="132918" y="11971"/>
                  </a:cubicBezTo>
                  <a:cubicBezTo>
                    <a:pt x="176382" y="37090"/>
                    <a:pt x="191254" y="92681"/>
                    <a:pt x="166181" y="136170"/>
                  </a:cubicBezTo>
                  <a:cubicBezTo>
                    <a:pt x="141072" y="179681"/>
                    <a:pt x="85467" y="194602"/>
                    <a:pt x="41967" y="169501"/>
                  </a:cubicBezTo>
                  <a:cubicBezTo>
                    <a:pt x="41930" y="169490"/>
                    <a:pt x="41895" y="169479"/>
                    <a:pt x="41895" y="169469"/>
                  </a:cubicBezTo>
                  <a:close/>
                </a:path>
              </a:pathLst>
            </a:custGeom>
            <a:grpFill/>
            <a:ln w="359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6BCAD37E-6943-F044-F197-2CAD7B519C75}"/>
                </a:ext>
              </a:extLst>
            </p:cNvPr>
            <p:cNvSpPr/>
            <p:nvPr/>
          </p:nvSpPr>
          <p:spPr>
            <a:xfrm>
              <a:off x="315018" y="325319"/>
              <a:ext cx="1131965" cy="928762"/>
            </a:xfrm>
            <a:custGeom>
              <a:avLst/>
              <a:gdLst>
                <a:gd name="connsiteX0" fmla="*/ 1131966 w 1131965"/>
                <a:gd name="connsiteY0" fmla="*/ 326770 h 928762"/>
                <a:gd name="connsiteX1" fmla="*/ 1131966 w 1131965"/>
                <a:gd name="connsiteY1" fmla="*/ 928763 h 928762"/>
                <a:gd name="connsiteX2" fmla="*/ 1121513 w 1131965"/>
                <a:gd name="connsiteY2" fmla="*/ 928763 h 928762"/>
                <a:gd name="connsiteX3" fmla="*/ 1121513 w 1131965"/>
                <a:gd name="connsiteY3" fmla="*/ 332804 h 928762"/>
                <a:gd name="connsiteX4" fmla="*/ 565965 w 1131965"/>
                <a:gd name="connsiteY4" fmla="*/ 12069 h 928762"/>
                <a:gd name="connsiteX5" fmla="*/ 10453 w 1131965"/>
                <a:gd name="connsiteY5" fmla="*/ 332804 h 928762"/>
                <a:gd name="connsiteX6" fmla="*/ 10453 w 1131965"/>
                <a:gd name="connsiteY6" fmla="*/ 623689 h 928762"/>
                <a:gd name="connsiteX7" fmla="*/ 0 w 1131965"/>
                <a:gd name="connsiteY7" fmla="*/ 623689 h 928762"/>
                <a:gd name="connsiteX8" fmla="*/ 0 w 1131965"/>
                <a:gd name="connsiteY8" fmla="*/ 326770 h 928762"/>
                <a:gd name="connsiteX9" fmla="*/ 565965 w 1131965"/>
                <a:gd name="connsiteY9" fmla="*/ 0 h 928762"/>
                <a:gd name="connsiteX10" fmla="*/ 1131966 w 1131965"/>
                <a:gd name="connsiteY10" fmla="*/ 326770 h 92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1965" h="928762">
                  <a:moveTo>
                    <a:pt x="1131966" y="326770"/>
                  </a:moveTo>
                  <a:lnTo>
                    <a:pt x="1131966" y="928763"/>
                  </a:lnTo>
                  <a:lnTo>
                    <a:pt x="1121513" y="928763"/>
                  </a:lnTo>
                  <a:lnTo>
                    <a:pt x="1121513" y="332804"/>
                  </a:lnTo>
                  <a:lnTo>
                    <a:pt x="565965" y="12069"/>
                  </a:lnTo>
                  <a:lnTo>
                    <a:pt x="10453" y="332804"/>
                  </a:lnTo>
                  <a:lnTo>
                    <a:pt x="10453" y="623689"/>
                  </a:lnTo>
                  <a:lnTo>
                    <a:pt x="0" y="623689"/>
                  </a:lnTo>
                  <a:lnTo>
                    <a:pt x="0" y="326770"/>
                  </a:lnTo>
                  <a:lnTo>
                    <a:pt x="565965" y="0"/>
                  </a:lnTo>
                  <a:lnTo>
                    <a:pt x="1131966" y="326770"/>
                  </a:lnTo>
                  <a:close/>
                </a:path>
              </a:pathLst>
            </a:custGeom>
            <a:grpFill/>
            <a:ln w="359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B47171E5-77BC-C49D-389E-13A0DD61D435}"/>
                </a:ext>
              </a:extLst>
            </p:cNvPr>
            <p:cNvSpPr/>
            <p:nvPr/>
          </p:nvSpPr>
          <p:spPr>
            <a:xfrm>
              <a:off x="288795" y="915997"/>
              <a:ext cx="62861" cy="62861"/>
            </a:xfrm>
            <a:custGeom>
              <a:avLst/>
              <a:gdLst>
                <a:gd name="connsiteX0" fmla="*/ 59301 w 62861"/>
                <a:gd name="connsiteY0" fmla="*/ 31185 h 62861"/>
                <a:gd name="connsiteX1" fmla="*/ 27870 w 62861"/>
                <a:gd name="connsiteY1" fmla="*/ 62616 h 62861"/>
                <a:gd name="connsiteX2" fmla="*/ -3560 w 62861"/>
                <a:gd name="connsiteY2" fmla="*/ 31185 h 62861"/>
                <a:gd name="connsiteX3" fmla="*/ 27870 w 62861"/>
                <a:gd name="connsiteY3" fmla="*/ -245 h 62861"/>
                <a:gd name="connsiteX4" fmla="*/ 59301 w 62861"/>
                <a:gd name="connsiteY4" fmla="*/ 31185 h 6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61" h="62861">
                  <a:moveTo>
                    <a:pt x="59301" y="31185"/>
                  </a:moveTo>
                  <a:cubicBezTo>
                    <a:pt x="59301" y="48542"/>
                    <a:pt x="45220" y="62616"/>
                    <a:pt x="27870" y="62616"/>
                  </a:cubicBezTo>
                  <a:cubicBezTo>
                    <a:pt x="10521" y="62616"/>
                    <a:pt x="-3560" y="48542"/>
                    <a:pt x="-3560" y="31185"/>
                  </a:cubicBezTo>
                  <a:cubicBezTo>
                    <a:pt x="-3560" y="13828"/>
                    <a:pt x="10521" y="-245"/>
                    <a:pt x="27870" y="-245"/>
                  </a:cubicBezTo>
                  <a:cubicBezTo>
                    <a:pt x="45220" y="-245"/>
                    <a:pt x="59301" y="13828"/>
                    <a:pt x="59301" y="31185"/>
                  </a:cubicBezTo>
                  <a:close/>
                </a:path>
              </a:pathLst>
            </a:custGeom>
            <a:grpFill/>
            <a:ln w="359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CA6F7AF3-9A3C-C5CB-8279-9F2E0243A55C}"/>
                </a:ext>
              </a:extLst>
            </p:cNvPr>
            <p:cNvSpPr/>
            <p:nvPr/>
          </p:nvSpPr>
          <p:spPr>
            <a:xfrm>
              <a:off x="1390659" y="1200453"/>
              <a:ext cx="102158" cy="102158"/>
            </a:xfrm>
            <a:custGeom>
              <a:avLst/>
              <a:gdLst>
                <a:gd name="connsiteX0" fmla="*/ -3560 w 102158"/>
                <a:gd name="connsiteY0" fmla="*/ 50834 h 102158"/>
                <a:gd name="connsiteX1" fmla="*/ 47519 w 102158"/>
                <a:gd name="connsiteY1" fmla="*/ 101913 h 102158"/>
                <a:gd name="connsiteX2" fmla="*/ 98599 w 102158"/>
                <a:gd name="connsiteY2" fmla="*/ 50834 h 102158"/>
                <a:gd name="connsiteX3" fmla="*/ 47519 w 102158"/>
                <a:gd name="connsiteY3" fmla="*/ -245 h 102158"/>
                <a:gd name="connsiteX4" fmla="*/ -3560 w 102158"/>
                <a:gd name="connsiteY4" fmla="*/ 50834 h 10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58" h="102158">
                  <a:moveTo>
                    <a:pt x="-3560" y="50834"/>
                  </a:moveTo>
                  <a:cubicBezTo>
                    <a:pt x="-3560" y="79046"/>
                    <a:pt x="19322" y="101913"/>
                    <a:pt x="47519" y="101913"/>
                  </a:cubicBezTo>
                  <a:cubicBezTo>
                    <a:pt x="75717" y="101913"/>
                    <a:pt x="98599" y="79042"/>
                    <a:pt x="98599" y="50834"/>
                  </a:cubicBezTo>
                  <a:cubicBezTo>
                    <a:pt x="98599" y="22625"/>
                    <a:pt x="75717" y="-245"/>
                    <a:pt x="47519" y="-245"/>
                  </a:cubicBezTo>
                  <a:cubicBezTo>
                    <a:pt x="19322" y="-245"/>
                    <a:pt x="-3560" y="22625"/>
                    <a:pt x="-3560" y="50834"/>
                  </a:cubicBezTo>
                  <a:close/>
                </a:path>
              </a:pathLst>
            </a:custGeom>
            <a:grpFill/>
            <a:ln w="359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1346F211-3F19-D23C-893D-90CE4E0C51E4}"/>
                </a:ext>
              </a:extLst>
            </p:cNvPr>
            <p:cNvSpPr/>
            <p:nvPr/>
          </p:nvSpPr>
          <p:spPr>
            <a:xfrm>
              <a:off x="6758274" y="4546564"/>
              <a:ext cx="880736" cy="556984"/>
            </a:xfrm>
            <a:custGeom>
              <a:avLst/>
              <a:gdLst>
                <a:gd name="connsiteX0" fmla="*/ 880737 w 880736"/>
                <a:gd name="connsiteY0" fmla="*/ 326770 h 556984"/>
                <a:gd name="connsiteX1" fmla="*/ 880737 w 880736"/>
                <a:gd name="connsiteY1" fmla="*/ 556985 h 556984"/>
                <a:gd name="connsiteX2" fmla="*/ 870284 w 880736"/>
                <a:gd name="connsiteY2" fmla="*/ 556985 h 556984"/>
                <a:gd name="connsiteX3" fmla="*/ 870284 w 880736"/>
                <a:gd name="connsiteY3" fmla="*/ 332804 h 556984"/>
                <a:gd name="connsiteX4" fmla="*/ 314736 w 880736"/>
                <a:gd name="connsiteY4" fmla="*/ 12069 h 556984"/>
                <a:gd name="connsiteX5" fmla="*/ 5208 w 880736"/>
                <a:gd name="connsiteY5" fmla="*/ 190774 h 556984"/>
                <a:gd name="connsiteX6" fmla="*/ 0 w 880736"/>
                <a:gd name="connsiteY6" fmla="*/ 181722 h 556984"/>
                <a:gd name="connsiteX7" fmla="*/ 314736 w 880736"/>
                <a:gd name="connsiteY7" fmla="*/ 0 h 556984"/>
                <a:gd name="connsiteX8" fmla="*/ 880737 w 880736"/>
                <a:gd name="connsiteY8" fmla="*/ 326770 h 556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0736" h="556984">
                  <a:moveTo>
                    <a:pt x="880737" y="326770"/>
                  </a:moveTo>
                  <a:lnTo>
                    <a:pt x="880737" y="556985"/>
                  </a:lnTo>
                  <a:lnTo>
                    <a:pt x="870284" y="556985"/>
                  </a:lnTo>
                  <a:lnTo>
                    <a:pt x="870284" y="332804"/>
                  </a:lnTo>
                  <a:lnTo>
                    <a:pt x="314736" y="12069"/>
                  </a:lnTo>
                  <a:lnTo>
                    <a:pt x="5208" y="190774"/>
                  </a:lnTo>
                  <a:lnTo>
                    <a:pt x="0" y="181722"/>
                  </a:lnTo>
                  <a:lnTo>
                    <a:pt x="314736" y="0"/>
                  </a:lnTo>
                  <a:lnTo>
                    <a:pt x="880737" y="326770"/>
                  </a:lnTo>
                  <a:close/>
                </a:path>
              </a:pathLst>
            </a:custGeom>
            <a:grpFill/>
            <a:ln w="359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A5AD9FA9-399D-7E9D-F492-471AF5EAD1C9}"/>
                </a:ext>
              </a:extLst>
            </p:cNvPr>
            <p:cNvSpPr/>
            <p:nvPr/>
          </p:nvSpPr>
          <p:spPr>
            <a:xfrm>
              <a:off x="6715798" y="4684459"/>
              <a:ext cx="94275" cy="94277"/>
            </a:xfrm>
            <a:custGeom>
              <a:avLst/>
              <a:gdLst>
                <a:gd name="connsiteX0" fmla="*/ 67114 w 94275"/>
                <a:gd name="connsiteY0" fmla="*/ 87728 h 94277"/>
                <a:gd name="connsiteX1" fmla="*/ 2745 w 94275"/>
                <a:gd name="connsiteY1" fmla="*/ 70414 h 94277"/>
                <a:gd name="connsiteX2" fmla="*/ 20058 w 94275"/>
                <a:gd name="connsiteY2" fmla="*/ 6044 h 94277"/>
                <a:gd name="connsiteX3" fmla="*/ 84392 w 94275"/>
                <a:gd name="connsiteY3" fmla="*/ 23322 h 94277"/>
                <a:gd name="connsiteX4" fmla="*/ 67149 w 94275"/>
                <a:gd name="connsiteY4" fmla="*/ 87692 h 94277"/>
                <a:gd name="connsiteX5" fmla="*/ 67114 w 94275"/>
                <a:gd name="connsiteY5" fmla="*/ 87728 h 9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275" h="94277">
                  <a:moveTo>
                    <a:pt x="67114" y="87728"/>
                  </a:moveTo>
                  <a:cubicBezTo>
                    <a:pt x="44555" y="100731"/>
                    <a:pt x="15747" y="92973"/>
                    <a:pt x="2745" y="70414"/>
                  </a:cubicBezTo>
                  <a:cubicBezTo>
                    <a:pt x="-10259" y="47892"/>
                    <a:pt x="-2500" y="19048"/>
                    <a:pt x="20058" y="6044"/>
                  </a:cubicBezTo>
                  <a:cubicBezTo>
                    <a:pt x="42580" y="-6923"/>
                    <a:pt x="71388" y="800"/>
                    <a:pt x="84392" y="23322"/>
                  </a:cubicBezTo>
                  <a:cubicBezTo>
                    <a:pt x="97396" y="45845"/>
                    <a:pt x="89708" y="74689"/>
                    <a:pt x="67149" y="87692"/>
                  </a:cubicBezTo>
                  <a:cubicBezTo>
                    <a:pt x="67149" y="87728"/>
                    <a:pt x="67114" y="87728"/>
                    <a:pt x="67114" y="87728"/>
                  </a:cubicBezTo>
                  <a:close/>
                </a:path>
              </a:pathLst>
            </a:custGeom>
            <a:grpFill/>
            <a:ln w="359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CC83F2F6-FEE7-9125-CB41-586C9EE753A8}"/>
                </a:ext>
              </a:extLst>
            </p:cNvPr>
            <p:cNvSpPr/>
            <p:nvPr/>
          </p:nvSpPr>
          <p:spPr>
            <a:xfrm>
              <a:off x="7598421" y="5066407"/>
              <a:ext cx="70762" cy="70763"/>
            </a:xfrm>
            <a:custGeom>
              <a:avLst/>
              <a:gdLst>
                <a:gd name="connsiteX0" fmla="*/ -3560 w 70762"/>
                <a:gd name="connsiteY0" fmla="*/ 35100 h 70763"/>
                <a:gd name="connsiteX1" fmla="*/ 31785 w 70762"/>
                <a:gd name="connsiteY1" fmla="*/ 70518 h 70763"/>
                <a:gd name="connsiteX2" fmla="*/ 67202 w 70762"/>
                <a:gd name="connsiteY2" fmla="*/ 35172 h 70763"/>
                <a:gd name="connsiteX3" fmla="*/ 31857 w 70762"/>
                <a:gd name="connsiteY3" fmla="*/ -245 h 70763"/>
                <a:gd name="connsiteX4" fmla="*/ 31785 w 70762"/>
                <a:gd name="connsiteY4" fmla="*/ -245 h 70763"/>
                <a:gd name="connsiteX5" fmla="*/ -3560 w 70762"/>
                <a:gd name="connsiteY5" fmla="*/ 35100 h 7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762" h="70763">
                  <a:moveTo>
                    <a:pt x="-3560" y="35100"/>
                  </a:moveTo>
                  <a:cubicBezTo>
                    <a:pt x="-3597" y="54641"/>
                    <a:pt x="12245" y="70482"/>
                    <a:pt x="31785" y="70518"/>
                  </a:cubicBezTo>
                  <a:cubicBezTo>
                    <a:pt x="51326" y="70554"/>
                    <a:pt x="67167" y="54713"/>
                    <a:pt x="67202" y="35172"/>
                  </a:cubicBezTo>
                  <a:cubicBezTo>
                    <a:pt x="67239" y="15631"/>
                    <a:pt x="51398" y="-210"/>
                    <a:pt x="31857" y="-245"/>
                  </a:cubicBezTo>
                  <a:cubicBezTo>
                    <a:pt x="31822" y="-245"/>
                    <a:pt x="31822" y="-245"/>
                    <a:pt x="31785" y="-245"/>
                  </a:cubicBezTo>
                  <a:cubicBezTo>
                    <a:pt x="12280" y="-210"/>
                    <a:pt x="-3525" y="15595"/>
                    <a:pt x="-3560" y="35100"/>
                  </a:cubicBezTo>
                  <a:close/>
                </a:path>
              </a:pathLst>
            </a:custGeom>
            <a:grpFill/>
            <a:ln w="359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320D40B9-4F36-AA20-4FDA-DB9AE28D3458}"/>
                </a:ext>
              </a:extLst>
            </p:cNvPr>
            <p:cNvSpPr/>
            <p:nvPr/>
          </p:nvSpPr>
          <p:spPr>
            <a:xfrm>
              <a:off x="7055265" y="3600416"/>
              <a:ext cx="568623" cy="975783"/>
            </a:xfrm>
            <a:custGeom>
              <a:avLst/>
              <a:gdLst>
                <a:gd name="connsiteX0" fmla="*/ 568623 w 568623"/>
                <a:gd name="connsiteY0" fmla="*/ 966767 h 975783"/>
                <a:gd name="connsiteX1" fmla="*/ 563378 w 568623"/>
                <a:gd name="connsiteY1" fmla="*/ 975783 h 975783"/>
                <a:gd name="connsiteX2" fmla="*/ 0 w 568623"/>
                <a:gd name="connsiteY2" fmla="*/ 650522 h 975783"/>
                <a:gd name="connsiteX3" fmla="*/ 0 w 568623"/>
                <a:gd name="connsiteY3" fmla="*/ 0 h 975783"/>
                <a:gd name="connsiteX4" fmla="*/ 10453 w 568623"/>
                <a:gd name="connsiteY4" fmla="*/ 0 h 975783"/>
                <a:gd name="connsiteX5" fmla="*/ 10453 w 568623"/>
                <a:gd name="connsiteY5" fmla="*/ 644488 h 975783"/>
                <a:gd name="connsiteX6" fmla="*/ 568623 w 568623"/>
                <a:gd name="connsiteY6" fmla="*/ 966767 h 975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623" h="975783">
                  <a:moveTo>
                    <a:pt x="568623" y="966767"/>
                  </a:moveTo>
                  <a:lnTo>
                    <a:pt x="563378" y="975783"/>
                  </a:lnTo>
                  <a:lnTo>
                    <a:pt x="0" y="650522"/>
                  </a:lnTo>
                  <a:lnTo>
                    <a:pt x="0" y="0"/>
                  </a:lnTo>
                  <a:lnTo>
                    <a:pt x="10453" y="0"/>
                  </a:lnTo>
                  <a:lnTo>
                    <a:pt x="10453" y="644488"/>
                  </a:lnTo>
                  <a:lnTo>
                    <a:pt x="568623" y="966767"/>
                  </a:lnTo>
                  <a:close/>
                </a:path>
              </a:pathLst>
            </a:custGeom>
            <a:grpFill/>
            <a:ln w="359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1F2AC256-6D52-08E4-8CCF-08927AF9C343}"/>
                </a:ext>
              </a:extLst>
            </p:cNvPr>
            <p:cNvSpPr/>
            <p:nvPr/>
          </p:nvSpPr>
          <p:spPr>
            <a:xfrm>
              <a:off x="6626481" y="1365256"/>
              <a:ext cx="1131965" cy="928798"/>
            </a:xfrm>
            <a:custGeom>
              <a:avLst/>
              <a:gdLst>
                <a:gd name="connsiteX0" fmla="*/ 1131966 w 1131965"/>
                <a:gd name="connsiteY0" fmla="*/ 326770 h 928798"/>
                <a:gd name="connsiteX1" fmla="*/ 1131966 w 1131965"/>
                <a:gd name="connsiteY1" fmla="*/ 928799 h 928798"/>
                <a:gd name="connsiteX2" fmla="*/ 1121513 w 1131965"/>
                <a:gd name="connsiteY2" fmla="*/ 928799 h 928798"/>
                <a:gd name="connsiteX3" fmla="*/ 1121513 w 1131965"/>
                <a:gd name="connsiteY3" fmla="*/ 332804 h 928798"/>
                <a:gd name="connsiteX4" fmla="*/ 565965 w 1131965"/>
                <a:gd name="connsiteY4" fmla="*/ 12069 h 928798"/>
                <a:gd name="connsiteX5" fmla="*/ 10453 w 1131965"/>
                <a:gd name="connsiteY5" fmla="*/ 332804 h 928798"/>
                <a:gd name="connsiteX6" fmla="*/ 10453 w 1131965"/>
                <a:gd name="connsiteY6" fmla="*/ 623689 h 928798"/>
                <a:gd name="connsiteX7" fmla="*/ 0 w 1131965"/>
                <a:gd name="connsiteY7" fmla="*/ 623689 h 928798"/>
                <a:gd name="connsiteX8" fmla="*/ 0 w 1131965"/>
                <a:gd name="connsiteY8" fmla="*/ 326770 h 928798"/>
                <a:gd name="connsiteX9" fmla="*/ 2586 w 1131965"/>
                <a:gd name="connsiteY9" fmla="*/ 325261 h 928798"/>
                <a:gd name="connsiteX10" fmla="*/ 565965 w 1131965"/>
                <a:gd name="connsiteY10" fmla="*/ 0 h 928798"/>
                <a:gd name="connsiteX11" fmla="*/ 1131966 w 1131965"/>
                <a:gd name="connsiteY11" fmla="*/ 326770 h 92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1965" h="928798">
                  <a:moveTo>
                    <a:pt x="1131966" y="326770"/>
                  </a:moveTo>
                  <a:lnTo>
                    <a:pt x="1131966" y="928799"/>
                  </a:lnTo>
                  <a:lnTo>
                    <a:pt x="1121513" y="928799"/>
                  </a:lnTo>
                  <a:lnTo>
                    <a:pt x="1121513" y="332804"/>
                  </a:lnTo>
                  <a:lnTo>
                    <a:pt x="565965" y="12069"/>
                  </a:lnTo>
                  <a:lnTo>
                    <a:pt x="10453" y="332804"/>
                  </a:lnTo>
                  <a:lnTo>
                    <a:pt x="10453" y="623689"/>
                  </a:lnTo>
                  <a:lnTo>
                    <a:pt x="0" y="623689"/>
                  </a:lnTo>
                  <a:lnTo>
                    <a:pt x="0" y="326770"/>
                  </a:lnTo>
                  <a:lnTo>
                    <a:pt x="2586" y="325261"/>
                  </a:lnTo>
                  <a:lnTo>
                    <a:pt x="565965" y="0"/>
                  </a:lnTo>
                  <a:lnTo>
                    <a:pt x="1131966" y="326770"/>
                  </a:lnTo>
                  <a:close/>
                </a:path>
              </a:pathLst>
            </a:custGeom>
            <a:grpFill/>
            <a:ln w="359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98517C9F-6992-6E96-D9E9-2C8AD43A2C36}"/>
                </a:ext>
              </a:extLst>
            </p:cNvPr>
            <p:cNvSpPr/>
            <p:nvPr/>
          </p:nvSpPr>
          <p:spPr>
            <a:xfrm>
              <a:off x="6600260" y="1955935"/>
              <a:ext cx="62861" cy="62861"/>
            </a:xfrm>
            <a:custGeom>
              <a:avLst/>
              <a:gdLst>
                <a:gd name="connsiteX0" fmla="*/ 59301 w 62861"/>
                <a:gd name="connsiteY0" fmla="*/ 31185 h 62861"/>
                <a:gd name="connsiteX1" fmla="*/ 27870 w 62861"/>
                <a:gd name="connsiteY1" fmla="*/ 62616 h 62861"/>
                <a:gd name="connsiteX2" fmla="*/ -3560 w 62861"/>
                <a:gd name="connsiteY2" fmla="*/ 31185 h 62861"/>
                <a:gd name="connsiteX3" fmla="*/ 27870 w 62861"/>
                <a:gd name="connsiteY3" fmla="*/ -245 h 62861"/>
                <a:gd name="connsiteX4" fmla="*/ 27977 w 62861"/>
                <a:gd name="connsiteY4" fmla="*/ -245 h 62861"/>
                <a:gd name="connsiteX5" fmla="*/ 59301 w 62861"/>
                <a:gd name="connsiteY5" fmla="*/ 31185 h 6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61" h="62861">
                  <a:moveTo>
                    <a:pt x="59301" y="31185"/>
                  </a:moveTo>
                  <a:cubicBezTo>
                    <a:pt x="59301" y="48546"/>
                    <a:pt x="45219" y="62616"/>
                    <a:pt x="27870" y="62616"/>
                  </a:cubicBezTo>
                  <a:cubicBezTo>
                    <a:pt x="10520" y="62616"/>
                    <a:pt x="-3560" y="48542"/>
                    <a:pt x="-3560" y="31185"/>
                  </a:cubicBezTo>
                  <a:cubicBezTo>
                    <a:pt x="-3560" y="13825"/>
                    <a:pt x="10520" y="-245"/>
                    <a:pt x="27870" y="-245"/>
                  </a:cubicBezTo>
                  <a:cubicBezTo>
                    <a:pt x="27905" y="-245"/>
                    <a:pt x="27942" y="-245"/>
                    <a:pt x="27977" y="-245"/>
                  </a:cubicBezTo>
                  <a:cubicBezTo>
                    <a:pt x="45290" y="-184"/>
                    <a:pt x="59301" y="13868"/>
                    <a:pt x="59301" y="31185"/>
                  </a:cubicBezTo>
                  <a:close/>
                </a:path>
              </a:pathLst>
            </a:custGeom>
            <a:grpFill/>
            <a:ln w="359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6F7AE9BB-AF87-48BF-7E94-6B5980A4C419}"/>
                </a:ext>
              </a:extLst>
            </p:cNvPr>
            <p:cNvSpPr/>
            <p:nvPr/>
          </p:nvSpPr>
          <p:spPr>
            <a:xfrm>
              <a:off x="7702231" y="2240390"/>
              <a:ext cx="102157" cy="102158"/>
            </a:xfrm>
            <a:custGeom>
              <a:avLst/>
              <a:gdLst>
                <a:gd name="connsiteX0" fmla="*/ -3560 w 102157"/>
                <a:gd name="connsiteY0" fmla="*/ 50834 h 102158"/>
                <a:gd name="connsiteX1" fmla="*/ 47520 w 102157"/>
                <a:gd name="connsiteY1" fmla="*/ 101913 h 102158"/>
                <a:gd name="connsiteX2" fmla="*/ 98598 w 102157"/>
                <a:gd name="connsiteY2" fmla="*/ 50834 h 102158"/>
                <a:gd name="connsiteX3" fmla="*/ 47520 w 102157"/>
                <a:gd name="connsiteY3" fmla="*/ -245 h 102158"/>
                <a:gd name="connsiteX4" fmla="*/ -3560 w 102157"/>
                <a:gd name="connsiteY4" fmla="*/ 50834 h 10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57" h="102158">
                  <a:moveTo>
                    <a:pt x="-3560" y="50834"/>
                  </a:moveTo>
                  <a:cubicBezTo>
                    <a:pt x="-3560" y="79042"/>
                    <a:pt x="19322" y="101913"/>
                    <a:pt x="47520" y="101913"/>
                  </a:cubicBezTo>
                  <a:cubicBezTo>
                    <a:pt x="75716" y="101913"/>
                    <a:pt x="98598" y="79042"/>
                    <a:pt x="98598" y="50834"/>
                  </a:cubicBezTo>
                  <a:cubicBezTo>
                    <a:pt x="98598" y="22622"/>
                    <a:pt x="75716" y="-245"/>
                    <a:pt x="47520" y="-245"/>
                  </a:cubicBezTo>
                  <a:cubicBezTo>
                    <a:pt x="19322" y="-245"/>
                    <a:pt x="-3560" y="22625"/>
                    <a:pt x="-3560" y="50834"/>
                  </a:cubicBezTo>
                  <a:close/>
                </a:path>
              </a:pathLst>
            </a:custGeom>
            <a:grpFill/>
            <a:ln w="359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D9A2E684-0FC9-2EA4-FE17-530474D10051}"/>
                </a:ext>
              </a:extLst>
            </p:cNvPr>
            <p:cNvSpPr/>
            <p:nvPr/>
          </p:nvSpPr>
          <p:spPr>
            <a:xfrm rot="19737602">
              <a:off x="6785855" y="1049181"/>
              <a:ext cx="245158" cy="10237"/>
            </a:xfrm>
            <a:custGeom>
              <a:avLst/>
              <a:gdLst>
                <a:gd name="connsiteX0" fmla="*/ -3560 w 245158"/>
                <a:gd name="connsiteY0" fmla="*/ -245 h 10237"/>
                <a:gd name="connsiteX1" fmla="*/ 241598 w 245158"/>
                <a:gd name="connsiteY1" fmla="*/ -245 h 10237"/>
                <a:gd name="connsiteX2" fmla="*/ 241598 w 245158"/>
                <a:gd name="connsiteY2" fmla="*/ 9992 h 10237"/>
                <a:gd name="connsiteX3" fmla="*/ -3560 w 245158"/>
                <a:gd name="connsiteY3" fmla="*/ 9992 h 10237"/>
              </a:gdLst>
              <a:ahLst/>
              <a:cxnLst>
                <a:cxn ang="0">
                  <a:pos x="connsiteX0" y="connsiteY0"/>
                </a:cxn>
                <a:cxn ang="0">
                  <a:pos x="connsiteX1" y="connsiteY1"/>
                </a:cxn>
                <a:cxn ang="0">
                  <a:pos x="connsiteX2" y="connsiteY2"/>
                </a:cxn>
                <a:cxn ang="0">
                  <a:pos x="connsiteX3" y="connsiteY3"/>
                </a:cxn>
              </a:cxnLst>
              <a:rect l="l" t="t" r="r" b="b"/>
              <a:pathLst>
                <a:path w="245158" h="10237">
                  <a:moveTo>
                    <a:pt x="-3560" y="-245"/>
                  </a:moveTo>
                  <a:lnTo>
                    <a:pt x="241598" y="-245"/>
                  </a:lnTo>
                  <a:lnTo>
                    <a:pt x="241598" y="9992"/>
                  </a:lnTo>
                  <a:lnTo>
                    <a:pt x="-3560" y="9992"/>
                  </a:lnTo>
                  <a:close/>
                </a:path>
              </a:pathLst>
            </a:custGeom>
            <a:grpFill/>
            <a:ln w="359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640224C0-B4D6-1F90-97B0-7BAC26D49120}"/>
                </a:ext>
              </a:extLst>
            </p:cNvPr>
            <p:cNvSpPr/>
            <p:nvPr/>
          </p:nvSpPr>
          <p:spPr>
            <a:xfrm>
              <a:off x="6962404" y="941573"/>
              <a:ext cx="98139" cy="102059"/>
            </a:xfrm>
            <a:custGeom>
              <a:avLst/>
              <a:gdLst>
                <a:gd name="connsiteX0" fmla="*/ 21015 w 98139"/>
                <a:gd name="connsiteY0" fmla="*/ 6544 h 102059"/>
                <a:gd name="connsiteX1" fmla="*/ 86786 w 98139"/>
                <a:gd name="connsiteY1" fmla="*/ 23132 h 102059"/>
                <a:gd name="connsiteX2" fmla="*/ 87972 w 98139"/>
                <a:gd name="connsiteY2" fmla="*/ 25259 h 102059"/>
                <a:gd name="connsiteX3" fmla="*/ 70012 w 98139"/>
                <a:gd name="connsiteY3" fmla="*/ 95016 h 102059"/>
                <a:gd name="connsiteX4" fmla="*/ 4241 w 98139"/>
                <a:gd name="connsiteY4" fmla="*/ 78453 h 102059"/>
                <a:gd name="connsiteX5" fmla="*/ 3055 w 98139"/>
                <a:gd name="connsiteY5" fmla="*/ 76338 h 102059"/>
                <a:gd name="connsiteX6" fmla="*/ 21015 w 98139"/>
                <a:gd name="connsiteY6" fmla="*/ 6544 h 1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39" h="102059">
                  <a:moveTo>
                    <a:pt x="21015" y="6544"/>
                  </a:moveTo>
                  <a:cubicBezTo>
                    <a:pt x="43753" y="-7034"/>
                    <a:pt x="73209" y="391"/>
                    <a:pt x="86786" y="23132"/>
                  </a:cubicBezTo>
                  <a:cubicBezTo>
                    <a:pt x="87181" y="23829"/>
                    <a:pt x="87577" y="24540"/>
                    <a:pt x="87972" y="25259"/>
                  </a:cubicBezTo>
                  <a:cubicBezTo>
                    <a:pt x="101514" y="49584"/>
                    <a:pt x="93611" y="80260"/>
                    <a:pt x="70012" y="95016"/>
                  </a:cubicBezTo>
                  <a:cubicBezTo>
                    <a:pt x="47274" y="108601"/>
                    <a:pt x="17820" y="101187"/>
                    <a:pt x="4241" y="78453"/>
                  </a:cubicBezTo>
                  <a:cubicBezTo>
                    <a:pt x="3846" y="77757"/>
                    <a:pt x="3415" y="77052"/>
                    <a:pt x="3055" y="76338"/>
                  </a:cubicBezTo>
                  <a:cubicBezTo>
                    <a:pt x="-10487" y="52001"/>
                    <a:pt x="-2621" y="21314"/>
                    <a:pt x="21015" y="6544"/>
                  </a:cubicBezTo>
                  <a:close/>
                </a:path>
              </a:pathLst>
            </a:custGeom>
            <a:grpFill/>
            <a:ln w="359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2434F69F-0EB1-B96B-91C4-D656876A86D3}"/>
                </a:ext>
              </a:extLst>
            </p:cNvPr>
            <p:cNvSpPr/>
            <p:nvPr/>
          </p:nvSpPr>
          <p:spPr>
            <a:xfrm>
              <a:off x="6781808" y="1093598"/>
              <a:ext cx="45425" cy="47251"/>
            </a:xfrm>
            <a:custGeom>
              <a:avLst/>
              <a:gdLst>
                <a:gd name="connsiteX0" fmla="*/ 7821 w 45425"/>
                <a:gd name="connsiteY0" fmla="*/ 2907 h 47251"/>
                <a:gd name="connsiteX1" fmla="*/ -442 w 45425"/>
                <a:gd name="connsiteY1" fmla="*/ 35235 h 47251"/>
                <a:gd name="connsiteX2" fmla="*/ 29409 w 45425"/>
                <a:gd name="connsiteY2" fmla="*/ 44441 h 47251"/>
                <a:gd name="connsiteX3" fmla="*/ 30450 w 45425"/>
                <a:gd name="connsiteY3" fmla="*/ 43856 h 47251"/>
                <a:gd name="connsiteX4" fmla="*/ 38748 w 45425"/>
                <a:gd name="connsiteY4" fmla="*/ 11527 h 47251"/>
                <a:gd name="connsiteX5" fmla="*/ 8826 w 45425"/>
                <a:gd name="connsiteY5" fmla="*/ 2332 h 47251"/>
                <a:gd name="connsiteX6" fmla="*/ 7821 w 45425"/>
                <a:gd name="connsiteY6" fmla="*/ 2907 h 4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425" h="47251">
                  <a:moveTo>
                    <a:pt x="7821" y="2907"/>
                  </a:moveTo>
                  <a:cubicBezTo>
                    <a:pt x="-3136" y="9728"/>
                    <a:pt x="-6800" y="23985"/>
                    <a:pt x="-442" y="35235"/>
                  </a:cubicBezTo>
                  <a:cubicBezTo>
                    <a:pt x="5271" y="46022"/>
                    <a:pt x="18632" y="50142"/>
                    <a:pt x="29409" y="44441"/>
                  </a:cubicBezTo>
                  <a:cubicBezTo>
                    <a:pt x="29768" y="44255"/>
                    <a:pt x="30128" y="44061"/>
                    <a:pt x="30450" y="43856"/>
                  </a:cubicBezTo>
                  <a:cubicBezTo>
                    <a:pt x="41442" y="37049"/>
                    <a:pt x="45106" y="22785"/>
                    <a:pt x="38748" y="11527"/>
                  </a:cubicBezTo>
                  <a:cubicBezTo>
                    <a:pt x="33037" y="730"/>
                    <a:pt x="19639" y="-3387"/>
                    <a:pt x="8826" y="2332"/>
                  </a:cubicBezTo>
                  <a:cubicBezTo>
                    <a:pt x="8503" y="2515"/>
                    <a:pt x="8144" y="2705"/>
                    <a:pt x="7821" y="2907"/>
                  </a:cubicBezTo>
                  <a:close/>
                </a:path>
              </a:pathLst>
            </a:custGeom>
            <a:grpFill/>
            <a:ln w="359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4BCE8F22-4174-19F9-4DD3-43FF5CA5EA88}"/>
                </a:ext>
              </a:extLst>
            </p:cNvPr>
            <p:cNvSpPr/>
            <p:nvPr/>
          </p:nvSpPr>
          <p:spPr>
            <a:xfrm rot="19799999">
              <a:off x="1465682" y="3051137"/>
              <a:ext cx="647504" cy="10452"/>
            </a:xfrm>
            <a:custGeom>
              <a:avLst/>
              <a:gdLst>
                <a:gd name="connsiteX0" fmla="*/ -3560 w 647504"/>
                <a:gd name="connsiteY0" fmla="*/ -245 h 10452"/>
                <a:gd name="connsiteX1" fmla="*/ 643944 w 647504"/>
                <a:gd name="connsiteY1" fmla="*/ -245 h 10452"/>
                <a:gd name="connsiteX2" fmla="*/ 643944 w 647504"/>
                <a:gd name="connsiteY2" fmla="*/ 10208 h 10452"/>
                <a:gd name="connsiteX3" fmla="*/ -3560 w 647504"/>
                <a:gd name="connsiteY3" fmla="*/ 10208 h 10452"/>
              </a:gdLst>
              <a:ahLst/>
              <a:cxnLst>
                <a:cxn ang="0">
                  <a:pos x="connsiteX0" y="connsiteY0"/>
                </a:cxn>
                <a:cxn ang="0">
                  <a:pos x="connsiteX1" y="connsiteY1"/>
                </a:cxn>
                <a:cxn ang="0">
                  <a:pos x="connsiteX2" y="connsiteY2"/>
                </a:cxn>
                <a:cxn ang="0">
                  <a:pos x="connsiteX3" y="connsiteY3"/>
                </a:cxn>
              </a:cxnLst>
              <a:rect l="l" t="t" r="r" b="b"/>
              <a:pathLst>
                <a:path w="647504" h="10452">
                  <a:moveTo>
                    <a:pt x="-3560" y="-245"/>
                  </a:moveTo>
                  <a:lnTo>
                    <a:pt x="643944" y="-245"/>
                  </a:lnTo>
                  <a:lnTo>
                    <a:pt x="643944" y="10208"/>
                  </a:lnTo>
                  <a:lnTo>
                    <a:pt x="-3560" y="10208"/>
                  </a:lnTo>
                  <a:close/>
                </a:path>
              </a:pathLst>
            </a:custGeom>
            <a:grpFill/>
            <a:ln w="359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D0377CB4-2A1E-D233-CBC3-C52E6314DABB}"/>
                </a:ext>
              </a:extLst>
            </p:cNvPr>
            <p:cNvSpPr/>
            <p:nvPr/>
          </p:nvSpPr>
          <p:spPr>
            <a:xfrm>
              <a:off x="1093920" y="3389023"/>
              <a:ext cx="753003" cy="306330"/>
            </a:xfrm>
            <a:custGeom>
              <a:avLst/>
              <a:gdLst>
                <a:gd name="connsiteX0" fmla="*/ 753003 w 753003"/>
                <a:gd name="connsiteY0" fmla="*/ 137468 h 306330"/>
                <a:gd name="connsiteX1" fmla="*/ 747795 w 753003"/>
                <a:gd name="connsiteY1" fmla="*/ 146556 h 306330"/>
                <a:gd name="connsiteX2" fmla="*/ 514886 w 753003"/>
                <a:gd name="connsiteY2" fmla="*/ 12069 h 306330"/>
                <a:gd name="connsiteX3" fmla="*/ 5244 w 753003"/>
                <a:gd name="connsiteY3" fmla="*/ 306331 h 306330"/>
                <a:gd name="connsiteX4" fmla="*/ 0 w 753003"/>
                <a:gd name="connsiteY4" fmla="*/ 297279 h 306330"/>
                <a:gd name="connsiteX5" fmla="*/ 514886 w 753003"/>
                <a:gd name="connsiteY5" fmla="*/ 0 h 306330"/>
                <a:gd name="connsiteX6" fmla="*/ 753003 w 753003"/>
                <a:gd name="connsiteY6" fmla="*/ 137468 h 30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003" h="306330">
                  <a:moveTo>
                    <a:pt x="753003" y="137468"/>
                  </a:moveTo>
                  <a:lnTo>
                    <a:pt x="747795" y="146556"/>
                  </a:lnTo>
                  <a:lnTo>
                    <a:pt x="514886" y="12069"/>
                  </a:lnTo>
                  <a:lnTo>
                    <a:pt x="5244" y="306331"/>
                  </a:lnTo>
                  <a:lnTo>
                    <a:pt x="0" y="297279"/>
                  </a:lnTo>
                  <a:lnTo>
                    <a:pt x="514886" y="0"/>
                  </a:lnTo>
                  <a:lnTo>
                    <a:pt x="753003" y="137468"/>
                  </a:lnTo>
                  <a:close/>
                </a:path>
              </a:pathLst>
            </a:custGeom>
            <a:grpFill/>
            <a:ln w="359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50C2A283-172C-58F7-2323-A1DB7283DD9C}"/>
                </a:ext>
              </a:extLst>
            </p:cNvPr>
            <p:cNvSpPr/>
            <p:nvPr/>
          </p:nvSpPr>
          <p:spPr>
            <a:xfrm>
              <a:off x="1040109" y="3630400"/>
              <a:ext cx="117901" cy="117909"/>
            </a:xfrm>
            <a:custGeom>
              <a:avLst/>
              <a:gdLst>
                <a:gd name="connsiteX0" fmla="*/ 84877 w 117901"/>
                <a:gd name="connsiteY0" fmla="*/ 109753 h 117909"/>
                <a:gd name="connsiteX1" fmla="*/ 4344 w 117901"/>
                <a:gd name="connsiteY1" fmla="*/ 88200 h 117909"/>
                <a:gd name="connsiteX2" fmla="*/ 25896 w 117901"/>
                <a:gd name="connsiteY2" fmla="*/ 7666 h 117909"/>
                <a:gd name="connsiteX3" fmla="*/ 106430 w 117901"/>
                <a:gd name="connsiteY3" fmla="*/ 29218 h 117909"/>
                <a:gd name="connsiteX4" fmla="*/ 84877 w 117901"/>
                <a:gd name="connsiteY4" fmla="*/ 109753 h 117909"/>
                <a:gd name="connsiteX5" fmla="*/ 84877 w 117901"/>
                <a:gd name="connsiteY5" fmla="*/ 109753 h 11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01" h="117909">
                  <a:moveTo>
                    <a:pt x="84877" y="109753"/>
                  </a:moveTo>
                  <a:cubicBezTo>
                    <a:pt x="56680" y="126025"/>
                    <a:pt x="20652" y="116398"/>
                    <a:pt x="4344" y="88200"/>
                  </a:cubicBezTo>
                  <a:cubicBezTo>
                    <a:pt x="-11928" y="60003"/>
                    <a:pt x="-2266" y="23938"/>
                    <a:pt x="25896" y="7666"/>
                  </a:cubicBezTo>
                  <a:cubicBezTo>
                    <a:pt x="54094" y="-8606"/>
                    <a:pt x="90158" y="1021"/>
                    <a:pt x="106430" y="29218"/>
                  </a:cubicBezTo>
                  <a:cubicBezTo>
                    <a:pt x="122702" y="57416"/>
                    <a:pt x="113075" y="93445"/>
                    <a:pt x="84877" y="109753"/>
                  </a:cubicBezTo>
                  <a:cubicBezTo>
                    <a:pt x="84877" y="109753"/>
                    <a:pt x="84877" y="109753"/>
                    <a:pt x="84877" y="109753"/>
                  </a:cubicBezTo>
                  <a:close/>
                </a:path>
              </a:pathLst>
            </a:custGeom>
            <a:grpFill/>
            <a:ln w="3590" cap="flat">
              <a:noFill/>
              <a:prstDash val="solid"/>
              <a:miter/>
            </a:ln>
          </p:spPr>
          <p:txBody>
            <a:bodyPr rtlCol="0" anchor="ctr"/>
            <a:lstStyle/>
            <a:p>
              <a:endParaRPr lang="en-US"/>
            </a:p>
          </p:txBody>
        </p:sp>
      </p:grpSp>
      <p:sp>
        <p:nvSpPr>
          <p:cNvPr id="98" name="Rectangle: Rounded Corners 97">
            <a:extLst>
              <a:ext uri="{FF2B5EF4-FFF2-40B4-BE49-F238E27FC236}">
                <a16:creationId xmlns:a16="http://schemas.microsoft.com/office/drawing/2014/main" id="{8A422499-EDB1-7821-C835-07E7E42DE7C9}"/>
              </a:ext>
            </a:extLst>
          </p:cNvPr>
          <p:cNvSpPr/>
          <p:nvPr userDrawn="1"/>
        </p:nvSpPr>
        <p:spPr>
          <a:xfrm>
            <a:off x="467834" y="1084904"/>
            <a:ext cx="11259046" cy="5048042"/>
          </a:xfrm>
          <a:prstGeom prst="roundRect">
            <a:avLst>
              <a:gd name="adj" fmla="val 2321"/>
            </a:avLst>
          </a:prstGeom>
          <a:solidFill>
            <a:schemeClr val="bg1"/>
          </a:solidFill>
          <a:ln>
            <a:noFill/>
          </a:ln>
          <a:effectLst>
            <a:outerShdw blurRad="711200" dist="38100" dir="5400000" algn="t"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407" tIns="36407" rIns="36407" bIns="36407" rtlCol="0" anchor="ctr"/>
          <a:lstStyle/>
          <a:p>
            <a:pPr defTabSz="550320" hangingPunct="0">
              <a:lnSpc>
                <a:spcPct val="120000"/>
              </a:lnSpc>
            </a:pPr>
            <a:endParaRPr lang="en-US" sz="1000" err="1">
              <a:solidFill>
                <a:prstClr val="white"/>
              </a:solidFill>
              <a:latin typeface="Calibri"/>
              <a:cs typeface="Sakkal Majalla"/>
              <a:sym typeface="Helvetica"/>
            </a:endParaRPr>
          </a:p>
        </p:txBody>
      </p:sp>
    </p:spTree>
    <p:extLst>
      <p:ext uri="{BB962C8B-B14F-4D97-AF65-F5344CB8AC3E}">
        <p14:creationId xmlns:p14="http://schemas.microsoft.com/office/powerpoint/2010/main" val="11610769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1_5 D 25">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1D5BF21-03BA-8B62-B8E6-7572F8F5F776}"/>
              </a:ext>
            </a:extLst>
          </p:cNvPr>
          <p:cNvGrpSpPr/>
          <p:nvPr userDrawn="1"/>
        </p:nvGrpSpPr>
        <p:grpSpPr>
          <a:xfrm>
            <a:off x="450414" y="1"/>
            <a:ext cx="3291331" cy="6202392"/>
            <a:chOff x="982663" y="0"/>
            <a:chExt cx="3668713" cy="6876675"/>
          </a:xfrm>
        </p:grpSpPr>
        <p:sp>
          <p:nvSpPr>
            <p:cNvPr id="10" name="Rectangle 9">
              <a:extLst>
                <a:ext uri="{FF2B5EF4-FFF2-40B4-BE49-F238E27FC236}">
                  <a16:creationId xmlns:a16="http://schemas.microsoft.com/office/drawing/2014/main" id="{08BD08CD-99FF-CC9C-B74A-B3E119C2A9C9}"/>
                </a:ext>
              </a:extLst>
            </p:cNvPr>
            <p:cNvSpPr/>
            <p:nvPr userDrawn="1"/>
          </p:nvSpPr>
          <p:spPr>
            <a:xfrm flipH="1">
              <a:off x="990600" y="0"/>
              <a:ext cx="3660776" cy="6858000"/>
            </a:xfrm>
            <a:prstGeom prst="rect">
              <a:avLst/>
            </a:prstGeom>
            <a:gradFill flip="none" rotWithShape="1">
              <a:gsLst>
                <a:gs pos="5000">
                  <a:schemeClr val="accent1"/>
                </a:gs>
                <a:gs pos="82000">
                  <a:srgbClr val="00C0AE"/>
                </a:gs>
                <a:gs pos="58000">
                  <a:schemeClr val="accent4">
                    <a:alpha val="84000"/>
                  </a:schemeClr>
                </a:gs>
              </a:gsLst>
              <a:lin ang="1200000" scaled="0"/>
              <a:tileRect/>
            </a:gradFill>
          </p:spPr>
          <p:txBody>
            <a:bodyPr wrap="square" lIns="0" tIns="0" rIns="0" bIns="0" rtlCol="0"/>
            <a:lstStyle/>
            <a:p>
              <a:pPr lvl="0"/>
              <a:endParaRPr lang="en-GB"/>
            </a:p>
          </p:txBody>
        </p:sp>
        <p:pic>
          <p:nvPicPr>
            <p:cNvPr id="11" name="Picture 10">
              <a:extLst>
                <a:ext uri="{FF2B5EF4-FFF2-40B4-BE49-F238E27FC236}">
                  <a16:creationId xmlns:a16="http://schemas.microsoft.com/office/drawing/2014/main" id="{338D51A0-6F10-5EF5-B68B-9173E820C070}"/>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rcRect l="35010" r="35010"/>
            <a:stretch/>
          </p:blipFill>
          <p:spPr>
            <a:xfrm>
              <a:off x="982663" y="18675"/>
              <a:ext cx="3662361" cy="6858000"/>
            </a:xfrm>
            <a:prstGeom prst="rect">
              <a:avLst/>
            </a:prstGeom>
          </p:spPr>
        </p:pic>
      </p:grpSp>
      <p:sp>
        <p:nvSpPr>
          <p:cNvPr id="3" name="Title 1">
            <a:extLst>
              <a:ext uri="{FF2B5EF4-FFF2-40B4-BE49-F238E27FC236}">
                <a16:creationId xmlns:a16="http://schemas.microsoft.com/office/drawing/2014/main" id="{C16B2355-43B8-FDFE-877C-8C639D126608}"/>
              </a:ext>
            </a:extLst>
          </p:cNvPr>
          <p:cNvSpPr>
            <a:spLocks noGrp="1"/>
          </p:cNvSpPr>
          <p:nvPr>
            <p:ph type="title"/>
          </p:nvPr>
        </p:nvSpPr>
        <p:spPr>
          <a:xfrm>
            <a:off x="598968" y="551503"/>
            <a:ext cx="11020726" cy="533400"/>
          </a:xfrm>
        </p:spPr>
        <p:txBody>
          <a:bodyPr/>
          <a:lstStyle>
            <a:lvl1pPr>
              <a:defRPr sz="3200">
                <a:solidFill>
                  <a:schemeClr val="bg1"/>
                </a:solidFill>
              </a:defRPr>
            </a:lvl1pPr>
          </a:lstStyle>
          <a:p>
            <a:r>
              <a:rPr lang="en-US"/>
              <a:t>Click to edit Master title style</a:t>
            </a:r>
          </a:p>
        </p:txBody>
      </p:sp>
      <p:sp>
        <p:nvSpPr>
          <p:cNvPr id="7" name="Text Placeholder 4">
            <a:extLst>
              <a:ext uri="{FF2B5EF4-FFF2-40B4-BE49-F238E27FC236}">
                <a16:creationId xmlns:a16="http://schemas.microsoft.com/office/drawing/2014/main" id="{B6324567-E537-3186-6CA0-355372E61994}"/>
              </a:ext>
            </a:extLst>
          </p:cNvPr>
          <p:cNvSpPr>
            <a:spLocks noGrp="1"/>
          </p:cNvSpPr>
          <p:nvPr>
            <p:ph type="body" sz="quarter" idx="11" hasCustomPrompt="1"/>
          </p:nvPr>
        </p:nvSpPr>
        <p:spPr>
          <a:xfrm>
            <a:off x="598968" y="265313"/>
            <a:ext cx="5334288" cy="169200"/>
          </a:xfrm>
        </p:spPr>
        <p:txBody>
          <a:bodyPr vert="horz" lIns="0" tIns="0" rIns="0" bIns="0" rtlCol="0" anchor="b" anchorCtr="0">
            <a:noAutofit/>
          </a:bodyPr>
          <a:lstStyle>
            <a:lvl1pPr>
              <a:defRPr lang="en-US" dirty="0">
                <a:solidFill>
                  <a:schemeClr val="bg1"/>
                </a:solidFill>
              </a:defRPr>
            </a:lvl1pPr>
          </a:lstStyle>
          <a:p>
            <a:pPr lvl="0">
              <a:spcAft>
                <a:spcPts val="0"/>
              </a:spcAft>
            </a:pPr>
            <a:r>
              <a:rPr lang="en-US"/>
              <a:t>Super title here</a:t>
            </a:r>
          </a:p>
        </p:txBody>
      </p:sp>
    </p:spTree>
    <p:extLst>
      <p:ext uri="{BB962C8B-B14F-4D97-AF65-F5344CB8AC3E}">
        <p14:creationId xmlns:p14="http://schemas.microsoft.com/office/powerpoint/2010/main" val="36640558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2NOV">
    <p:spTree>
      <p:nvGrpSpPr>
        <p:cNvPr id="1" name=""/>
        <p:cNvGrpSpPr/>
        <p:nvPr/>
      </p:nvGrpSpPr>
      <p:grpSpPr>
        <a:xfrm>
          <a:off x="0" y="0"/>
          <a:ext cx="0" cy="0"/>
          <a:chOff x="0" y="0"/>
          <a:chExt cx="0" cy="0"/>
        </a:xfrm>
      </p:grpSpPr>
      <p:pic>
        <p:nvPicPr>
          <p:cNvPr id="4" name="Picture Placeholder 6">
            <a:extLst>
              <a:ext uri="{FF2B5EF4-FFF2-40B4-BE49-F238E27FC236}">
                <a16:creationId xmlns:a16="http://schemas.microsoft.com/office/drawing/2014/main" id="{5E9DBF04-715E-2AD2-F518-6C941267DF6C}"/>
              </a:ext>
            </a:extLst>
          </p:cNvPr>
          <p:cNvPicPr>
            <a:picLocks noChangeAspect="1"/>
          </p:cNvPicPr>
          <p:nvPr userDrawn="1"/>
        </p:nvPicPr>
        <p:blipFill>
          <a:blip r:embed="rId2">
            <a:extLst>
              <a:ext uri="{28A0092B-C50C-407E-A947-70E740481C1C}">
                <a14:useLocalDpi xmlns:a14="http://schemas.microsoft.com/office/drawing/2010/main" val="0"/>
              </a:ext>
            </a:extLst>
          </a:blip>
          <a:srcRect t="28753" b="28753"/>
          <a:stretch/>
        </p:blipFill>
        <p:spPr>
          <a:xfrm>
            <a:off x="0" y="0"/>
            <a:ext cx="12192000" cy="2905003"/>
          </a:xfrm>
          <a:prstGeom prst="rect">
            <a:avLst/>
          </a:prstGeom>
        </p:spPr>
      </p:pic>
      <p:sp>
        <p:nvSpPr>
          <p:cNvPr id="5" name="Rectangle 4">
            <a:extLst>
              <a:ext uri="{FF2B5EF4-FFF2-40B4-BE49-F238E27FC236}">
                <a16:creationId xmlns:a16="http://schemas.microsoft.com/office/drawing/2014/main" id="{EB6B5210-F521-A76B-D03B-7676F196B555}"/>
              </a:ext>
            </a:extLst>
          </p:cNvPr>
          <p:cNvSpPr/>
          <p:nvPr userDrawn="1"/>
        </p:nvSpPr>
        <p:spPr>
          <a:xfrm flipH="1">
            <a:off x="0" y="-13508"/>
            <a:ext cx="12192000" cy="2918509"/>
          </a:xfrm>
          <a:prstGeom prst="rect">
            <a:avLst/>
          </a:prstGeom>
          <a:gradFill flip="none" rotWithShape="1">
            <a:gsLst>
              <a:gs pos="5000">
                <a:schemeClr val="accent1">
                  <a:alpha val="85000"/>
                </a:schemeClr>
              </a:gs>
              <a:gs pos="82000">
                <a:srgbClr val="00C0AE">
                  <a:alpha val="80000"/>
                </a:srgbClr>
              </a:gs>
              <a:gs pos="58000">
                <a:schemeClr val="accent4">
                  <a:alpha val="84000"/>
                </a:schemeClr>
              </a:gs>
            </a:gsLst>
            <a:lin ang="1200000" scaled="0"/>
            <a:tileRect/>
          </a:gradFill>
        </p:spPr>
        <p:txBody>
          <a:bodyPr wrap="square" lIns="0" tIns="0" rIns="0" bIns="0" rtlCol="0"/>
          <a:lstStyle/>
          <a:p>
            <a:endParaRPr lang="en-GB">
              <a:solidFill>
                <a:schemeClr val="tx1"/>
              </a:solidFill>
            </a:endParaRPr>
          </a:p>
        </p:txBody>
      </p:sp>
      <p:sp>
        <p:nvSpPr>
          <p:cNvPr id="3" name="Title 1">
            <a:extLst>
              <a:ext uri="{FF2B5EF4-FFF2-40B4-BE49-F238E27FC236}">
                <a16:creationId xmlns:a16="http://schemas.microsoft.com/office/drawing/2014/main" id="{C16B2355-43B8-FDFE-877C-8C639D126608}"/>
              </a:ext>
            </a:extLst>
          </p:cNvPr>
          <p:cNvSpPr>
            <a:spLocks noGrp="1"/>
          </p:cNvSpPr>
          <p:nvPr>
            <p:ph type="title"/>
          </p:nvPr>
        </p:nvSpPr>
        <p:spPr>
          <a:xfrm>
            <a:off x="598968" y="551503"/>
            <a:ext cx="11020726" cy="533400"/>
          </a:xfrm>
        </p:spPr>
        <p:txBody>
          <a:bodyPr/>
          <a:lstStyle>
            <a:lvl1pPr>
              <a:defRPr sz="3200">
                <a:solidFill>
                  <a:schemeClr val="bg1"/>
                </a:solidFill>
              </a:defRPr>
            </a:lvl1pPr>
          </a:lstStyle>
          <a:p>
            <a:r>
              <a:rPr lang="en-US"/>
              <a:t>Click to edit Master title style</a:t>
            </a:r>
          </a:p>
        </p:txBody>
      </p:sp>
      <p:sp>
        <p:nvSpPr>
          <p:cNvPr id="7" name="Text Placeholder 4">
            <a:extLst>
              <a:ext uri="{FF2B5EF4-FFF2-40B4-BE49-F238E27FC236}">
                <a16:creationId xmlns:a16="http://schemas.microsoft.com/office/drawing/2014/main" id="{B6324567-E537-3186-6CA0-355372E61994}"/>
              </a:ext>
            </a:extLst>
          </p:cNvPr>
          <p:cNvSpPr>
            <a:spLocks noGrp="1"/>
          </p:cNvSpPr>
          <p:nvPr>
            <p:ph type="body" sz="quarter" idx="11" hasCustomPrompt="1"/>
          </p:nvPr>
        </p:nvSpPr>
        <p:spPr>
          <a:xfrm>
            <a:off x="598968" y="265313"/>
            <a:ext cx="5334288" cy="169200"/>
          </a:xfrm>
        </p:spPr>
        <p:txBody>
          <a:bodyPr vert="horz" lIns="0" tIns="0" rIns="0" bIns="0" rtlCol="0" anchor="b" anchorCtr="0">
            <a:noAutofit/>
          </a:bodyPr>
          <a:lstStyle>
            <a:lvl1pPr>
              <a:defRPr lang="en-US" dirty="0">
                <a:solidFill>
                  <a:schemeClr val="bg1"/>
                </a:solidFill>
              </a:defRPr>
            </a:lvl1pPr>
          </a:lstStyle>
          <a:p>
            <a:pPr lvl="0">
              <a:spcAft>
                <a:spcPts val="0"/>
              </a:spcAft>
            </a:pPr>
            <a:r>
              <a:rPr lang="en-US"/>
              <a:t>Super title here</a:t>
            </a:r>
          </a:p>
        </p:txBody>
      </p:sp>
      <p:grpSp>
        <p:nvGrpSpPr>
          <p:cNvPr id="2" name="Group 1">
            <a:extLst>
              <a:ext uri="{FF2B5EF4-FFF2-40B4-BE49-F238E27FC236}">
                <a16:creationId xmlns:a16="http://schemas.microsoft.com/office/drawing/2014/main" id="{E692FE09-387B-4B24-30E8-0D9659D62BF9}"/>
              </a:ext>
            </a:extLst>
          </p:cNvPr>
          <p:cNvGrpSpPr/>
          <p:nvPr userDrawn="1"/>
        </p:nvGrpSpPr>
        <p:grpSpPr>
          <a:xfrm>
            <a:off x="9297702" y="-1126461"/>
            <a:ext cx="5558549" cy="3624521"/>
            <a:chOff x="288795" y="168656"/>
            <a:chExt cx="7937877" cy="5175991"/>
          </a:xfrm>
          <a:solidFill>
            <a:srgbClr val="C5FFF9">
              <a:alpha val="51000"/>
            </a:srgbClr>
          </a:solidFill>
        </p:grpSpPr>
        <p:sp>
          <p:nvSpPr>
            <p:cNvPr id="8" name="Freeform: Shape 7">
              <a:extLst>
                <a:ext uri="{FF2B5EF4-FFF2-40B4-BE49-F238E27FC236}">
                  <a16:creationId xmlns:a16="http://schemas.microsoft.com/office/drawing/2014/main" id="{3D229839-2279-7BB7-8C35-5A51BC2FF21F}"/>
                </a:ext>
              </a:extLst>
            </p:cNvPr>
            <p:cNvSpPr/>
            <p:nvPr/>
          </p:nvSpPr>
          <p:spPr>
            <a:xfrm>
              <a:off x="6634132" y="2781103"/>
              <a:ext cx="1075857" cy="593336"/>
            </a:xfrm>
            <a:custGeom>
              <a:avLst/>
              <a:gdLst>
                <a:gd name="connsiteX0" fmla="*/ 1075858 w 1075857"/>
                <a:gd name="connsiteY0" fmla="*/ 300691 h 593336"/>
                <a:gd name="connsiteX1" fmla="*/ 1070757 w 1075857"/>
                <a:gd name="connsiteY1" fmla="*/ 309564 h 593336"/>
                <a:gd name="connsiteX2" fmla="*/ 555081 w 1075857"/>
                <a:gd name="connsiteY2" fmla="*/ 11818 h 593336"/>
                <a:gd name="connsiteX3" fmla="*/ 10237 w 1075857"/>
                <a:gd name="connsiteY3" fmla="*/ 326375 h 593336"/>
                <a:gd name="connsiteX4" fmla="*/ 10237 w 1075857"/>
                <a:gd name="connsiteY4" fmla="*/ 593336 h 593336"/>
                <a:gd name="connsiteX5" fmla="*/ 0 w 1075857"/>
                <a:gd name="connsiteY5" fmla="*/ 593336 h 593336"/>
                <a:gd name="connsiteX6" fmla="*/ 0 w 1075857"/>
                <a:gd name="connsiteY6" fmla="*/ 320448 h 593336"/>
                <a:gd name="connsiteX7" fmla="*/ 555081 w 1075857"/>
                <a:gd name="connsiteY7" fmla="*/ 0 h 593336"/>
                <a:gd name="connsiteX8" fmla="*/ 1075858 w 1075857"/>
                <a:gd name="connsiteY8" fmla="*/ 300691 h 59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5857" h="593336">
                  <a:moveTo>
                    <a:pt x="1075858" y="300691"/>
                  </a:moveTo>
                  <a:lnTo>
                    <a:pt x="1070757" y="309564"/>
                  </a:lnTo>
                  <a:lnTo>
                    <a:pt x="555081" y="11818"/>
                  </a:lnTo>
                  <a:lnTo>
                    <a:pt x="10237" y="326375"/>
                  </a:lnTo>
                  <a:lnTo>
                    <a:pt x="10237" y="593336"/>
                  </a:lnTo>
                  <a:lnTo>
                    <a:pt x="0" y="593336"/>
                  </a:lnTo>
                  <a:lnTo>
                    <a:pt x="0" y="320448"/>
                  </a:lnTo>
                  <a:lnTo>
                    <a:pt x="555081" y="0"/>
                  </a:lnTo>
                  <a:lnTo>
                    <a:pt x="1075858" y="300691"/>
                  </a:lnTo>
                  <a:close/>
                </a:path>
              </a:pathLst>
            </a:custGeom>
            <a:grpFill/>
            <a:ln w="359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1E920D02-7533-1983-C798-A32D105B8CF2}"/>
                </a:ext>
              </a:extLst>
            </p:cNvPr>
            <p:cNvSpPr/>
            <p:nvPr/>
          </p:nvSpPr>
          <p:spPr>
            <a:xfrm>
              <a:off x="7667200" y="3046686"/>
              <a:ext cx="77118" cy="77096"/>
            </a:xfrm>
            <a:custGeom>
              <a:avLst/>
              <a:gdLst>
                <a:gd name="connsiteX0" fmla="*/ 15738 w 77118"/>
                <a:gd name="connsiteY0" fmla="*/ 71682 h 77096"/>
                <a:gd name="connsiteX1" fmla="*/ 68396 w 77118"/>
                <a:gd name="connsiteY1" fmla="*/ 57565 h 77096"/>
                <a:gd name="connsiteX2" fmla="*/ 54281 w 77118"/>
                <a:gd name="connsiteY2" fmla="*/ 4941 h 77096"/>
                <a:gd name="connsiteX3" fmla="*/ 1621 w 77118"/>
                <a:gd name="connsiteY3" fmla="*/ 19022 h 77096"/>
                <a:gd name="connsiteX4" fmla="*/ 1621 w 77118"/>
                <a:gd name="connsiteY4" fmla="*/ 19058 h 77096"/>
                <a:gd name="connsiteX5" fmla="*/ 15629 w 77118"/>
                <a:gd name="connsiteY5" fmla="*/ 71610 h 77096"/>
                <a:gd name="connsiteX6" fmla="*/ 15738 w 77118"/>
                <a:gd name="connsiteY6" fmla="*/ 71682 h 7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118" h="77096">
                  <a:moveTo>
                    <a:pt x="15738" y="71682"/>
                  </a:moveTo>
                  <a:cubicBezTo>
                    <a:pt x="34165" y="82314"/>
                    <a:pt x="57729" y="76028"/>
                    <a:pt x="68396" y="57565"/>
                  </a:cubicBezTo>
                  <a:cubicBezTo>
                    <a:pt x="79031" y="39137"/>
                    <a:pt x="72708" y="15574"/>
                    <a:pt x="54281" y="4941"/>
                  </a:cubicBezTo>
                  <a:cubicBezTo>
                    <a:pt x="35854" y="-5727"/>
                    <a:pt x="12290" y="595"/>
                    <a:pt x="1621" y="19022"/>
                  </a:cubicBezTo>
                  <a:cubicBezTo>
                    <a:pt x="1621" y="19022"/>
                    <a:pt x="1621" y="19058"/>
                    <a:pt x="1621" y="19058"/>
                  </a:cubicBezTo>
                  <a:cubicBezTo>
                    <a:pt x="-9012" y="37449"/>
                    <a:pt x="-2761" y="60977"/>
                    <a:pt x="15629" y="71610"/>
                  </a:cubicBezTo>
                  <a:cubicBezTo>
                    <a:pt x="15666" y="71646"/>
                    <a:pt x="15701" y="71682"/>
                    <a:pt x="15738" y="71682"/>
                  </a:cubicBezTo>
                  <a:close/>
                </a:path>
              </a:pathLst>
            </a:custGeom>
            <a:grpFill/>
            <a:ln w="359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65349B6D-B340-BF35-EFEC-08A99CDD0905}"/>
                </a:ext>
              </a:extLst>
            </p:cNvPr>
            <p:cNvSpPr/>
            <p:nvPr/>
          </p:nvSpPr>
          <p:spPr>
            <a:xfrm>
              <a:off x="6589052" y="3321636"/>
              <a:ext cx="100218" cy="100218"/>
            </a:xfrm>
            <a:custGeom>
              <a:avLst/>
              <a:gdLst>
                <a:gd name="connsiteX0" fmla="*/ 96658 w 100218"/>
                <a:gd name="connsiteY0" fmla="*/ 50043 h 100218"/>
                <a:gd name="connsiteX1" fmla="*/ 46370 w 100218"/>
                <a:gd name="connsiteY1" fmla="*/ 99973 h 100218"/>
                <a:gd name="connsiteX2" fmla="*/ -3560 w 100218"/>
                <a:gd name="connsiteY2" fmla="*/ 49684 h 100218"/>
                <a:gd name="connsiteX3" fmla="*/ 46370 w 100218"/>
                <a:gd name="connsiteY3" fmla="*/ -245 h 100218"/>
                <a:gd name="connsiteX4" fmla="*/ 96658 w 100218"/>
                <a:gd name="connsiteY4" fmla="*/ 50043 h 100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8" h="100218">
                  <a:moveTo>
                    <a:pt x="96658" y="50043"/>
                  </a:moveTo>
                  <a:cubicBezTo>
                    <a:pt x="96551" y="77703"/>
                    <a:pt x="74029" y="100081"/>
                    <a:pt x="46370" y="99973"/>
                  </a:cubicBezTo>
                  <a:cubicBezTo>
                    <a:pt x="18710" y="99865"/>
                    <a:pt x="-3669" y="77343"/>
                    <a:pt x="-3560" y="49684"/>
                  </a:cubicBezTo>
                  <a:cubicBezTo>
                    <a:pt x="-3453" y="22133"/>
                    <a:pt x="18819" y="-138"/>
                    <a:pt x="46370" y="-245"/>
                  </a:cubicBezTo>
                  <a:cubicBezTo>
                    <a:pt x="74136" y="-245"/>
                    <a:pt x="96658" y="22277"/>
                    <a:pt x="96658" y="50043"/>
                  </a:cubicBezTo>
                  <a:close/>
                </a:path>
              </a:pathLst>
            </a:custGeom>
            <a:grpFill/>
            <a:ln w="359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49CA2595-0824-5147-4E09-D69D093CFD12}"/>
                </a:ext>
              </a:extLst>
            </p:cNvPr>
            <p:cNvSpPr/>
            <p:nvPr/>
          </p:nvSpPr>
          <p:spPr>
            <a:xfrm>
              <a:off x="5802678" y="1269744"/>
              <a:ext cx="1104989" cy="327883"/>
            </a:xfrm>
            <a:custGeom>
              <a:avLst/>
              <a:gdLst>
                <a:gd name="connsiteX0" fmla="*/ 1104989 w 1104989"/>
                <a:gd name="connsiteY0" fmla="*/ 8872 h 327883"/>
                <a:gd name="connsiteX1" fmla="*/ 552494 w 1104989"/>
                <a:gd name="connsiteY1" fmla="*/ 327883 h 327883"/>
                <a:gd name="connsiteX2" fmla="*/ 0 w 1104989"/>
                <a:gd name="connsiteY2" fmla="*/ 8872 h 327883"/>
                <a:gd name="connsiteX3" fmla="*/ 5100 w 1104989"/>
                <a:gd name="connsiteY3" fmla="*/ 0 h 327883"/>
                <a:gd name="connsiteX4" fmla="*/ 552494 w 1104989"/>
                <a:gd name="connsiteY4" fmla="*/ 316029 h 327883"/>
                <a:gd name="connsiteX5" fmla="*/ 1099888 w 1104989"/>
                <a:gd name="connsiteY5" fmla="*/ 0 h 327883"/>
                <a:gd name="connsiteX6" fmla="*/ 1104989 w 1104989"/>
                <a:gd name="connsiteY6" fmla="*/ 8872 h 32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4989" h="327883">
                  <a:moveTo>
                    <a:pt x="1104989" y="8872"/>
                  </a:moveTo>
                  <a:lnTo>
                    <a:pt x="552494" y="327883"/>
                  </a:lnTo>
                  <a:lnTo>
                    <a:pt x="0" y="8872"/>
                  </a:lnTo>
                  <a:lnTo>
                    <a:pt x="5100" y="0"/>
                  </a:lnTo>
                  <a:lnTo>
                    <a:pt x="552494" y="316029"/>
                  </a:lnTo>
                  <a:lnTo>
                    <a:pt x="1099888" y="0"/>
                  </a:lnTo>
                  <a:lnTo>
                    <a:pt x="1104989" y="8872"/>
                  </a:lnTo>
                  <a:close/>
                </a:path>
              </a:pathLst>
            </a:custGeom>
            <a:grpFill/>
            <a:ln w="359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CC60D2B2-1C7B-9BC9-337B-EDFCFA5FF54D}"/>
                </a:ext>
              </a:extLst>
            </p:cNvPr>
            <p:cNvSpPr/>
            <p:nvPr/>
          </p:nvSpPr>
          <p:spPr>
            <a:xfrm>
              <a:off x="1861255" y="4015550"/>
              <a:ext cx="901822" cy="579219"/>
            </a:xfrm>
            <a:custGeom>
              <a:avLst/>
              <a:gdLst>
                <a:gd name="connsiteX0" fmla="*/ 901822 w 901822"/>
                <a:gd name="connsiteY0" fmla="*/ 320484 h 579219"/>
                <a:gd name="connsiteX1" fmla="*/ 901822 w 901822"/>
                <a:gd name="connsiteY1" fmla="*/ 579220 h 579219"/>
                <a:gd name="connsiteX2" fmla="*/ 891549 w 901822"/>
                <a:gd name="connsiteY2" fmla="*/ 579220 h 579219"/>
                <a:gd name="connsiteX3" fmla="*/ 891549 w 901822"/>
                <a:gd name="connsiteY3" fmla="*/ 326411 h 579219"/>
                <a:gd name="connsiteX4" fmla="*/ 346741 w 901822"/>
                <a:gd name="connsiteY4" fmla="*/ 11854 h 579219"/>
                <a:gd name="connsiteX5" fmla="*/ 5137 w 901822"/>
                <a:gd name="connsiteY5" fmla="*/ 209094 h 579219"/>
                <a:gd name="connsiteX6" fmla="*/ 0 w 901822"/>
                <a:gd name="connsiteY6" fmla="*/ 200186 h 579219"/>
                <a:gd name="connsiteX7" fmla="*/ 346741 w 901822"/>
                <a:gd name="connsiteY7" fmla="*/ 0 h 579219"/>
                <a:gd name="connsiteX8" fmla="*/ 901822 w 901822"/>
                <a:gd name="connsiteY8" fmla="*/ 320484 h 579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1822" h="579219">
                  <a:moveTo>
                    <a:pt x="901822" y="320484"/>
                  </a:moveTo>
                  <a:lnTo>
                    <a:pt x="901822" y="579220"/>
                  </a:lnTo>
                  <a:lnTo>
                    <a:pt x="891549" y="579220"/>
                  </a:lnTo>
                  <a:lnTo>
                    <a:pt x="891549" y="326411"/>
                  </a:lnTo>
                  <a:lnTo>
                    <a:pt x="346741" y="11854"/>
                  </a:lnTo>
                  <a:lnTo>
                    <a:pt x="5137" y="209094"/>
                  </a:lnTo>
                  <a:lnTo>
                    <a:pt x="0" y="200186"/>
                  </a:lnTo>
                  <a:lnTo>
                    <a:pt x="346741" y="0"/>
                  </a:lnTo>
                  <a:lnTo>
                    <a:pt x="901822" y="320484"/>
                  </a:lnTo>
                  <a:close/>
                </a:path>
              </a:pathLst>
            </a:custGeom>
            <a:grpFill/>
            <a:ln w="359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A00B57D-3317-26A7-5A38-D0D9CB18EC20}"/>
                </a:ext>
              </a:extLst>
            </p:cNvPr>
            <p:cNvSpPr/>
            <p:nvPr/>
          </p:nvSpPr>
          <p:spPr>
            <a:xfrm>
              <a:off x="6398860" y="846040"/>
              <a:ext cx="186384" cy="186386"/>
            </a:xfrm>
            <a:custGeom>
              <a:avLst/>
              <a:gdLst>
                <a:gd name="connsiteX0" fmla="*/ 43021 w 186384"/>
                <a:gd name="connsiteY0" fmla="*/ 173631 h 186386"/>
                <a:gd name="connsiteX1" fmla="*/ 170324 w 186384"/>
                <a:gd name="connsiteY1" fmla="*/ 139556 h 186386"/>
                <a:gd name="connsiteX2" fmla="*/ 136234 w 186384"/>
                <a:gd name="connsiteY2" fmla="*/ 12265 h 186386"/>
                <a:gd name="connsiteX3" fmla="*/ 8932 w 186384"/>
                <a:gd name="connsiteY3" fmla="*/ 46339 h 186386"/>
                <a:gd name="connsiteX4" fmla="*/ 8932 w 186384"/>
                <a:gd name="connsiteY4" fmla="*/ 46364 h 186386"/>
                <a:gd name="connsiteX5" fmla="*/ 43021 w 186384"/>
                <a:gd name="connsiteY5" fmla="*/ 173631 h 18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384" h="186386">
                  <a:moveTo>
                    <a:pt x="43021" y="173631"/>
                  </a:moveTo>
                  <a:cubicBezTo>
                    <a:pt x="87598" y="199371"/>
                    <a:pt x="144569" y="184116"/>
                    <a:pt x="170324" y="139556"/>
                  </a:cubicBezTo>
                  <a:cubicBezTo>
                    <a:pt x="196044" y="94997"/>
                    <a:pt x="180812" y="38005"/>
                    <a:pt x="136234" y="12265"/>
                  </a:cubicBezTo>
                  <a:cubicBezTo>
                    <a:pt x="91693" y="-13476"/>
                    <a:pt x="34687" y="1779"/>
                    <a:pt x="8932" y="46339"/>
                  </a:cubicBezTo>
                  <a:cubicBezTo>
                    <a:pt x="8932" y="46346"/>
                    <a:pt x="8932" y="46357"/>
                    <a:pt x="8932" y="46364"/>
                  </a:cubicBezTo>
                  <a:cubicBezTo>
                    <a:pt x="-16786" y="90924"/>
                    <a:pt x="-1520" y="147894"/>
                    <a:pt x="43021" y="173631"/>
                  </a:cubicBezTo>
                  <a:close/>
                </a:path>
              </a:pathLst>
            </a:custGeom>
            <a:grpFill/>
            <a:ln w="359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FDA1D664-135C-C324-A4F8-161919286BBC}"/>
                </a:ext>
              </a:extLst>
            </p:cNvPr>
            <p:cNvSpPr/>
            <p:nvPr/>
          </p:nvSpPr>
          <p:spPr>
            <a:xfrm>
              <a:off x="1355076" y="4439873"/>
              <a:ext cx="147869" cy="147869"/>
            </a:xfrm>
            <a:custGeom>
              <a:avLst/>
              <a:gdLst>
                <a:gd name="connsiteX0" fmla="*/ 33389 w 147869"/>
                <a:gd name="connsiteY0" fmla="*/ 137696 h 147869"/>
                <a:gd name="connsiteX1" fmla="*/ 6376 w 147869"/>
                <a:gd name="connsiteY1" fmla="*/ 36688 h 147869"/>
                <a:gd name="connsiteX2" fmla="*/ 107349 w 147869"/>
                <a:gd name="connsiteY2" fmla="*/ 9675 h 147869"/>
                <a:gd name="connsiteX3" fmla="*/ 134397 w 147869"/>
                <a:gd name="connsiteY3" fmla="*/ 110648 h 147869"/>
                <a:gd name="connsiteX4" fmla="*/ 33425 w 147869"/>
                <a:gd name="connsiteY4" fmla="*/ 137696 h 147869"/>
                <a:gd name="connsiteX5" fmla="*/ 33389 w 147869"/>
                <a:gd name="connsiteY5" fmla="*/ 137696 h 147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869" h="147869">
                  <a:moveTo>
                    <a:pt x="33389" y="137696"/>
                  </a:moveTo>
                  <a:cubicBezTo>
                    <a:pt x="-1957" y="117257"/>
                    <a:pt x="-14062" y="72069"/>
                    <a:pt x="6376" y="36688"/>
                  </a:cubicBezTo>
                  <a:cubicBezTo>
                    <a:pt x="26779" y="1342"/>
                    <a:pt x="72003" y="-10728"/>
                    <a:pt x="107349" y="9675"/>
                  </a:cubicBezTo>
                  <a:cubicBezTo>
                    <a:pt x="142695" y="30114"/>
                    <a:pt x="154801" y="75302"/>
                    <a:pt x="134397" y="110648"/>
                  </a:cubicBezTo>
                  <a:cubicBezTo>
                    <a:pt x="113994" y="145994"/>
                    <a:pt x="68770" y="158135"/>
                    <a:pt x="33425" y="137696"/>
                  </a:cubicBezTo>
                  <a:cubicBezTo>
                    <a:pt x="33425" y="137696"/>
                    <a:pt x="33389" y="137696"/>
                    <a:pt x="33389" y="137696"/>
                  </a:cubicBezTo>
                  <a:close/>
                </a:path>
              </a:pathLst>
            </a:custGeom>
            <a:grpFill/>
            <a:ln w="359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5E4BCD28-226A-D9F9-00FD-F8CDAEE1C4C0}"/>
                </a:ext>
              </a:extLst>
            </p:cNvPr>
            <p:cNvSpPr/>
            <p:nvPr/>
          </p:nvSpPr>
          <p:spPr>
            <a:xfrm>
              <a:off x="2192802" y="1309041"/>
              <a:ext cx="2307395" cy="1916004"/>
            </a:xfrm>
            <a:custGeom>
              <a:avLst/>
              <a:gdLst>
                <a:gd name="connsiteX0" fmla="*/ 2307395 w 2307395"/>
                <a:gd name="connsiteY0" fmla="*/ 666076 h 1916004"/>
                <a:gd name="connsiteX1" fmla="*/ 2307395 w 2307395"/>
                <a:gd name="connsiteY1" fmla="*/ 1893159 h 1916004"/>
                <a:gd name="connsiteX2" fmla="*/ 2286094 w 2307395"/>
                <a:gd name="connsiteY2" fmla="*/ 1893159 h 1916004"/>
                <a:gd name="connsiteX3" fmla="*/ 2286094 w 2307395"/>
                <a:gd name="connsiteY3" fmla="*/ 678361 h 1916004"/>
                <a:gd name="connsiteX4" fmla="*/ 1153698 w 2307395"/>
                <a:gd name="connsiteY4" fmla="*/ 24606 h 1916004"/>
                <a:gd name="connsiteX5" fmla="*/ 21301 w 2307395"/>
                <a:gd name="connsiteY5" fmla="*/ 678361 h 1916004"/>
                <a:gd name="connsiteX6" fmla="*/ 21301 w 2307395"/>
                <a:gd name="connsiteY6" fmla="*/ 1916005 h 1916004"/>
                <a:gd name="connsiteX7" fmla="*/ 0 w 2307395"/>
                <a:gd name="connsiteY7" fmla="*/ 1916005 h 1916004"/>
                <a:gd name="connsiteX8" fmla="*/ 0 w 2307395"/>
                <a:gd name="connsiteY8" fmla="*/ 666076 h 1916004"/>
                <a:gd name="connsiteX9" fmla="*/ 1153698 w 2307395"/>
                <a:gd name="connsiteY9" fmla="*/ 0 h 1916004"/>
                <a:gd name="connsiteX10" fmla="*/ 1159014 w 2307395"/>
                <a:gd name="connsiteY10" fmla="*/ 3053 h 1916004"/>
                <a:gd name="connsiteX11" fmla="*/ 2307395 w 2307395"/>
                <a:gd name="connsiteY11" fmla="*/ 666076 h 191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07395" h="1916004">
                  <a:moveTo>
                    <a:pt x="2307395" y="666076"/>
                  </a:moveTo>
                  <a:lnTo>
                    <a:pt x="2307395" y="1893159"/>
                  </a:lnTo>
                  <a:lnTo>
                    <a:pt x="2286094" y="1893159"/>
                  </a:lnTo>
                  <a:lnTo>
                    <a:pt x="2286094" y="678361"/>
                  </a:lnTo>
                  <a:lnTo>
                    <a:pt x="1153698" y="24606"/>
                  </a:lnTo>
                  <a:lnTo>
                    <a:pt x="21301" y="678361"/>
                  </a:lnTo>
                  <a:lnTo>
                    <a:pt x="21301" y="1916005"/>
                  </a:lnTo>
                  <a:lnTo>
                    <a:pt x="0" y="1916005"/>
                  </a:lnTo>
                  <a:lnTo>
                    <a:pt x="0" y="666076"/>
                  </a:lnTo>
                  <a:lnTo>
                    <a:pt x="1153698" y="0"/>
                  </a:lnTo>
                  <a:lnTo>
                    <a:pt x="1159014" y="3053"/>
                  </a:lnTo>
                  <a:lnTo>
                    <a:pt x="2307395" y="666076"/>
                  </a:lnTo>
                  <a:close/>
                </a:path>
              </a:pathLst>
            </a:custGeom>
            <a:grpFill/>
            <a:ln w="359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5313031-2C66-65DF-C0D7-818821DC7699}"/>
                </a:ext>
              </a:extLst>
            </p:cNvPr>
            <p:cNvSpPr/>
            <p:nvPr/>
          </p:nvSpPr>
          <p:spPr>
            <a:xfrm>
              <a:off x="2123332" y="3140919"/>
              <a:ext cx="160205" cy="160205"/>
            </a:xfrm>
            <a:custGeom>
              <a:avLst/>
              <a:gdLst>
                <a:gd name="connsiteX0" fmla="*/ 160206 w 160205"/>
                <a:gd name="connsiteY0" fmla="*/ 80103 h 160205"/>
                <a:gd name="connsiteX1" fmla="*/ 80103 w 160205"/>
                <a:gd name="connsiteY1" fmla="*/ 160206 h 160205"/>
                <a:gd name="connsiteX2" fmla="*/ 0 w 160205"/>
                <a:gd name="connsiteY2" fmla="*/ 80103 h 160205"/>
                <a:gd name="connsiteX3" fmla="*/ 80103 w 160205"/>
                <a:gd name="connsiteY3" fmla="*/ 0 h 160205"/>
                <a:gd name="connsiteX4" fmla="*/ 160206 w 160205"/>
                <a:gd name="connsiteY4" fmla="*/ 80103 h 160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205" h="160205">
                  <a:moveTo>
                    <a:pt x="160206" y="80103"/>
                  </a:moveTo>
                  <a:cubicBezTo>
                    <a:pt x="160206" y="124343"/>
                    <a:pt x="124343" y="160206"/>
                    <a:pt x="80103" y="160206"/>
                  </a:cubicBezTo>
                  <a:cubicBezTo>
                    <a:pt x="35863" y="160206"/>
                    <a:pt x="0" y="124342"/>
                    <a:pt x="0" y="80103"/>
                  </a:cubicBezTo>
                  <a:cubicBezTo>
                    <a:pt x="0" y="35863"/>
                    <a:pt x="35863" y="0"/>
                    <a:pt x="80103" y="0"/>
                  </a:cubicBezTo>
                  <a:cubicBezTo>
                    <a:pt x="124343" y="0"/>
                    <a:pt x="160206" y="35863"/>
                    <a:pt x="160206" y="80103"/>
                  </a:cubicBezTo>
                  <a:close/>
                </a:path>
              </a:pathLst>
            </a:custGeom>
            <a:grpFill/>
            <a:ln w="359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813567A-C5E0-F95B-452D-6C9698CD8D2D}"/>
                </a:ext>
              </a:extLst>
            </p:cNvPr>
            <p:cNvSpPr/>
            <p:nvPr/>
          </p:nvSpPr>
          <p:spPr>
            <a:xfrm>
              <a:off x="4385396" y="3092822"/>
              <a:ext cx="208339" cy="208339"/>
            </a:xfrm>
            <a:custGeom>
              <a:avLst/>
              <a:gdLst>
                <a:gd name="connsiteX0" fmla="*/ -3560 w 208339"/>
                <a:gd name="connsiteY0" fmla="*/ 103924 h 208339"/>
                <a:gd name="connsiteX1" fmla="*/ 100610 w 208339"/>
                <a:gd name="connsiteY1" fmla="*/ 208094 h 208339"/>
                <a:gd name="connsiteX2" fmla="*/ 204779 w 208339"/>
                <a:gd name="connsiteY2" fmla="*/ 103924 h 208339"/>
                <a:gd name="connsiteX3" fmla="*/ 100610 w 208339"/>
                <a:gd name="connsiteY3" fmla="*/ -245 h 208339"/>
                <a:gd name="connsiteX4" fmla="*/ -3560 w 208339"/>
                <a:gd name="connsiteY4" fmla="*/ 103924 h 208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339" h="208339">
                  <a:moveTo>
                    <a:pt x="-3560" y="103924"/>
                  </a:moveTo>
                  <a:cubicBezTo>
                    <a:pt x="-3560" y="161469"/>
                    <a:pt x="43065" y="208094"/>
                    <a:pt x="100610" y="208094"/>
                  </a:cubicBezTo>
                  <a:cubicBezTo>
                    <a:pt x="158154" y="208094"/>
                    <a:pt x="204779" y="161469"/>
                    <a:pt x="204779" y="103924"/>
                  </a:cubicBezTo>
                  <a:cubicBezTo>
                    <a:pt x="204779" y="46379"/>
                    <a:pt x="158154" y="-245"/>
                    <a:pt x="100610" y="-245"/>
                  </a:cubicBezTo>
                  <a:cubicBezTo>
                    <a:pt x="43065" y="-245"/>
                    <a:pt x="-3560" y="46379"/>
                    <a:pt x="-3560" y="103924"/>
                  </a:cubicBezTo>
                  <a:close/>
                </a:path>
              </a:pathLst>
            </a:custGeom>
            <a:grpFill/>
            <a:ln w="359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2080AF58-3884-4324-ABB5-B0DF0341FCDA}"/>
                </a:ext>
              </a:extLst>
            </p:cNvPr>
            <p:cNvSpPr/>
            <p:nvPr/>
          </p:nvSpPr>
          <p:spPr>
            <a:xfrm>
              <a:off x="5419585" y="4733818"/>
              <a:ext cx="1107575" cy="610829"/>
            </a:xfrm>
            <a:custGeom>
              <a:avLst/>
              <a:gdLst>
                <a:gd name="connsiteX0" fmla="*/ 1107575 w 1107575"/>
                <a:gd name="connsiteY0" fmla="*/ 291855 h 610829"/>
                <a:gd name="connsiteX1" fmla="*/ 555081 w 1107575"/>
                <a:gd name="connsiteY1" fmla="*/ 610830 h 610829"/>
                <a:gd name="connsiteX2" fmla="*/ 0 w 1107575"/>
                <a:gd name="connsiteY2" fmla="*/ 290346 h 610829"/>
                <a:gd name="connsiteX3" fmla="*/ 0 w 1107575"/>
                <a:gd name="connsiteY3" fmla="*/ 0 h 610829"/>
                <a:gd name="connsiteX4" fmla="*/ 10237 w 1107575"/>
                <a:gd name="connsiteY4" fmla="*/ 0 h 610829"/>
                <a:gd name="connsiteX5" fmla="*/ 10237 w 1107575"/>
                <a:gd name="connsiteY5" fmla="*/ 284455 h 610829"/>
                <a:gd name="connsiteX6" fmla="*/ 555081 w 1107575"/>
                <a:gd name="connsiteY6" fmla="*/ 599012 h 610829"/>
                <a:gd name="connsiteX7" fmla="*/ 1102439 w 1107575"/>
                <a:gd name="connsiteY7" fmla="*/ 282947 h 610829"/>
                <a:gd name="connsiteX8" fmla="*/ 1107575 w 1107575"/>
                <a:gd name="connsiteY8" fmla="*/ 291855 h 610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575" h="610829">
                  <a:moveTo>
                    <a:pt x="1107575" y="291855"/>
                  </a:moveTo>
                  <a:lnTo>
                    <a:pt x="555081" y="610830"/>
                  </a:lnTo>
                  <a:lnTo>
                    <a:pt x="0" y="290346"/>
                  </a:lnTo>
                  <a:lnTo>
                    <a:pt x="0" y="0"/>
                  </a:lnTo>
                  <a:lnTo>
                    <a:pt x="10237" y="0"/>
                  </a:lnTo>
                  <a:lnTo>
                    <a:pt x="10237" y="284455"/>
                  </a:lnTo>
                  <a:lnTo>
                    <a:pt x="555081" y="599012"/>
                  </a:lnTo>
                  <a:lnTo>
                    <a:pt x="1102439" y="282947"/>
                  </a:lnTo>
                  <a:lnTo>
                    <a:pt x="1107575" y="291855"/>
                  </a:lnTo>
                  <a:close/>
                </a:path>
              </a:pathLst>
            </a:custGeom>
            <a:grpFill/>
            <a:ln w="359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C57A6CB-53EE-160D-8035-A7B2067AD9B0}"/>
                </a:ext>
              </a:extLst>
            </p:cNvPr>
            <p:cNvSpPr/>
            <p:nvPr/>
          </p:nvSpPr>
          <p:spPr>
            <a:xfrm>
              <a:off x="3305299" y="3449046"/>
              <a:ext cx="557631" cy="1105097"/>
            </a:xfrm>
            <a:custGeom>
              <a:avLst/>
              <a:gdLst>
                <a:gd name="connsiteX0" fmla="*/ 557631 w 557631"/>
                <a:gd name="connsiteY0" fmla="*/ 8873 h 1105097"/>
                <a:gd name="connsiteX1" fmla="*/ 10237 w 557631"/>
                <a:gd name="connsiteY1" fmla="*/ 324902 h 1105097"/>
                <a:gd name="connsiteX2" fmla="*/ 10237 w 557631"/>
                <a:gd name="connsiteY2" fmla="*/ 954015 h 1105097"/>
                <a:gd name="connsiteX3" fmla="*/ 256581 w 557631"/>
                <a:gd name="connsiteY3" fmla="*/ 1096225 h 1105097"/>
                <a:gd name="connsiteX4" fmla="*/ 251444 w 557631"/>
                <a:gd name="connsiteY4" fmla="*/ 1105097 h 1105097"/>
                <a:gd name="connsiteX5" fmla="*/ 0 w 557631"/>
                <a:gd name="connsiteY5" fmla="*/ 959906 h 1105097"/>
                <a:gd name="connsiteX6" fmla="*/ 0 w 557631"/>
                <a:gd name="connsiteY6" fmla="*/ 318975 h 1105097"/>
                <a:gd name="connsiteX7" fmla="*/ 552495 w 557631"/>
                <a:gd name="connsiteY7" fmla="*/ 0 h 1105097"/>
                <a:gd name="connsiteX8" fmla="*/ 557631 w 557631"/>
                <a:gd name="connsiteY8" fmla="*/ 8873 h 110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31" h="1105097">
                  <a:moveTo>
                    <a:pt x="557631" y="8873"/>
                  </a:moveTo>
                  <a:lnTo>
                    <a:pt x="10237" y="324902"/>
                  </a:lnTo>
                  <a:lnTo>
                    <a:pt x="10237" y="954015"/>
                  </a:lnTo>
                  <a:lnTo>
                    <a:pt x="256581" y="1096225"/>
                  </a:lnTo>
                  <a:lnTo>
                    <a:pt x="251444" y="1105097"/>
                  </a:lnTo>
                  <a:lnTo>
                    <a:pt x="0" y="959906"/>
                  </a:lnTo>
                  <a:lnTo>
                    <a:pt x="0" y="318975"/>
                  </a:lnTo>
                  <a:lnTo>
                    <a:pt x="552495" y="0"/>
                  </a:lnTo>
                  <a:lnTo>
                    <a:pt x="557631" y="8873"/>
                  </a:lnTo>
                  <a:close/>
                </a:path>
              </a:pathLst>
            </a:custGeom>
            <a:grpFill/>
            <a:ln w="359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31D4D4D6-EFE3-4A8D-D5EA-7DCF7DCE56D7}"/>
                </a:ext>
              </a:extLst>
            </p:cNvPr>
            <p:cNvSpPr/>
            <p:nvPr/>
          </p:nvSpPr>
          <p:spPr>
            <a:xfrm rot="18000001">
              <a:off x="3704402" y="4462459"/>
              <a:ext cx="10237" cy="347603"/>
            </a:xfrm>
            <a:custGeom>
              <a:avLst/>
              <a:gdLst>
                <a:gd name="connsiteX0" fmla="*/ -3560 w 10237"/>
                <a:gd name="connsiteY0" fmla="*/ -245 h 347603"/>
                <a:gd name="connsiteX1" fmla="*/ 6678 w 10237"/>
                <a:gd name="connsiteY1" fmla="*/ -245 h 347603"/>
                <a:gd name="connsiteX2" fmla="*/ 6678 w 10237"/>
                <a:gd name="connsiteY2" fmla="*/ 347358 h 347603"/>
                <a:gd name="connsiteX3" fmla="*/ -3560 w 10237"/>
                <a:gd name="connsiteY3" fmla="*/ 347358 h 347603"/>
              </a:gdLst>
              <a:ahLst/>
              <a:cxnLst>
                <a:cxn ang="0">
                  <a:pos x="connsiteX0" y="connsiteY0"/>
                </a:cxn>
                <a:cxn ang="0">
                  <a:pos x="connsiteX1" y="connsiteY1"/>
                </a:cxn>
                <a:cxn ang="0">
                  <a:pos x="connsiteX2" y="connsiteY2"/>
                </a:cxn>
                <a:cxn ang="0">
                  <a:pos x="connsiteX3" y="connsiteY3"/>
                </a:cxn>
              </a:cxnLst>
              <a:rect l="l" t="t" r="r" b="b"/>
              <a:pathLst>
                <a:path w="10237" h="347603">
                  <a:moveTo>
                    <a:pt x="-3560" y="-245"/>
                  </a:moveTo>
                  <a:lnTo>
                    <a:pt x="6678" y="-245"/>
                  </a:lnTo>
                  <a:lnTo>
                    <a:pt x="6678" y="347358"/>
                  </a:lnTo>
                  <a:lnTo>
                    <a:pt x="-3560" y="347358"/>
                  </a:lnTo>
                  <a:close/>
                </a:path>
              </a:pathLst>
            </a:custGeom>
            <a:grpFill/>
            <a:ln w="359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54EF438-A29D-6AE7-7B37-E9762CE39AC8}"/>
                </a:ext>
              </a:extLst>
            </p:cNvPr>
            <p:cNvSpPr/>
            <p:nvPr/>
          </p:nvSpPr>
          <p:spPr>
            <a:xfrm>
              <a:off x="640781" y="1711962"/>
              <a:ext cx="1739239" cy="1472457"/>
            </a:xfrm>
            <a:custGeom>
              <a:avLst/>
              <a:gdLst>
                <a:gd name="connsiteX0" fmla="*/ 1739239 w 1739239"/>
                <a:gd name="connsiteY0" fmla="*/ 486078 h 1472457"/>
                <a:gd name="connsiteX1" fmla="*/ 1730978 w 1739239"/>
                <a:gd name="connsiteY1" fmla="*/ 500410 h 1472457"/>
                <a:gd name="connsiteX2" fmla="*/ 897332 w 1739239"/>
                <a:gd name="connsiteY2" fmla="*/ 19110 h 1472457"/>
                <a:gd name="connsiteX3" fmla="*/ 16595 w 1739239"/>
                <a:gd name="connsiteY3" fmla="*/ 527638 h 1472457"/>
                <a:gd name="connsiteX4" fmla="*/ 16595 w 1739239"/>
                <a:gd name="connsiteY4" fmla="*/ 1472457 h 1472457"/>
                <a:gd name="connsiteX5" fmla="*/ 0 w 1739239"/>
                <a:gd name="connsiteY5" fmla="*/ 1472457 h 1472457"/>
                <a:gd name="connsiteX6" fmla="*/ 0 w 1739239"/>
                <a:gd name="connsiteY6" fmla="*/ 518047 h 1472457"/>
                <a:gd name="connsiteX7" fmla="*/ 897332 w 1739239"/>
                <a:gd name="connsiteY7" fmla="*/ 0 h 1472457"/>
                <a:gd name="connsiteX8" fmla="*/ 901463 w 1739239"/>
                <a:gd name="connsiteY8" fmla="*/ 2371 h 1472457"/>
                <a:gd name="connsiteX9" fmla="*/ 1739239 w 1739239"/>
                <a:gd name="connsiteY9" fmla="*/ 486078 h 147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239" h="1472457">
                  <a:moveTo>
                    <a:pt x="1739239" y="486078"/>
                  </a:moveTo>
                  <a:lnTo>
                    <a:pt x="1730978" y="500410"/>
                  </a:lnTo>
                  <a:lnTo>
                    <a:pt x="897332" y="19110"/>
                  </a:lnTo>
                  <a:lnTo>
                    <a:pt x="16595" y="527638"/>
                  </a:lnTo>
                  <a:lnTo>
                    <a:pt x="16595" y="1472457"/>
                  </a:lnTo>
                  <a:lnTo>
                    <a:pt x="0" y="1472457"/>
                  </a:lnTo>
                  <a:lnTo>
                    <a:pt x="0" y="518047"/>
                  </a:lnTo>
                  <a:lnTo>
                    <a:pt x="897332" y="0"/>
                  </a:lnTo>
                  <a:lnTo>
                    <a:pt x="901463" y="2371"/>
                  </a:lnTo>
                  <a:lnTo>
                    <a:pt x="1739239" y="486078"/>
                  </a:lnTo>
                  <a:close/>
                </a:path>
              </a:pathLst>
            </a:custGeom>
            <a:grpFill/>
            <a:ln w="359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E4C1D25-753D-E918-7113-89E9CDEA498D}"/>
                </a:ext>
              </a:extLst>
            </p:cNvPr>
            <p:cNvSpPr/>
            <p:nvPr/>
          </p:nvSpPr>
          <p:spPr>
            <a:xfrm>
              <a:off x="568042" y="3099395"/>
              <a:ext cx="162002" cy="162002"/>
            </a:xfrm>
            <a:custGeom>
              <a:avLst/>
              <a:gdLst>
                <a:gd name="connsiteX0" fmla="*/ 158442 w 162002"/>
                <a:gd name="connsiteY0" fmla="*/ 80720 h 162002"/>
                <a:gd name="connsiteX1" fmla="*/ 77477 w 162002"/>
                <a:gd name="connsiteY1" fmla="*/ 161757 h 162002"/>
                <a:gd name="connsiteX2" fmla="*/ -3560 w 162002"/>
                <a:gd name="connsiteY2" fmla="*/ 80792 h 162002"/>
                <a:gd name="connsiteX3" fmla="*/ 77405 w 162002"/>
                <a:gd name="connsiteY3" fmla="*/ -245 h 162002"/>
                <a:gd name="connsiteX4" fmla="*/ 77441 w 162002"/>
                <a:gd name="connsiteY4" fmla="*/ -245 h 162002"/>
                <a:gd name="connsiteX5" fmla="*/ 158442 w 162002"/>
                <a:gd name="connsiteY5" fmla="*/ 80720 h 16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002" h="162002">
                  <a:moveTo>
                    <a:pt x="158442" y="80720"/>
                  </a:moveTo>
                  <a:cubicBezTo>
                    <a:pt x="158478" y="125441"/>
                    <a:pt x="122198" y="161721"/>
                    <a:pt x="77477" y="161757"/>
                  </a:cubicBezTo>
                  <a:cubicBezTo>
                    <a:pt x="32756" y="161792"/>
                    <a:pt x="-3524" y="125513"/>
                    <a:pt x="-3560" y="80792"/>
                  </a:cubicBezTo>
                  <a:cubicBezTo>
                    <a:pt x="-3596" y="36070"/>
                    <a:pt x="32684" y="-209"/>
                    <a:pt x="77405" y="-245"/>
                  </a:cubicBezTo>
                  <a:cubicBezTo>
                    <a:pt x="77405" y="-245"/>
                    <a:pt x="77441" y="-245"/>
                    <a:pt x="77441" y="-245"/>
                  </a:cubicBezTo>
                  <a:cubicBezTo>
                    <a:pt x="122162" y="-209"/>
                    <a:pt x="158406" y="35999"/>
                    <a:pt x="158442" y="80720"/>
                  </a:cubicBezTo>
                  <a:close/>
                </a:path>
              </a:pathLst>
            </a:custGeom>
            <a:grpFill/>
            <a:ln w="359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653597E4-E010-543D-2EBB-855138F4031B}"/>
                </a:ext>
              </a:extLst>
            </p:cNvPr>
            <p:cNvSpPr/>
            <p:nvPr/>
          </p:nvSpPr>
          <p:spPr>
            <a:xfrm>
              <a:off x="2310846" y="2141374"/>
              <a:ext cx="124687" cy="124664"/>
            </a:xfrm>
            <a:custGeom>
              <a:avLst/>
              <a:gdLst>
                <a:gd name="connsiteX0" fmla="*/ 27610 w 124687"/>
                <a:gd name="connsiteY0" fmla="*/ 116049 h 124664"/>
                <a:gd name="connsiteX1" fmla="*/ 112742 w 124687"/>
                <a:gd name="connsiteY1" fmla="*/ 93264 h 124664"/>
                <a:gd name="connsiteX2" fmla="*/ 89969 w 124687"/>
                <a:gd name="connsiteY2" fmla="*/ 8125 h 124664"/>
                <a:gd name="connsiteX3" fmla="*/ 4836 w 124687"/>
                <a:gd name="connsiteY3" fmla="*/ 30906 h 124664"/>
                <a:gd name="connsiteX4" fmla="*/ 4801 w 124687"/>
                <a:gd name="connsiteY4" fmla="*/ 30953 h 124664"/>
                <a:gd name="connsiteX5" fmla="*/ 27575 w 124687"/>
                <a:gd name="connsiteY5" fmla="*/ 116038 h 124664"/>
                <a:gd name="connsiteX6" fmla="*/ 27610 w 124687"/>
                <a:gd name="connsiteY6" fmla="*/ 116049 h 12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687" h="124664">
                  <a:moveTo>
                    <a:pt x="27610" y="116049"/>
                  </a:moveTo>
                  <a:cubicBezTo>
                    <a:pt x="57425" y="133269"/>
                    <a:pt x="95536" y="123067"/>
                    <a:pt x="112742" y="93264"/>
                  </a:cubicBezTo>
                  <a:cubicBezTo>
                    <a:pt x="129983" y="63461"/>
                    <a:pt x="119782" y="25342"/>
                    <a:pt x="89969" y="8125"/>
                  </a:cubicBezTo>
                  <a:cubicBezTo>
                    <a:pt x="60154" y="-9095"/>
                    <a:pt x="22043" y="1106"/>
                    <a:pt x="4836" y="30906"/>
                  </a:cubicBezTo>
                  <a:cubicBezTo>
                    <a:pt x="4801" y="30924"/>
                    <a:pt x="4801" y="30938"/>
                    <a:pt x="4801" y="30953"/>
                  </a:cubicBezTo>
                  <a:cubicBezTo>
                    <a:pt x="-12405" y="60742"/>
                    <a:pt x="-2204" y="98835"/>
                    <a:pt x="27575" y="116038"/>
                  </a:cubicBezTo>
                  <a:cubicBezTo>
                    <a:pt x="27610" y="116041"/>
                    <a:pt x="27610" y="116045"/>
                    <a:pt x="27610" y="116049"/>
                  </a:cubicBezTo>
                  <a:close/>
                </a:path>
              </a:pathLst>
            </a:custGeom>
            <a:grpFill/>
            <a:ln w="359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1580980-6719-B4BE-05C6-78E788D68243}"/>
                </a:ext>
              </a:extLst>
            </p:cNvPr>
            <p:cNvSpPr/>
            <p:nvPr/>
          </p:nvSpPr>
          <p:spPr>
            <a:xfrm>
              <a:off x="1400035" y="2308172"/>
              <a:ext cx="1225036" cy="368293"/>
            </a:xfrm>
            <a:custGeom>
              <a:avLst/>
              <a:gdLst>
                <a:gd name="connsiteX0" fmla="*/ 1225036 w 1225036"/>
                <a:gd name="connsiteY0" fmla="*/ 10345 h 368293"/>
                <a:gd name="connsiteX1" fmla="*/ 605118 w 1225036"/>
                <a:gd name="connsiteY1" fmla="*/ 368294 h 368293"/>
                <a:gd name="connsiteX2" fmla="*/ 0 w 1225036"/>
                <a:gd name="connsiteY2" fmla="*/ 18930 h 368293"/>
                <a:gd name="connsiteX3" fmla="*/ 5963 w 1225036"/>
                <a:gd name="connsiteY3" fmla="*/ 8549 h 368293"/>
                <a:gd name="connsiteX4" fmla="*/ 605118 w 1225036"/>
                <a:gd name="connsiteY4" fmla="*/ 354464 h 368293"/>
                <a:gd name="connsiteX5" fmla="*/ 1219073 w 1225036"/>
                <a:gd name="connsiteY5" fmla="*/ 0 h 368293"/>
                <a:gd name="connsiteX6" fmla="*/ 1225036 w 1225036"/>
                <a:gd name="connsiteY6" fmla="*/ 10345 h 368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5036" h="368293">
                  <a:moveTo>
                    <a:pt x="1225036" y="10345"/>
                  </a:moveTo>
                  <a:lnTo>
                    <a:pt x="605118" y="368294"/>
                  </a:lnTo>
                  <a:lnTo>
                    <a:pt x="0" y="18930"/>
                  </a:lnTo>
                  <a:lnTo>
                    <a:pt x="5963" y="8549"/>
                  </a:lnTo>
                  <a:lnTo>
                    <a:pt x="605118" y="354464"/>
                  </a:lnTo>
                  <a:lnTo>
                    <a:pt x="1219073" y="0"/>
                  </a:lnTo>
                  <a:lnTo>
                    <a:pt x="1225036" y="10345"/>
                  </a:lnTo>
                  <a:close/>
                </a:path>
              </a:pathLst>
            </a:custGeom>
            <a:grpFill/>
            <a:ln w="359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43DC2805-708A-73A3-4EBD-0D150758A802}"/>
                </a:ext>
              </a:extLst>
            </p:cNvPr>
            <p:cNvSpPr/>
            <p:nvPr/>
          </p:nvSpPr>
          <p:spPr>
            <a:xfrm>
              <a:off x="2589289" y="2282585"/>
              <a:ext cx="63097" cy="63085"/>
            </a:xfrm>
            <a:custGeom>
              <a:avLst/>
              <a:gdLst>
                <a:gd name="connsiteX0" fmla="*/ 12249 w 63097"/>
                <a:gd name="connsiteY0" fmla="*/ 3969 h 63085"/>
                <a:gd name="connsiteX1" fmla="*/ 55319 w 63097"/>
                <a:gd name="connsiteY1" fmla="*/ 15553 h 63085"/>
                <a:gd name="connsiteX2" fmla="*/ 43752 w 63097"/>
                <a:gd name="connsiteY2" fmla="*/ 58626 h 63085"/>
                <a:gd name="connsiteX3" fmla="*/ 682 w 63097"/>
                <a:gd name="connsiteY3" fmla="*/ 47074 h 63085"/>
                <a:gd name="connsiteX4" fmla="*/ 12214 w 63097"/>
                <a:gd name="connsiteY4" fmla="*/ 3987 h 63085"/>
                <a:gd name="connsiteX5" fmla="*/ 12249 w 63097"/>
                <a:gd name="connsiteY5" fmla="*/ 3969 h 6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097" h="63085">
                  <a:moveTo>
                    <a:pt x="12249" y="3969"/>
                  </a:moveTo>
                  <a:cubicBezTo>
                    <a:pt x="27337" y="-4724"/>
                    <a:pt x="46625" y="463"/>
                    <a:pt x="55319" y="15553"/>
                  </a:cubicBezTo>
                  <a:cubicBezTo>
                    <a:pt x="64012" y="30647"/>
                    <a:pt x="58839" y="49933"/>
                    <a:pt x="43752" y="58626"/>
                  </a:cubicBezTo>
                  <a:cubicBezTo>
                    <a:pt x="28665" y="67311"/>
                    <a:pt x="9377" y="62142"/>
                    <a:pt x="682" y="47074"/>
                  </a:cubicBezTo>
                  <a:cubicBezTo>
                    <a:pt x="-8045" y="31991"/>
                    <a:pt x="-2873" y="12701"/>
                    <a:pt x="12214" y="3987"/>
                  </a:cubicBezTo>
                  <a:cubicBezTo>
                    <a:pt x="12214" y="3983"/>
                    <a:pt x="12249" y="3976"/>
                    <a:pt x="12249" y="3969"/>
                  </a:cubicBezTo>
                  <a:close/>
                </a:path>
              </a:pathLst>
            </a:custGeom>
            <a:grpFill/>
            <a:ln w="359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D1FA648-28B2-C562-8948-F96E1B640B7D}"/>
                </a:ext>
              </a:extLst>
            </p:cNvPr>
            <p:cNvSpPr/>
            <p:nvPr/>
          </p:nvSpPr>
          <p:spPr>
            <a:xfrm>
              <a:off x="1355490" y="2273509"/>
              <a:ext cx="99085" cy="99085"/>
            </a:xfrm>
            <a:custGeom>
              <a:avLst/>
              <a:gdLst>
                <a:gd name="connsiteX0" fmla="*/ 70871 w 99085"/>
                <a:gd name="connsiteY0" fmla="*/ 6471 h 99085"/>
                <a:gd name="connsiteX1" fmla="*/ 3160 w 99085"/>
                <a:gd name="connsiteY1" fmla="*/ 24406 h 99085"/>
                <a:gd name="connsiteX2" fmla="*/ 21084 w 99085"/>
                <a:gd name="connsiteY2" fmla="*/ 92124 h 99085"/>
                <a:gd name="connsiteX3" fmla="*/ 88795 w 99085"/>
                <a:gd name="connsiteY3" fmla="*/ 74189 h 99085"/>
                <a:gd name="connsiteX4" fmla="*/ 88831 w 99085"/>
                <a:gd name="connsiteY4" fmla="*/ 74145 h 99085"/>
                <a:gd name="connsiteX5" fmla="*/ 70871 w 99085"/>
                <a:gd name="connsiteY5" fmla="*/ 6471 h 9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85" h="99085">
                  <a:moveTo>
                    <a:pt x="70871" y="6471"/>
                  </a:moveTo>
                  <a:cubicBezTo>
                    <a:pt x="47235" y="-7276"/>
                    <a:pt x="16918" y="752"/>
                    <a:pt x="3160" y="24406"/>
                  </a:cubicBezTo>
                  <a:cubicBezTo>
                    <a:pt x="-10598" y="48060"/>
                    <a:pt x="-2552" y="78377"/>
                    <a:pt x="21084" y="92124"/>
                  </a:cubicBezTo>
                  <a:cubicBezTo>
                    <a:pt x="44756" y="105871"/>
                    <a:pt x="75073" y="97842"/>
                    <a:pt x="88795" y="74189"/>
                  </a:cubicBezTo>
                  <a:cubicBezTo>
                    <a:pt x="88831" y="74174"/>
                    <a:pt x="88831" y="74160"/>
                    <a:pt x="88831" y="74145"/>
                  </a:cubicBezTo>
                  <a:cubicBezTo>
                    <a:pt x="102552" y="50495"/>
                    <a:pt x="94506" y="20207"/>
                    <a:pt x="70871" y="6471"/>
                  </a:cubicBezTo>
                  <a:close/>
                </a:path>
              </a:pathLst>
            </a:custGeom>
            <a:grpFill/>
            <a:ln w="359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28B51AE-285D-B3EB-EB73-72046066F72C}"/>
                </a:ext>
              </a:extLst>
            </p:cNvPr>
            <p:cNvSpPr/>
            <p:nvPr/>
          </p:nvSpPr>
          <p:spPr>
            <a:xfrm>
              <a:off x="5329640" y="3295665"/>
              <a:ext cx="993851" cy="841404"/>
            </a:xfrm>
            <a:custGeom>
              <a:avLst/>
              <a:gdLst>
                <a:gd name="connsiteX0" fmla="*/ 993851 w 993851"/>
                <a:gd name="connsiteY0" fmla="*/ 277774 h 841404"/>
                <a:gd name="connsiteX1" fmla="*/ 989109 w 993851"/>
                <a:gd name="connsiteY1" fmla="*/ 285964 h 841404"/>
                <a:gd name="connsiteX2" fmla="*/ 512731 w 993851"/>
                <a:gd name="connsiteY2" fmla="*/ 10956 h 841404"/>
                <a:gd name="connsiteX3" fmla="*/ 9447 w 993851"/>
                <a:gd name="connsiteY3" fmla="*/ 301517 h 841404"/>
                <a:gd name="connsiteX4" fmla="*/ 9447 w 993851"/>
                <a:gd name="connsiteY4" fmla="*/ 841404 h 841404"/>
                <a:gd name="connsiteX5" fmla="*/ 0 w 993851"/>
                <a:gd name="connsiteY5" fmla="*/ 841404 h 841404"/>
                <a:gd name="connsiteX6" fmla="*/ 0 w 993851"/>
                <a:gd name="connsiteY6" fmla="*/ 296058 h 841404"/>
                <a:gd name="connsiteX7" fmla="*/ 512731 w 993851"/>
                <a:gd name="connsiteY7" fmla="*/ 0 h 841404"/>
                <a:gd name="connsiteX8" fmla="*/ 993851 w 993851"/>
                <a:gd name="connsiteY8" fmla="*/ 277774 h 841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851" h="841404">
                  <a:moveTo>
                    <a:pt x="993851" y="277774"/>
                  </a:moveTo>
                  <a:lnTo>
                    <a:pt x="989109" y="285964"/>
                  </a:lnTo>
                  <a:lnTo>
                    <a:pt x="512731" y="10956"/>
                  </a:lnTo>
                  <a:lnTo>
                    <a:pt x="9447" y="301517"/>
                  </a:lnTo>
                  <a:lnTo>
                    <a:pt x="9447" y="841404"/>
                  </a:lnTo>
                  <a:lnTo>
                    <a:pt x="0" y="841404"/>
                  </a:lnTo>
                  <a:lnTo>
                    <a:pt x="0" y="296058"/>
                  </a:lnTo>
                  <a:lnTo>
                    <a:pt x="512731" y="0"/>
                  </a:lnTo>
                  <a:lnTo>
                    <a:pt x="993851" y="277774"/>
                  </a:lnTo>
                  <a:close/>
                </a:path>
              </a:pathLst>
            </a:custGeom>
            <a:grpFill/>
            <a:ln w="359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359EE548-6266-5A82-C417-6B7299629C46}"/>
                </a:ext>
              </a:extLst>
            </p:cNvPr>
            <p:cNvSpPr/>
            <p:nvPr/>
          </p:nvSpPr>
          <p:spPr>
            <a:xfrm>
              <a:off x="5288080" y="4088469"/>
              <a:ext cx="92532" cy="92531"/>
            </a:xfrm>
            <a:custGeom>
              <a:avLst/>
              <a:gdLst>
                <a:gd name="connsiteX0" fmla="*/ 88972 w 92532"/>
                <a:gd name="connsiteY0" fmla="*/ 46056 h 92531"/>
                <a:gd name="connsiteX1" fmla="*/ 42670 w 92532"/>
                <a:gd name="connsiteY1" fmla="*/ 92286 h 92531"/>
                <a:gd name="connsiteX2" fmla="*/ -3560 w 92532"/>
                <a:gd name="connsiteY2" fmla="*/ 45984 h 92531"/>
                <a:gd name="connsiteX3" fmla="*/ 42705 w 92532"/>
                <a:gd name="connsiteY3" fmla="*/ -245 h 92531"/>
                <a:gd name="connsiteX4" fmla="*/ 88972 w 92532"/>
                <a:gd name="connsiteY4" fmla="*/ 46020 h 92531"/>
                <a:gd name="connsiteX5" fmla="*/ 88972 w 92532"/>
                <a:gd name="connsiteY5" fmla="*/ 46056 h 9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532" h="92531">
                  <a:moveTo>
                    <a:pt x="88972" y="46056"/>
                  </a:moveTo>
                  <a:cubicBezTo>
                    <a:pt x="88935" y="71596"/>
                    <a:pt x="68209" y="92322"/>
                    <a:pt x="42670" y="92286"/>
                  </a:cubicBezTo>
                  <a:cubicBezTo>
                    <a:pt x="17131" y="92250"/>
                    <a:pt x="-3595" y="71524"/>
                    <a:pt x="-3560" y="45984"/>
                  </a:cubicBezTo>
                  <a:cubicBezTo>
                    <a:pt x="-3523" y="20444"/>
                    <a:pt x="17166" y="-245"/>
                    <a:pt x="42705" y="-245"/>
                  </a:cubicBezTo>
                  <a:cubicBezTo>
                    <a:pt x="68246" y="-245"/>
                    <a:pt x="88972" y="20480"/>
                    <a:pt x="88972" y="46020"/>
                  </a:cubicBezTo>
                  <a:cubicBezTo>
                    <a:pt x="88972" y="46020"/>
                    <a:pt x="88972" y="46056"/>
                    <a:pt x="88972" y="46056"/>
                  </a:cubicBezTo>
                  <a:close/>
                </a:path>
              </a:pathLst>
            </a:custGeom>
            <a:grpFill/>
            <a:ln w="359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53812602-18C7-62A2-2C9B-A35E0E6EB099}"/>
                </a:ext>
              </a:extLst>
            </p:cNvPr>
            <p:cNvSpPr/>
            <p:nvPr/>
          </p:nvSpPr>
          <p:spPr>
            <a:xfrm>
              <a:off x="6283942" y="3541018"/>
              <a:ext cx="71207" cy="71200"/>
            </a:xfrm>
            <a:custGeom>
              <a:avLst/>
              <a:gdLst>
                <a:gd name="connsiteX0" fmla="*/ 14257 w 71207"/>
                <a:gd name="connsiteY0" fmla="*/ 66193 h 71200"/>
                <a:gd name="connsiteX1" fmla="*/ 62894 w 71207"/>
                <a:gd name="connsiteY1" fmla="*/ 53153 h 71200"/>
                <a:gd name="connsiteX2" fmla="*/ 49818 w 71207"/>
                <a:gd name="connsiteY2" fmla="*/ 4517 h 71200"/>
                <a:gd name="connsiteX3" fmla="*/ 1219 w 71207"/>
                <a:gd name="connsiteY3" fmla="*/ 17556 h 71200"/>
                <a:gd name="connsiteX4" fmla="*/ 14257 w 71207"/>
                <a:gd name="connsiteY4" fmla="*/ 66193 h 71200"/>
                <a:gd name="connsiteX5" fmla="*/ 14257 w 71207"/>
                <a:gd name="connsiteY5" fmla="*/ 66193 h 7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207" h="71200">
                  <a:moveTo>
                    <a:pt x="14257" y="66193"/>
                  </a:moveTo>
                  <a:cubicBezTo>
                    <a:pt x="31283" y="75999"/>
                    <a:pt x="53051" y="70180"/>
                    <a:pt x="62894" y="53153"/>
                  </a:cubicBezTo>
                  <a:cubicBezTo>
                    <a:pt x="72700" y="36127"/>
                    <a:pt x="66844" y="14359"/>
                    <a:pt x="49818" y="4517"/>
                  </a:cubicBezTo>
                  <a:cubicBezTo>
                    <a:pt x="32791" y="-5290"/>
                    <a:pt x="11060" y="530"/>
                    <a:pt x="1219" y="17556"/>
                  </a:cubicBezTo>
                  <a:cubicBezTo>
                    <a:pt x="-8624" y="34582"/>
                    <a:pt x="-2770" y="56350"/>
                    <a:pt x="14257" y="66193"/>
                  </a:cubicBezTo>
                  <a:cubicBezTo>
                    <a:pt x="14257" y="66193"/>
                    <a:pt x="14257" y="66193"/>
                    <a:pt x="14257" y="66193"/>
                  </a:cubicBezTo>
                  <a:close/>
                </a:path>
              </a:pathLst>
            </a:custGeom>
            <a:grpFill/>
            <a:ln w="359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490DF9ED-7831-1D76-74E8-A46455E94D3D}"/>
                </a:ext>
              </a:extLst>
            </p:cNvPr>
            <p:cNvSpPr/>
            <p:nvPr/>
          </p:nvSpPr>
          <p:spPr>
            <a:xfrm>
              <a:off x="5364195" y="4335423"/>
              <a:ext cx="968059" cy="291064"/>
            </a:xfrm>
            <a:custGeom>
              <a:avLst/>
              <a:gdLst>
                <a:gd name="connsiteX0" fmla="*/ 968060 w 968059"/>
                <a:gd name="connsiteY0" fmla="*/ 8226 h 291064"/>
                <a:gd name="connsiteX1" fmla="*/ 478175 w 968059"/>
                <a:gd name="connsiteY1" fmla="*/ 291065 h 291064"/>
                <a:gd name="connsiteX2" fmla="*/ 0 w 968059"/>
                <a:gd name="connsiteY2" fmla="*/ 14979 h 291064"/>
                <a:gd name="connsiteX3" fmla="*/ 4742 w 968059"/>
                <a:gd name="connsiteY3" fmla="*/ 6789 h 291064"/>
                <a:gd name="connsiteX4" fmla="*/ 478175 w 968059"/>
                <a:gd name="connsiteY4" fmla="*/ 280109 h 291064"/>
                <a:gd name="connsiteX5" fmla="*/ 963319 w 968059"/>
                <a:gd name="connsiteY5" fmla="*/ 0 h 291064"/>
                <a:gd name="connsiteX6" fmla="*/ 968060 w 968059"/>
                <a:gd name="connsiteY6" fmla="*/ 8226 h 29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059" h="291064">
                  <a:moveTo>
                    <a:pt x="968060" y="8226"/>
                  </a:moveTo>
                  <a:lnTo>
                    <a:pt x="478175" y="291065"/>
                  </a:lnTo>
                  <a:lnTo>
                    <a:pt x="0" y="14979"/>
                  </a:lnTo>
                  <a:lnTo>
                    <a:pt x="4742" y="6789"/>
                  </a:lnTo>
                  <a:lnTo>
                    <a:pt x="478175" y="280109"/>
                  </a:lnTo>
                  <a:lnTo>
                    <a:pt x="963319" y="0"/>
                  </a:lnTo>
                  <a:lnTo>
                    <a:pt x="968060" y="8226"/>
                  </a:lnTo>
                  <a:close/>
                </a:path>
              </a:pathLst>
            </a:custGeom>
            <a:grpFill/>
            <a:ln w="359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F86FEDCB-A965-3384-4D6A-9A54FF19E6B5}"/>
                </a:ext>
              </a:extLst>
            </p:cNvPr>
            <p:cNvSpPr/>
            <p:nvPr/>
          </p:nvSpPr>
          <p:spPr>
            <a:xfrm>
              <a:off x="6303869" y="4315226"/>
              <a:ext cx="49877" cy="49877"/>
            </a:xfrm>
            <a:custGeom>
              <a:avLst/>
              <a:gdLst>
                <a:gd name="connsiteX0" fmla="*/ 8914 w 49877"/>
                <a:gd name="connsiteY0" fmla="*/ 3105 h 49877"/>
                <a:gd name="connsiteX1" fmla="*/ 42967 w 49877"/>
                <a:gd name="connsiteY1" fmla="*/ 12229 h 49877"/>
                <a:gd name="connsiteX2" fmla="*/ 33843 w 49877"/>
                <a:gd name="connsiteY2" fmla="*/ 46282 h 49877"/>
                <a:gd name="connsiteX3" fmla="*/ -210 w 49877"/>
                <a:gd name="connsiteY3" fmla="*/ 37158 h 49877"/>
                <a:gd name="connsiteX4" fmla="*/ -210 w 49877"/>
                <a:gd name="connsiteY4" fmla="*/ 37158 h 49877"/>
                <a:gd name="connsiteX5" fmla="*/ 8914 w 49877"/>
                <a:gd name="connsiteY5" fmla="*/ 3105 h 4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77" h="49877">
                  <a:moveTo>
                    <a:pt x="8914" y="3105"/>
                  </a:moveTo>
                  <a:cubicBezTo>
                    <a:pt x="20839" y="-3792"/>
                    <a:pt x="36070" y="303"/>
                    <a:pt x="42967" y="12229"/>
                  </a:cubicBezTo>
                  <a:cubicBezTo>
                    <a:pt x="49863" y="24154"/>
                    <a:pt x="45768" y="39385"/>
                    <a:pt x="33843" y="46282"/>
                  </a:cubicBezTo>
                  <a:cubicBezTo>
                    <a:pt x="21916" y="53179"/>
                    <a:pt x="6687" y="49084"/>
                    <a:pt x="-210" y="37158"/>
                  </a:cubicBezTo>
                  <a:cubicBezTo>
                    <a:pt x="-210" y="37158"/>
                    <a:pt x="-210" y="37158"/>
                    <a:pt x="-210" y="37158"/>
                  </a:cubicBezTo>
                  <a:cubicBezTo>
                    <a:pt x="-7106" y="25232"/>
                    <a:pt x="-3012" y="10002"/>
                    <a:pt x="8914" y="3105"/>
                  </a:cubicBezTo>
                  <a:close/>
                </a:path>
              </a:pathLst>
            </a:custGeom>
            <a:grpFill/>
            <a:ln w="359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1A30290F-A692-8811-2366-562BB1A29C1D}"/>
                </a:ext>
              </a:extLst>
            </p:cNvPr>
            <p:cNvSpPr/>
            <p:nvPr/>
          </p:nvSpPr>
          <p:spPr>
            <a:xfrm>
              <a:off x="5329122" y="4308127"/>
              <a:ext cx="78325" cy="78318"/>
            </a:xfrm>
            <a:custGeom>
              <a:avLst/>
              <a:gdLst>
                <a:gd name="connsiteX0" fmla="*/ 55149 w 78325"/>
                <a:gd name="connsiteY0" fmla="*/ 4995 h 78318"/>
                <a:gd name="connsiteX1" fmla="*/ 1663 w 78325"/>
                <a:gd name="connsiteY1" fmla="*/ 19363 h 78318"/>
                <a:gd name="connsiteX2" fmla="*/ 16068 w 78325"/>
                <a:gd name="connsiteY2" fmla="*/ 72849 h 78318"/>
                <a:gd name="connsiteX3" fmla="*/ 69517 w 78325"/>
                <a:gd name="connsiteY3" fmla="*/ 58481 h 78318"/>
                <a:gd name="connsiteX4" fmla="*/ 55149 w 78325"/>
                <a:gd name="connsiteY4" fmla="*/ 4995 h 78318"/>
                <a:gd name="connsiteX5" fmla="*/ 55149 w 78325"/>
                <a:gd name="connsiteY5" fmla="*/ 4995 h 7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325" h="78318">
                  <a:moveTo>
                    <a:pt x="55149" y="4995"/>
                  </a:moveTo>
                  <a:cubicBezTo>
                    <a:pt x="36399" y="-5817"/>
                    <a:pt x="12476" y="648"/>
                    <a:pt x="1663" y="19363"/>
                  </a:cubicBezTo>
                  <a:cubicBezTo>
                    <a:pt x="-9114" y="38113"/>
                    <a:pt x="-2684" y="62037"/>
                    <a:pt x="16068" y="72849"/>
                  </a:cubicBezTo>
                  <a:cubicBezTo>
                    <a:pt x="34782" y="83625"/>
                    <a:pt x="58706" y="77195"/>
                    <a:pt x="69517" y="58481"/>
                  </a:cubicBezTo>
                  <a:cubicBezTo>
                    <a:pt x="80330" y="39766"/>
                    <a:pt x="73900" y="15807"/>
                    <a:pt x="55149" y="4995"/>
                  </a:cubicBezTo>
                  <a:cubicBezTo>
                    <a:pt x="55149" y="4995"/>
                    <a:pt x="55149" y="4995"/>
                    <a:pt x="55149" y="4995"/>
                  </a:cubicBezTo>
                  <a:close/>
                </a:path>
              </a:pathLst>
            </a:custGeom>
            <a:grpFill/>
            <a:ln w="359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4CD6B991-C858-84C8-E2FF-1B4247577867}"/>
                </a:ext>
              </a:extLst>
            </p:cNvPr>
            <p:cNvSpPr/>
            <p:nvPr/>
          </p:nvSpPr>
          <p:spPr>
            <a:xfrm>
              <a:off x="6460708" y="3677034"/>
              <a:ext cx="9483" cy="508815"/>
            </a:xfrm>
            <a:custGeom>
              <a:avLst/>
              <a:gdLst>
                <a:gd name="connsiteX0" fmla="*/ 0 w 9483"/>
                <a:gd name="connsiteY0" fmla="*/ 0 h 508815"/>
                <a:gd name="connsiteX1" fmla="*/ 9483 w 9483"/>
                <a:gd name="connsiteY1" fmla="*/ 0 h 508815"/>
                <a:gd name="connsiteX2" fmla="*/ 9483 w 9483"/>
                <a:gd name="connsiteY2" fmla="*/ 508815 h 508815"/>
                <a:gd name="connsiteX3" fmla="*/ 0 w 9483"/>
                <a:gd name="connsiteY3" fmla="*/ 508815 h 508815"/>
              </a:gdLst>
              <a:ahLst/>
              <a:cxnLst>
                <a:cxn ang="0">
                  <a:pos x="connsiteX0" y="connsiteY0"/>
                </a:cxn>
                <a:cxn ang="0">
                  <a:pos x="connsiteX1" y="connsiteY1"/>
                </a:cxn>
                <a:cxn ang="0">
                  <a:pos x="connsiteX2" y="connsiteY2"/>
                </a:cxn>
                <a:cxn ang="0">
                  <a:pos x="connsiteX3" y="connsiteY3"/>
                </a:cxn>
              </a:cxnLst>
              <a:rect l="l" t="t" r="r" b="b"/>
              <a:pathLst>
                <a:path w="9483" h="508815">
                  <a:moveTo>
                    <a:pt x="0" y="0"/>
                  </a:moveTo>
                  <a:lnTo>
                    <a:pt x="9483" y="0"/>
                  </a:lnTo>
                  <a:lnTo>
                    <a:pt x="9483" y="508815"/>
                  </a:lnTo>
                  <a:lnTo>
                    <a:pt x="0" y="508815"/>
                  </a:lnTo>
                  <a:close/>
                </a:path>
              </a:pathLst>
            </a:custGeom>
            <a:grpFill/>
            <a:ln w="359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C1B5731C-69E8-B88F-DB18-0E348EC1503E}"/>
                </a:ext>
              </a:extLst>
            </p:cNvPr>
            <p:cNvSpPr/>
            <p:nvPr/>
          </p:nvSpPr>
          <p:spPr>
            <a:xfrm>
              <a:off x="6419147" y="3633032"/>
              <a:ext cx="92604" cy="92603"/>
            </a:xfrm>
            <a:custGeom>
              <a:avLst/>
              <a:gdLst>
                <a:gd name="connsiteX0" fmla="*/ -3560 w 92604"/>
                <a:gd name="connsiteY0" fmla="*/ 46056 h 92603"/>
                <a:gd name="connsiteX1" fmla="*/ 42742 w 92604"/>
                <a:gd name="connsiteY1" fmla="*/ -245 h 92603"/>
                <a:gd name="connsiteX2" fmla="*/ 89044 w 92604"/>
                <a:gd name="connsiteY2" fmla="*/ 46056 h 92603"/>
                <a:gd name="connsiteX3" fmla="*/ 42742 w 92604"/>
                <a:gd name="connsiteY3" fmla="*/ 92358 h 92603"/>
                <a:gd name="connsiteX4" fmla="*/ 42707 w 92604"/>
                <a:gd name="connsiteY4" fmla="*/ 92358 h 92603"/>
                <a:gd name="connsiteX5" fmla="*/ -3560 w 92604"/>
                <a:gd name="connsiteY5" fmla="*/ 46092 h 92603"/>
                <a:gd name="connsiteX6" fmla="*/ -3560 w 92604"/>
                <a:gd name="connsiteY6" fmla="*/ 46056 h 9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604" h="92603">
                  <a:moveTo>
                    <a:pt x="-3560" y="46056"/>
                  </a:moveTo>
                  <a:cubicBezTo>
                    <a:pt x="-3560" y="20481"/>
                    <a:pt x="17166" y="-245"/>
                    <a:pt x="42742" y="-245"/>
                  </a:cubicBezTo>
                  <a:cubicBezTo>
                    <a:pt x="68318" y="-245"/>
                    <a:pt x="89044" y="20481"/>
                    <a:pt x="89044" y="46056"/>
                  </a:cubicBezTo>
                  <a:cubicBezTo>
                    <a:pt x="89044" y="71632"/>
                    <a:pt x="68318" y="92358"/>
                    <a:pt x="42742" y="92358"/>
                  </a:cubicBezTo>
                  <a:cubicBezTo>
                    <a:pt x="42742" y="92358"/>
                    <a:pt x="42707" y="92358"/>
                    <a:pt x="42707" y="92358"/>
                  </a:cubicBezTo>
                  <a:cubicBezTo>
                    <a:pt x="17166" y="92358"/>
                    <a:pt x="-3560" y="71632"/>
                    <a:pt x="-3560" y="46092"/>
                  </a:cubicBezTo>
                  <a:cubicBezTo>
                    <a:pt x="-3560" y="46092"/>
                    <a:pt x="-3560" y="46056"/>
                    <a:pt x="-3560" y="46056"/>
                  </a:cubicBezTo>
                  <a:close/>
                </a:path>
              </a:pathLst>
            </a:custGeom>
            <a:grpFill/>
            <a:ln w="359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E0770E2A-646E-A8BD-0FCF-369ACA3A48F0}"/>
                </a:ext>
              </a:extLst>
            </p:cNvPr>
            <p:cNvSpPr/>
            <p:nvPr/>
          </p:nvSpPr>
          <p:spPr>
            <a:xfrm>
              <a:off x="6429816" y="4148492"/>
              <a:ext cx="71193" cy="71194"/>
            </a:xfrm>
            <a:custGeom>
              <a:avLst/>
              <a:gdLst>
                <a:gd name="connsiteX0" fmla="*/ -3560 w 71193"/>
                <a:gd name="connsiteY0" fmla="*/ 35352 h 71194"/>
                <a:gd name="connsiteX1" fmla="*/ 32038 w 71193"/>
                <a:gd name="connsiteY1" fmla="*/ 70949 h 71194"/>
                <a:gd name="connsiteX2" fmla="*/ 67634 w 71193"/>
                <a:gd name="connsiteY2" fmla="*/ 35352 h 71194"/>
                <a:gd name="connsiteX3" fmla="*/ 32038 w 71193"/>
                <a:gd name="connsiteY3" fmla="*/ -245 h 71194"/>
                <a:gd name="connsiteX4" fmla="*/ -3560 w 71193"/>
                <a:gd name="connsiteY4" fmla="*/ 35352 h 71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93" h="71194">
                  <a:moveTo>
                    <a:pt x="-3560" y="35352"/>
                  </a:moveTo>
                  <a:cubicBezTo>
                    <a:pt x="-3560" y="55000"/>
                    <a:pt x="12388" y="70949"/>
                    <a:pt x="32038" y="70949"/>
                  </a:cubicBezTo>
                  <a:cubicBezTo>
                    <a:pt x="51685" y="70949"/>
                    <a:pt x="67634" y="55000"/>
                    <a:pt x="67634" y="35352"/>
                  </a:cubicBezTo>
                  <a:cubicBezTo>
                    <a:pt x="67634" y="15703"/>
                    <a:pt x="51685" y="-245"/>
                    <a:pt x="32038" y="-245"/>
                  </a:cubicBezTo>
                  <a:cubicBezTo>
                    <a:pt x="12388" y="-245"/>
                    <a:pt x="-3560" y="15703"/>
                    <a:pt x="-3560" y="35352"/>
                  </a:cubicBezTo>
                  <a:close/>
                </a:path>
              </a:pathLst>
            </a:custGeom>
            <a:grpFill/>
            <a:ln w="359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59C2CBB5-EB46-7A29-64B9-0275A45B4CFF}"/>
                </a:ext>
              </a:extLst>
            </p:cNvPr>
            <p:cNvSpPr/>
            <p:nvPr/>
          </p:nvSpPr>
          <p:spPr>
            <a:xfrm>
              <a:off x="5323857" y="1311807"/>
              <a:ext cx="525913" cy="916693"/>
            </a:xfrm>
            <a:custGeom>
              <a:avLst/>
              <a:gdLst>
                <a:gd name="connsiteX0" fmla="*/ 525914 w 525913"/>
                <a:gd name="connsiteY0" fmla="*/ 907821 h 916693"/>
                <a:gd name="connsiteX1" fmla="*/ 520813 w 525913"/>
                <a:gd name="connsiteY1" fmla="*/ 916694 h 916693"/>
                <a:gd name="connsiteX2" fmla="*/ 0 w 525913"/>
                <a:gd name="connsiteY2" fmla="*/ 616002 h 916693"/>
                <a:gd name="connsiteX3" fmla="*/ 0 w 525913"/>
                <a:gd name="connsiteY3" fmla="*/ 0 h 916693"/>
                <a:gd name="connsiteX4" fmla="*/ 10237 w 525913"/>
                <a:gd name="connsiteY4" fmla="*/ 0 h 916693"/>
                <a:gd name="connsiteX5" fmla="*/ 10237 w 525913"/>
                <a:gd name="connsiteY5" fmla="*/ 610111 h 916693"/>
                <a:gd name="connsiteX6" fmla="*/ 525914 w 525913"/>
                <a:gd name="connsiteY6" fmla="*/ 907821 h 91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913" h="916693">
                  <a:moveTo>
                    <a:pt x="525914" y="907821"/>
                  </a:moveTo>
                  <a:lnTo>
                    <a:pt x="520813" y="916694"/>
                  </a:lnTo>
                  <a:lnTo>
                    <a:pt x="0" y="616002"/>
                  </a:lnTo>
                  <a:lnTo>
                    <a:pt x="0" y="0"/>
                  </a:lnTo>
                  <a:lnTo>
                    <a:pt x="10237" y="0"/>
                  </a:lnTo>
                  <a:lnTo>
                    <a:pt x="10237" y="610111"/>
                  </a:lnTo>
                  <a:lnTo>
                    <a:pt x="525914" y="907821"/>
                  </a:lnTo>
                  <a:close/>
                </a:path>
              </a:pathLst>
            </a:custGeom>
            <a:grpFill/>
            <a:ln w="359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843069D0-AD7E-0543-4F7D-4D7782F8445C}"/>
                </a:ext>
              </a:extLst>
            </p:cNvPr>
            <p:cNvSpPr/>
            <p:nvPr/>
          </p:nvSpPr>
          <p:spPr>
            <a:xfrm>
              <a:off x="5807000" y="2184534"/>
              <a:ext cx="77099" cy="77098"/>
            </a:xfrm>
            <a:custGeom>
              <a:avLst/>
              <a:gdLst>
                <a:gd name="connsiteX0" fmla="*/ 54261 w 77099"/>
                <a:gd name="connsiteY0" fmla="*/ 4927 h 77098"/>
                <a:gd name="connsiteX1" fmla="*/ 68379 w 77099"/>
                <a:gd name="connsiteY1" fmla="*/ 57579 h 77098"/>
                <a:gd name="connsiteX2" fmla="*/ 15718 w 77099"/>
                <a:gd name="connsiteY2" fmla="*/ 71682 h 77098"/>
                <a:gd name="connsiteX3" fmla="*/ 1601 w 77099"/>
                <a:gd name="connsiteY3" fmla="*/ 19044 h 77098"/>
                <a:gd name="connsiteX4" fmla="*/ 54261 w 77099"/>
                <a:gd name="connsiteY4" fmla="*/ 4920 h 77098"/>
                <a:gd name="connsiteX5" fmla="*/ 54261 w 77099"/>
                <a:gd name="connsiteY5" fmla="*/ 4927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9" h="77098">
                  <a:moveTo>
                    <a:pt x="54261" y="4927"/>
                  </a:moveTo>
                  <a:cubicBezTo>
                    <a:pt x="72688" y="15570"/>
                    <a:pt x="79011" y="39145"/>
                    <a:pt x="68379" y="57579"/>
                  </a:cubicBezTo>
                  <a:cubicBezTo>
                    <a:pt x="57709" y="76014"/>
                    <a:pt x="34145" y="82325"/>
                    <a:pt x="15718" y="71682"/>
                  </a:cubicBezTo>
                  <a:cubicBezTo>
                    <a:pt x="-2708" y="61038"/>
                    <a:pt x="-9031" y="37478"/>
                    <a:pt x="1601" y="19044"/>
                  </a:cubicBezTo>
                  <a:cubicBezTo>
                    <a:pt x="12233" y="606"/>
                    <a:pt x="35797" y="-5720"/>
                    <a:pt x="54261" y="4920"/>
                  </a:cubicBezTo>
                  <a:cubicBezTo>
                    <a:pt x="54261" y="4923"/>
                    <a:pt x="54261" y="4923"/>
                    <a:pt x="54261" y="4927"/>
                  </a:cubicBezTo>
                  <a:close/>
                </a:path>
              </a:pathLst>
            </a:custGeom>
            <a:grpFill/>
            <a:ln w="359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7C7BCE5D-4E98-808A-1E92-12E47F34ABBE}"/>
                </a:ext>
              </a:extLst>
            </p:cNvPr>
            <p:cNvSpPr/>
            <p:nvPr/>
          </p:nvSpPr>
          <p:spPr>
            <a:xfrm>
              <a:off x="5305824" y="1289823"/>
              <a:ext cx="46267" cy="46265"/>
            </a:xfrm>
            <a:custGeom>
              <a:avLst/>
              <a:gdLst>
                <a:gd name="connsiteX0" fmla="*/ 42707 w 46267"/>
                <a:gd name="connsiteY0" fmla="*/ 22887 h 46265"/>
                <a:gd name="connsiteX1" fmla="*/ 19572 w 46267"/>
                <a:gd name="connsiteY1" fmla="*/ -245 h 46265"/>
                <a:gd name="connsiteX2" fmla="*/ -3560 w 46267"/>
                <a:gd name="connsiteY2" fmla="*/ 22887 h 46265"/>
                <a:gd name="connsiteX3" fmla="*/ 19572 w 46267"/>
                <a:gd name="connsiteY3" fmla="*/ 46020 h 46265"/>
                <a:gd name="connsiteX4" fmla="*/ 42707 w 46267"/>
                <a:gd name="connsiteY4" fmla="*/ 22887 h 4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67" h="46265">
                  <a:moveTo>
                    <a:pt x="42707" y="22887"/>
                  </a:moveTo>
                  <a:cubicBezTo>
                    <a:pt x="42707" y="10110"/>
                    <a:pt x="32360" y="-245"/>
                    <a:pt x="19572" y="-245"/>
                  </a:cubicBezTo>
                  <a:cubicBezTo>
                    <a:pt x="6786" y="-245"/>
                    <a:pt x="-3560" y="10110"/>
                    <a:pt x="-3560" y="22887"/>
                  </a:cubicBezTo>
                  <a:cubicBezTo>
                    <a:pt x="-3560" y="35664"/>
                    <a:pt x="6786" y="46020"/>
                    <a:pt x="19572" y="46020"/>
                  </a:cubicBezTo>
                  <a:cubicBezTo>
                    <a:pt x="32360" y="46020"/>
                    <a:pt x="42707" y="35664"/>
                    <a:pt x="42707" y="22887"/>
                  </a:cubicBezTo>
                  <a:close/>
                </a:path>
              </a:pathLst>
            </a:custGeom>
            <a:grpFill/>
            <a:ln w="359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B6DCC880-C4EB-EE2A-0128-900FB06A5A6D}"/>
                </a:ext>
              </a:extLst>
            </p:cNvPr>
            <p:cNvSpPr/>
            <p:nvPr/>
          </p:nvSpPr>
          <p:spPr>
            <a:xfrm>
              <a:off x="5598362" y="2361442"/>
              <a:ext cx="557667" cy="1120183"/>
            </a:xfrm>
            <a:custGeom>
              <a:avLst/>
              <a:gdLst>
                <a:gd name="connsiteX0" fmla="*/ 557667 w 557667"/>
                <a:gd name="connsiteY0" fmla="*/ 318975 h 1120183"/>
                <a:gd name="connsiteX1" fmla="*/ 557667 w 557667"/>
                <a:gd name="connsiteY1" fmla="*/ 959942 h 1120183"/>
                <a:gd name="connsiteX2" fmla="*/ 280109 w 557667"/>
                <a:gd name="connsiteY2" fmla="*/ 1120184 h 1120183"/>
                <a:gd name="connsiteX3" fmla="*/ 274972 w 557667"/>
                <a:gd name="connsiteY3" fmla="*/ 1111276 h 1120183"/>
                <a:gd name="connsiteX4" fmla="*/ 547394 w 557667"/>
                <a:gd name="connsiteY4" fmla="*/ 954015 h 1120183"/>
                <a:gd name="connsiteX5" fmla="*/ 547394 w 557667"/>
                <a:gd name="connsiteY5" fmla="*/ 324902 h 1120183"/>
                <a:gd name="connsiteX6" fmla="*/ 0 w 557667"/>
                <a:gd name="connsiteY6" fmla="*/ 8872 h 1120183"/>
                <a:gd name="connsiteX7" fmla="*/ 5136 w 557667"/>
                <a:gd name="connsiteY7" fmla="*/ 0 h 1120183"/>
                <a:gd name="connsiteX8" fmla="*/ 557667 w 557667"/>
                <a:gd name="connsiteY8" fmla="*/ 318975 h 112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67" h="1120183">
                  <a:moveTo>
                    <a:pt x="557667" y="318975"/>
                  </a:moveTo>
                  <a:lnTo>
                    <a:pt x="557667" y="959942"/>
                  </a:lnTo>
                  <a:lnTo>
                    <a:pt x="280109" y="1120184"/>
                  </a:lnTo>
                  <a:lnTo>
                    <a:pt x="274972" y="1111276"/>
                  </a:lnTo>
                  <a:lnTo>
                    <a:pt x="547394" y="954015"/>
                  </a:lnTo>
                  <a:lnTo>
                    <a:pt x="547394" y="324902"/>
                  </a:lnTo>
                  <a:lnTo>
                    <a:pt x="0" y="8872"/>
                  </a:lnTo>
                  <a:lnTo>
                    <a:pt x="5136" y="0"/>
                  </a:lnTo>
                  <a:lnTo>
                    <a:pt x="557667" y="318975"/>
                  </a:lnTo>
                  <a:close/>
                </a:path>
              </a:pathLst>
            </a:custGeom>
            <a:grpFill/>
            <a:ln w="359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463409C3-2344-A538-5215-2CEEECA0AA62}"/>
                </a:ext>
              </a:extLst>
            </p:cNvPr>
            <p:cNvSpPr/>
            <p:nvPr/>
          </p:nvSpPr>
          <p:spPr>
            <a:xfrm>
              <a:off x="1914669" y="201824"/>
              <a:ext cx="525949" cy="1236817"/>
            </a:xfrm>
            <a:custGeom>
              <a:avLst/>
              <a:gdLst>
                <a:gd name="connsiteX0" fmla="*/ 525949 w 525949"/>
                <a:gd name="connsiteY0" fmla="*/ 300691 h 1236817"/>
                <a:gd name="connsiteX1" fmla="*/ 525949 w 525949"/>
                <a:gd name="connsiteY1" fmla="*/ 941623 h 1236817"/>
                <a:gd name="connsiteX2" fmla="*/ 14656 w 525949"/>
                <a:gd name="connsiteY2" fmla="*/ 1236818 h 1236817"/>
                <a:gd name="connsiteX3" fmla="*/ 9519 w 525949"/>
                <a:gd name="connsiteY3" fmla="*/ 1227946 h 1236817"/>
                <a:gd name="connsiteX4" fmla="*/ 515676 w 525949"/>
                <a:gd name="connsiteY4" fmla="*/ 935696 h 1236817"/>
                <a:gd name="connsiteX5" fmla="*/ 515676 w 525949"/>
                <a:gd name="connsiteY5" fmla="*/ 306582 h 1236817"/>
                <a:gd name="connsiteX6" fmla="*/ 0 w 525949"/>
                <a:gd name="connsiteY6" fmla="*/ 8872 h 1236817"/>
                <a:gd name="connsiteX7" fmla="*/ 5137 w 525949"/>
                <a:gd name="connsiteY7" fmla="*/ 0 h 1236817"/>
                <a:gd name="connsiteX8" fmla="*/ 525949 w 525949"/>
                <a:gd name="connsiteY8" fmla="*/ 300691 h 123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949" h="1236817">
                  <a:moveTo>
                    <a:pt x="525949" y="300691"/>
                  </a:moveTo>
                  <a:lnTo>
                    <a:pt x="525949" y="941623"/>
                  </a:lnTo>
                  <a:lnTo>
                    <a:pt x="14656" y="1236818"/>
                  </a:lnTo>
                  <a:lnTo>
                    <a:pt x="9519" y="1227946"/>
                  </a:lnTo>
                  <a:lnTo>
                    <a:pt x="515676" y="935696"/>
                  </a:lnTo>
                  <a:lnTo>
                    <a:pt x="515676" y="306582"/>
                  </a:lnTo>
                  <a:lnTo>
                    <a:pt x="0" y="8872"/>
                  </a:lnTo>
                  <a:lnTo>
                    <a:pt x="5137" y="0"/>
                  </a:lnTo>
                  <a:lnTo>
                    <a:pt x="525949" y="300691"/>
                  </a:lnTo>
                  <a:close/>
                </a:path>
              </a:pathLst>
            </a:custGeom>
            <a:grpFill/>
            <a:ln w="359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BD58DEE2-987B-FDB7-D875-71FA7B3D7886}"/>
                </a:ext>
              </a:extLst>
            </p:cNvPr>
            <p:cNvSpPr/>
            <p:nvPr/>
          </p:nvSpPr>
          <p:spPr>
            <a:xfrm>
              <a:off x="1880340" y="168656"/>
              <a:ext cx="77099" cy="77098"/>
            </a:xfrm>
            <a:custGeom>
              <a:avLst/>
              <a:gdLst>
                <a:gd name="connsiteX0" fmla="*/ 15719 w 77099"/>
                <a:gd name="connsiteY0" fmla="*/ 71681 h 77098"/>
                <a:gd name="connsiteX1" fmla="*/ 1601 w 77099"/>
                <a:gd name="connsiteY1" fmla="*/ 19028 h 77098"/>
                <a:gd name="connsiteX2" fmla="*/ 54261 w 77099"/>
                <a:gd name="connsiteY2" fmla="*/ 4926 h 77098"/>
                <a:gd name="connsiteX3" fmla="*/ 68378 w 77099"/>
                <a:gd name="connsiteY3" fmla="*/ 57564 h 77098"/>
                <a:gd name="connsiteX4" fmla="*/ 15719 w 77099"/>
                <a:gd name="connsiteY4" fmla="*/ 71688 h 77098"/>
                <a:gd name="connsiteX5" fmla="*/ 15719 w 77099"/>
                <a:gd name="connsiteY5" fmla="*/ 71681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9" h="77098">
                  <a:moveTo>
                    <a:pt x="15719" y="71681"/>
                  </a:moveTo>
                  <a:cubicBezTo>
                    <a:pt x="-2709" y="61038"/>
                    <a:pt x="-9031" y="37463"/>
                    <a:pt x="1601" y="19028"/>
                  </a:cubicBezTo>
                  <a:cubicBezTo>
                    <a:pt x="12269" y="594"/>
                    <a:pt x="35834" y="-5717"/>
                    <a:pt x="54261" y="4926"/>
                  </a:cubicBezTo>
                  <a:cubicBezTo>
                    <a:pt x="72688" y="15569"/>
                    <a:pt x="79010" y="39130"/>
                    <a:pt x="68378" y="57564"/>
                  </a:cubicBezTo>
                  <a:cubicBezTo>
                    <a:pt x="57746" y="76002"/>
                    <a:pt x="34181" y="82328"/>
                    <a:pt x="15719" y="71688"/>
                  </a:cubicBezTo>
                  <a:cubicBezTo>
                    <a:pt x="15719" y="71684"/>
                    <a:pt x="15719" y="71684"/>
                    <a:pt x="15719" y="71681"/>
                  </a:cubicBezTo>
                  <a:close/>
                </a:path>
              </a:pathLst>
            </a:custGeom>
            <a:grpFill/>
            <a:ln w="359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D621500F-378A-7123-C679-AB671521FDEC}"/>
                </a:ext>
              </a:extLst>
            </p:cNvPr>
            <p:cNvSpPr/>
            <p:nvPr/>
          </p:nvSpPr>
          <p:spPr>
            <a:xfrm rot="18067199">
              <a:off x="1878610" y="1382671"/>
              <a:ext cx="100218" cy="100218"/>
            </a:xfrm>
            <a:custGeom>
              <a:avLst/>
              <a:gdLst>
                <a:gd name="connsiteX0" fmla="*/ 96658 w 100218"/>
                <a:gd name="connsiteY0" fmla="*/ 49864 h 100218"/>
                <a:gd name="connsiteX1" fmla="*/ 46549 w 100218"/>
                <a:gd name="connsiteY1" fmla="*/ 99973 h 100218"/>
                <a:gd name="connsiteX2" fmla="*/ -3560 w 100218"/>
                <a:gd name="connsiteY2" fmla="*/ 49864 h 100218"/>
                <a:gd name="connsiteX3" fmla="*/ 46549 w 100218"/>
                <a:gd name="connsiteY3" fmla="*/ -245 h 100218"/>
                <a:gd name="connsiteX4" fmla="*/ 96658 w 100218"/>
                <a:gd name="connsiteY4" fmla="*/ 49864 h 100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8" h="100218">
                  <a:moveTo>
                    <a:pt x="96658" y="49864"/>
                  </a:moveTo>
                  <a:cubicBezTo>
                    <a:pt x="96658" y="77538"/>
                    <a:pt x="74223" y="99973"/>
                    <a:pt x="46549" y="99973"/>
                  </a:cubicBezTo>
                  <a:cubicBezTo>
                    <a:pt x="18875" y="99973"/>
                    <a:pt x="-3560" y="77539"/>
                    <a:pt x="-3560" y="49864"/>
                  </a:cubicBezTo>
                  <a:cubicBezTo>
                    <a:pt x="-3560" y="22189"/>
                    <a:pt x="18875" y="-245"/>
                    <a:pt x="46549" y="-245"/>
                  </a:cubicBezTo>
                  <a:cubicBezTo>
                    <a:pt x="74223" y="-245"/>
                    <a:pt x="96658" y="22189"/>
                    <a:pt x="96658" y="49864"/>
                  </a:cubicBezTo>
                  <a:close/>
                </a:path>
              </a:pathLst>
            </a:custGeom>
            <a:grpFill/>
            <a:ln w="359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4427A691-E2DF-DA78-186F-F945C09C62EE}"/>
                </a:ext>
              </a:extLst>
            </p:cNvPr>
            <p:cNvSpPr/>
            <p:nvPr/>
          </p:nvSpPr>
          <p:spPr>
            <a:xfrm rot="19799999">
              <a:off x="2117992" y="4193776"/>
              <a:ext cx="635039" cy="10237"/>
            </a:xfrm>
            <a:custGeom>
              <a:avLst/>
              <a:gdLst>
                <a:gd name="connsiteX0" fmla="*/ -3561 w 635039"/>
                <a:gd name="connsiteY0" fmla="*/ -245 h 10237"/>
                <a:gd name="connsiteX1" fmla="*/ 631479 w 635039"/>
                <a:gd name="connsiteY1" fmla="*/ -245 h 10237"/>
                <a:gd name="connsiteX2" fmla="*/ 631479 w 635039"/>
                <a:gd name="connsiteY2" fmla="*/ 9992 h 10237"/>
                <a:gd name="connsiteX3" fmla="*/ -3561 w 635039"/>
                <a:gd name="connsiteY3" fmla="*/ 9992 h 10237"/>
              </a:gdLst>
              <a:ahLst/>
              <a:cxnLst>
                <a:cxn ang="0">
                  <a:pos x="connsiteX0" y="connsiteY0"/>
                </a:cxn>
                <a:cxn ang="0">
                  <a:pos x="connsiteX1" y="connsiteY1"/>
                </a:cxn>
                <a:cxn ang="0">
                  <a:pos x="connsiteX2" y="connsiteY2"/>
                </a:cxn>
                <a:cxn ang="0">
                  <a:pos x="connsiteX3" y="connsiteY3"/>
                </a:cxn>
              </a:cxnLst>
              <a:rect l="l" t="t" r="r" b="b"/>
              <a:pathLst>
                <a:path w="635039" h="10237">
                  <a:moveTo>
                    <a:pt x="-3561" y="-245"/>
                  </a:moveTo>
                  <a:lnTo>
                    <a:pt x="631479" y="-245"/>
                  </a:lnTo>
                  <a:lnTo>
                    <a:pt x="631479" y="9992"/>
                  </a:lnTo>
                  <a:lnTo>
                    <a:pt x="-3561" y="9992"/>
                  </a:lnTo>
                  <a:close/>
                </a:path>
              </a:pathLst>
            </a:custGeom>
            <a:grpFill/>
            <a:ln w="359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775D9211-21B6-017A-F15F-F73CCC899BBA}"/>
                </a:ext>
              </a:extLst>
            </p:cNvPr>
            <p:cNvSpPr/>
            <p:nvPr/>
          </p:nvSpPr>
          <p:spPr>
            <a:xfrm rot="19799999">
              <a:off x="5089898" y="4901722"/>
              <a:ext cx="635039" cy="10237"/>
            </a:xfrm>
            <a:custGeom>
              <a:avLst/>
              <a:gdLst>
                <a:gd name="connsiteX0" fmla="*/ -3560 w 635039"/>
                <a:gd name="connsiteY0" fmla="*/ -246 h 10237"/>
                <a:gd name="connsiteX1" fmla="*/ 631480 w 635039"/>
                <a:gd name="connsiteY1" fmla="*/ -246 h 10237"/>
                <a:gd name="connsiteX2" fmla="*/ 631480 w 635039"/>
                <a:gd name="connsiteY2" fmla="*/ 9992 h 10237"/>
                <a:gd name="connsiteX3" fmla="*/ -3560 w 635039"/>
                <a:gd name="connsiteY3" fmla="*/ 9992 h 10237"/>
              </a:gdLst>
              <a:ahLst/>
              <a:cxnLst>
                <a:cxn ang="0">
                  <a:pos x="connsiteX0" y="connsiteY0"/>
                </a:cxn>
                <a:cxn ang="0">
                  <a:pos x="connsiteX1" y="connsiteY1"/>
                </a:cxn>
                <a:cxn ang="0">
                  <a:pos x="connsiteX2" y="connsiteY2"/>
                </a:cxn>
                <a:cxn ang="0">
                  <a:pos x="connsiteX3" y="connsiteY3"/>
                </a:cxn>
              </a:cxnLst>
              <a:rect l="l" t="t" r="r" b="b"/>
              <a:pathLst>
                <a:path w="635039" h="10237">
                  <a:moveTo>
                    <a:pt x="-3560" y="-246"/>
                  </a:moveTo>
                  <a:lnTo>
                    <a:pt x="631480" y="-246"/>
                  </a:lnTo>
                  <a:lnTo>
                    <a:pt x="631480" y="9992"/>
                  </a:lnTo>
                  <a:lnTo>
                    <a:pt x="-3560" y="9992"/>
                  </a:lnTo>
                  <a:close/>
                </a:path>
              </a:pathLst>
            </a:custGeom>
            <a:grpFill/>
            <a:ln w="359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1BF189FE-9072-2A7D-549E-99C3CB7183DB}"/>
                </a:ext>
              </a:extLst>
            </p:cNvPr>
            <p:cNvSpPr/>
            <p:nvPr/>
          </p:nvSpPr>
          <p:spPr>
            <a:xfrm rot="19799999">
              <a:off x="5756058" y="1312474"/>
              <a:ext cx="569125" cy="10237"/>
            </a:xfrm>
            <a:custGeom>
              <a:avLst/>
              <a:gdLst>
                <a:gd name="connsiteX0" fmla="*/ -3559 w 569125"/>
                <a:gd name="connsiteY0" fmla="*/ -245 h 10237"/>
                <a:gd name="connsiteX1" fmla="*/ 565566 w 569125"/>
                <a:gd name="connsiteY1" fmla="*/ -245 h 10237"/>
                <a:gd name="connsiteX2" fmla="*/ 565566 w 569125"/>
                <a:gd name="connsiteY2" fmla="*/ 9992 h 10237"/>
                <a:gd name="connsiteX3" fmla="*/ -3559 w 569125"/>
                <a:gd name="connsiteY3" fmla="*/ 9992 h 10237"/>
              </a:gdLst>
              <a:ahLst/>
              <a:cxnLst>
                <a:cxn ang="0">
                  <a:pos x="connsiteX0" y="connsiteY0"/>
                </a:cxn>
                <a:cxn ang="0">
                  <a:pos x="connsiteX1" y="connsiteY1"/>
                </a:cxn>
                <a:cxn ang="0">
                  <a:pos x="connsiteX2" y="connsiteY2"/>
                </a:cxn>
                <a:cxn ang="0">
                  <a:pos x="connsiteX3" y="connsiteY3"/>
                </a:cxn>
              </a:cxnLst>
              <a:rect l="l" t="t" r="r" b="b"/>
              <a:pathLst>
                <a:path w="569125" h="10237">
                  <a:moveTo>
                    <a:pt x="-3559" y="-245"/>
                  </a:moveTo>
                  <a:lnTo>
                    <a:pt x="565566" y="-245"/>
                  </a:lnTo>
                  <a:lnTo>
                    <a:pt x="565566" y="9992"/>
                  </a:lnTo>
                  <a:lnTo>
                    <a:pt x="-3559" y="9992"/>
                  </a:lnTo>
                  <a:close/>
                </a:path>
              </a:pathLst>
            </a:custGeom>
            <a:grpFill/>
            <a:ln w="359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5260C024-7B82-2F81-6ECF-02D021375AA4}"/>
                </a:ext>
              </a:extLst>
            </p:cNvPr>
            <p:cNvSpPr/>
            <p:nvPr/>
          </p:nvSpPr>
          <p:spPr>
            <a:xfrm>
              <a:off x="5757287" y="1420338"/>
              <a:ext cx="77105" cy="77097"/>
            </a:xfrm>
            <a:custGeom>
              <a:avLst/>
              <a:gdLst>
                <a:gd name="connsiteX0" fmla="*/ 54260 w 77105"/>
                <a:gd name="connsiteY0" fmla="*/ 71689 h 77097"/>
                <a:gd name="connsiteX1" fmla="*/ 1600 w 77105"/>
                <a:gd name="connsiteY1" fmla="*/ 57565 h 77097"/>
                <a:gd name="connsiteX2" fmla="*/ 15753 w 77105"/>
                <a:gd name="connsiteY2" fmla="*/ 4919 h 77097"/>
                <a:gd name="connsiteX3" fmla="*/ 68376 w 77105"/>
                <a:gd name="connsiteY3" fmla="*/ 19029 h 77097"/>
                <a:gd name="connsiteX4" fmla="*/ 54260 w 77105"/>
                <a:gd name="connsiteY4" fmla="*/ 71682 h 77097"/>
                <a:gd name="connsiteX5" fmla="*/ 54260 w 77105"/>
                <a:gd name="connsiteY5" fmla="*/ 71689 h 77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05" h="77097">
                  <a:moveTo>
                    <a:pt x="54260" y="71689"/>
                  </a:moveTo>
                  <a:cubicBezTo>
                    <a:pt x="35832" y="82325"/>
                    <a:pt x="12269" y="76003"/>
                    <a:pt x="1600" y="57565"/>
                  </a:cubicBezTo>
                  <a:cubicBezTo>
                    <a:pt x="-9032" y="39127"/>
                    <a:pt x="-2711" y="15556"/>
                    <a:pt x="15753" y="4919"/>
                  </a:cubicBezTo>
                  <a:cubicBezTo>
                    <a:pt x="34179" y="-5717"/>
                    <a:pt x="57744" y="602"/>
                    <a:pt x="68376" y="19029"/>
                  </a:cubicBezTo>
                  <a:cubicBezTo>
                    <a:pt x="79008" y="37464"/>
                    <a:pt x="72722" y="61035"/>
                    <a:pt x="54260" y="71682"/>
                  </a:cubicBezTo>
                  <a:cubicBezTo>
                    <a:pt x="54260" y="71685"/>
                    <a:pt x="54260" y="71685"/>
                    <a:pt x="54260" y="71689"/>
                  </a:cubicBezTo>
                  <a:close/>
                </a:path>
              </a:pathLst>
            </a:custGeom>
            <a:grpFill/>
            <a:ln w="359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E06C1CE2-8558-E18A-2EAC-F96B49FC79A0}"/>
                </a:ext>
              </a:extLst>
            </p:cNvPr>
            <p:cNvSpPr/>
            <p:nvPr/>
          </p:nvSpPr>
          <p:spPr>
            <a:xfrm>
              <a:off x="6255077" y="1145251"/>
              <a:ext cx="61636" cy="61649"/>
            </a:xfrm>
            <a:custGeom>
              <a:avLst/>
              <a:gdLst>
                <a:gd name="connsiteX0" fmla="*/ 42691 w 61636"/>
                <a:gd name="connsiteY0" fmla="*/ 57255 h 61649"/>
                <a:gd name="connsiteX1" fmla="*/ 53934 w 61636"/>
                <a:gd name="connsiteY1" fmla="*/ 15142 h 61649"/>
                <a:gd name="connsiteX2" fmla="*/ 11836 w 61636"/>
                <a:gd name="connsiteY2" fmla="*/ 3906 h 61649"/>
                <a:gd name="connsiteX3" fmla="*/ 556 w 61636"/>
                <a:gd name="connsiteY3" fmla="*/ 45976 h 61649"/>
                <a:gd name="connsiteX4" fmla="*/ 42656 w 61636"/>
                <a:gd name="connsiteY4" fmla="*/ 57276 h 61649"/>
                <a:gd name="connsiteX5" fmla="*/ 42691 w 61636"/>
                <a:gd name="connsiteY5" fmla="*/ 57255 h 6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36" h="61649">
                  <a:moveTo>
                    <a:pt x="42691" y="57255"/>
                  </a:moveTo>
                  <a:cubicBezTo>
                    <a:pt x="57419" y="48731"/>
                    <a:pt x="62448" y="29876"/>
                    <a:pt x="53934" y="15142"/>
                  </a:cubicBezTo>
                  <a:cubicBezTo>
                    <a:pt x="45420" y="410"/>
                    <a:pt x="26562" y="-4622"/>
                    <a:pt x="11836" y="3906"/>
                  </a:cubicBezTo>
                  <a:cubicBezTo>
                    <a:pt x="-2892" y="12419"/>
                    <a:pt x="-7920" y="31245"/>
                    <a:pt x="556" y="45976"/>
                  </a:cubicBezTo>
                  <a:cubicBezTo>
                    <a:pt x="9070" y="60721"/>
                    <a:pt x="27892" y="65782"/>
                    <a:pt x="42656" y="57276"/>
                  </a:cubicBezTo>
                  <a:cubicBezTo>
                    <a:pt x="42656" y="57269"/>
                    <a:pt x="42691" y="57262"/>
                    <a:pt x="42691" y="57255"/>
                  </a:cubicBezTo>
                  <a:close/>
                </a:path>
              </a:pathLst>
            </a:custGeom>
            <a:grpFill/>
            <a:ln w="359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1438B204-4822-B057-DA70-3AD74164DBE4}"/>
                </a:ext>
              </a:extLst>
            </p:cNvPr>
            <p:cNvSpPr/>
            <p:nvPr/>
          </p:nvSpPr>
          <p:spPr>
            <a:xfrm>
              <a:off x="2128900" y="1002063"/>
              <a:ext cx="525913" cy="916693"/>
            </a:xfrm>
            <a:custGeom>
              <a:avLst/>
              <a:gdLst>
                <a:gd name="connsiteX0" fmla="*/ 525913 w 525913"/>
                <a:gd name="connsiteY0" fmla="*/ 907821 h 916693"/>
                <a:gd name="connsiteX1" fmla="*/ 520813 w 525913"/>
                <a:gd name="connsiteY1" fmla="*/ 916694 h 916693"/>
                <a:gd name="connsiteX2" fmla="*/ 0 w 525913"/>
                <a:gd name="connsiteY2" fmla="*/ 616038 h 916693"/>
                <a:gd name="connsiteX3" fmla="*/ 0 w 525913"/>
                <a:gd name="connsiteY3" fmla="*/ 0 h 916693"/>
                <a:gd name="connsiteX4" fmla="*/ 10273 w 525913"/>
                <a:gd name="connsiteY4" fmla="*/ 0 h 916693"/>
                <a:gd name="connsiteX5" fmla="*/ 10273 w 525913"/>
                <a:gd name="connsiteY5" fmla="*/ 610111 h 916693"/>
                <a:gd name="connsiteX6" fmla="*/ 525913 w 525913"/>
                <a:gd name="connsiteY6" fmla="*/ 907821 h 91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913" h="916693">
                  <a:moveTo>
                    <a:pt x="525913" y="907821"/>
                  </a:moveTo>
                  <a:lnTo>
                    <a:pt x="520813" y="916694"/>
                  </a:lnTo>
                  <a:lnTo>
                    <a:pt x="0" y="616038"/>
                  </a:lnTo>
                  <a:lnTo>
                    <a:pt x="0" y="0"/>
                  </a:lnTo>
                  <a:lnTo>
                    <a:pt x="10273" y="0"/>
                  </a:lnTo>
                  <a:lnTo>
                    <a:pt x="10273" y="610111"/>
                  </a:lnTo>
                  <a:lnTo>
                    <a:pt x="525913" y="907821"/>
                  </a:lnTo>
                  <a:close/>
                </a:path>
              </a:pathLst>
            </a:custGeom>
            <a:grpFill/>
            <a:ln w="359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DA113ADC-5E9E-23F1-4FFA-68BBFBD2226A}"/>
                </a:ext>
              </a:extLst>
            </p:cNvPr>
            <p:cNvSpPr/>
            <p:nvPr/>
          </p:nvSpPr>
          <p:spPr>
            <a:xfrm>
              <a:off x="2611910" y="1874791"/>
              <a:ext cx="77113" cy="77125"/>
            </a:xfrm>
            <a:custGeom>
              <a:avLst/>
              <a:gdLst>
                <a:gd name="connsiteX0" fmla="*/ 54286 w 77113"/>
                <a:gd name="connsiteY0" fmla="*/ 4962 h 77125"/>
                <a:gd name="connsiteX1" fmla="*/ 68367 w 77113"/>
                <a:gd name="connsiteY1" fmla="*/ 57622 h 77125"/>
                <a:gd name="connsiteX2" fmla="*/ 15706 w 77113"/>
                <a:gd name="connsiteY2" fmla="*/ 71699 h 77125"/>
                <a:gd name="connsiteX3" fmla="*/ 1626 w 77113"/>
                <a:gd name="connsiteY3" fmla="*/ 19043 h 77125"/>
                <a:gd name="connsiteX4" fmla="*/ 54142 w 77113"/>
                <a:gd name="connsiteY4" fmla="*/ 4890 h 77125"/>
                <a:gd name="connsiteX5" fmla="*/ 54286 w 77113"/>
                <a:gd name="connsiteY5" fmla="*/ 4962 h 7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13" h="77125">
                  <a:moveTo>
                    <a:pt x="54286" y="4962"/>
                  </a:moveTo>
                  <a:cubicBezTo>
                    <a:pt x="72713" y="15616"/>
                    <a:pt x="79036" y="39191"/>
                    <a:pt x="68367" y="57622"/>
                  </a:cubicBezTo>
                  <a:cubicBezTo>
                    <a:pt x="57699" y="76049"/>
                    <a:pt x="34135" y="82353"/>
                    <a:pt x="15706" y="71699"/>
                  </a:cubicBezTo>
                  <a:cubicBezTo>
                    <a:pt x="-2720" y="61045"/>
                    <a:pt x="-9042" y="37470"/>
                    <a:pt x="1626" y="19043"/>
                  </a:cubicBezTo>
                  <a:cubicBezTo>
                    <a:pt x="12223" y="626"/>
                    <a:pt x="35750" y="-5710"/>
                    <a:pt x="54142" y="4890"/>
                  </a:cubicBezTo>
                  <a:cubicBezTo>
                    <a:pt x="54214" y="4912"/>
                    <a:pt x="54251" y="4937"/>
                    <a:pt x="54286" y="4962"/>
                  </a:cubicBezTo>
                  <a:close/>
                </a:path>
              </a:pathLst>
            </a:custGeom>
            <a:grpFill/>
            <a:ln w="359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1DB438A8-2BA2-148F-A349-076603411168}"/>
                </a:ext>
              </a:extLst>
            </p:cNvPr>
            <p:cNvSpPr/>
            <p:nvPr/>
          </p:nvSpPr>
          <p:spPr>
            <a:xfrm>
              <a:off x="2110867" y="980080"/>
              <a:ext cx="46266" cy="46265"/>
            </a:xfrm>
            <a:custGeom>
              <a:avLst/>
              <a:gdLst>
                <a:gd name="connsiteX0" fmla="*/ 42706 w 46266"/>
                <a:gd name="connsiteY0" fmla="*/ 22887 h 46265"/>
                <a:gd name="connsiteX1" fmla="*/ 19573 w 46266"/>
                <a:gd name="connsiteY1" fmla="*/ -245 h 46265"/>
                <a:gd name="connsiteX2" fmla="*/ -3560 w 46266"/>
                <a:gd name="connsiteY2" fmla="*/ 22887 h 46265"/>
                <a:gd name="connsiteX3" fmla="*/ 19573 w 46266"/>
                <a:gd name="connsiteY3" fmla="*/ 46020 h 46265"/>
                <a:gd name="connsiteX4" fmla="*/ 42706 w 46266"/>
                <a:gd name="connsiteY4" fmla="*/ 22887 h 4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66" h="46265">
                  <a:moveTo>
                    <a:pt x="42706" y="22887"/>
                  </a:moveTo>
                  <a:cubicBezTo>
                    <a:pt x="42706" y="10111"/>
                    <a:pt x="32360" y="-245"/>
                    <a:pt x="19573" y="-245"/>
                  </a:cubicBezTo>
                  <a:cubicBezTo>
                    <a:pt x="6785" y="-245"/>
                    <a:pt x="-3560" y="10111"/>
                    <a:pt x="-3560" y="22887"/>
                  </a:cubicBezTo>
                  <a:cubicBezTo>
                    <a:pt x="-3560" y="35664"/>
                    <a:pt x="6785" y="46020"/>
                    <a:pt x="19573" y="46020"/>
                  </a:cubicBezTo>
                  <a:cubicBezTo>
                    <a:pt x="32360" y="46020"/>
                    <a:pt x="42706" y="35664"/>
                    <a:pt x="42706" y="22887"/>
                  </a:cubicBezTo>
                  <a:close/>
                </a:path>
              </a:pathLst>
            </a:custGeom>
            <a:grpFill/>
            <a:ln w="359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6607C713-5989-946D-5441-1A341713DC39}"/>
                </a:ext>
              </a:extLst>
            </p:cNvPr>
            <p:cNvSpPr/>
            <p:nvPr/>
          </p:nvSpPr>
          <p:spPr>
            <a:xfrm>
              <a:off x="2937724" y="676479"/>
              <a:ext cx="525949" cy="1236818"/>
            </a:xfrm>
            <a:custGeom>
              <a:avLst/>
              <a:gdLst>
                <a:gd name="connsiteX0" fmla="*/ 525949 w 525949"/>
                <a:gd name="connsiteY0" fmla="*/ 300655 h 1236818"/>
                <a:gd name="connsiteX1" fmla="*/ 525949 w 525949"/>
                <a:gd name="connsiteY1" fmla="*/ 941623 h 1236818"/>
                <a:gd name="connsiteX2" fmla="*/ 14656 w 525949"/>
                <a:gd name="connsiteY2" fmla="*/ 1236818 h 1236818"/>
                <a:gd name="connsiteX3" fmla="*/ 9519 w 525949"/>
                <a:gd name="connsiteY3" fmla="*/ 1227910 h 1236818"/>
                <a:gd name="connsiteX4" fmla="*/ 515676 w 525949"/>
                <a:gd name="connsiteY4" fmla="*/ 935696 h 1236818"/>
                <a:gd name="connsiteX5" fmla="*/ 515676 w 525949"/>
                <a:gd name="connsiteY5" fmla="*/ 306582 h 1236818"/>
                <a:gd name="connsiteX6" fmla="*/ 0 w 525949"/>
                <a:gd name="connsiteY6" fmla="*/ 8872 h 1236818"/>
                <a:gd name="connsiteX7" fmla="*/ 5137 w 525949"/>
                <a:gd name="connsiteY7" fmla="*/ 0 h 1236818"/>
                <a:gd name="connsiteX8" fmla="*/ 525949 w 525949"/>
                <a:gd name="connsiteY8" fmla="*/ 300655 h 123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949" h="1236818">
                  <a:moveTo>
                    <a:pt x="525949" y="300655"/>
                  </a:moveTo>
                  <a:lnTo>
                    <a:pt x="525949" y="941623"/>
                  </a:lnTo>
                  <a:lnTo>
                    <a:pt x="14656" y="1236818"/>
                  </a:lnTo>
                  <a:lnTo>
                    <a:pt x="9519" y="1227910"/>
                  </a:lnTo>
                  <a:lnTo>
                    <a:pt x="515676" y="935696"/>
                  </a:lnTo>
                  <a:lnTo>
                    <a:pt x="515676" y="306582"/>
                  </a:lnTo>
                  <a:lnTo>
                    <a:pt x="0" y="8872"/>
                  </a:lnTo>
                  <a:lnTo>
                    <a:pt x="5137" y="0"/>
                  </a:lnTo>
                  <a:lnTo>
                    <a:pt x="525949" y="300655"/>
                  </a:lnTo>
                  <a:close/>
                </a:path>
              </a:pathLst>
            </a:custGeom>
            <a:grpFill/>
            <a:ln w="359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1144EBA2-D9E0-21F2-F5E6-9C73A07F828F}"/>
                </a:ext>
              </a:extLst>
            </p:cNvPr>
            <p:cNvSpPr/>
            <p:nvPr/>
          </p:nvSpPr>
          <p:spPr>
            <a:xfrm>
              <a:off x="2903395" y="643311"/>
              <a:ext cx="77098" cy="77098"/>
            </a:xfrm>
            <a:custGeom>
              <a:avLst/>
              <a:gdLst>
                <a:gd name="connsiteX0" fmla="*/ 15719 w 77098"/>
                <a:gd name="connsiteY0" fmla="*/ 71681 h 77098"/>
                <a:gd name="connsiteX1" fmla="*/ 1601 w 77098"/>
                <a:gd name="connsiteY1" fmla="*/ 19028 h 77098"/>
                <a:gd name="connsiteX2" fmla="*/ 54261 w 77098"/>
                <a:gd name="connsiteY2" fmla="*/ 4926 h 77098"/>
                <a:gd name="connsiteX3" fmla="*/ 68377 w 77098"/>
                <a:gd name="connsiteY3" fmla="*/ 57564 h 77098"/>
                <a:gd name="connsiteX4" fmla="*/ 15719 w 77098"/>
                <a:gd name="connsiteY4" fmla="*/ 71688 h 77098"/>
                <a:gd name="connsiteX5" fmla="*/ 15719 w 77098"/>
                <a:gd name="connsiteY5" fmla="*/ 71681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8" h="77098">
                  <a:moveTo>
                    <a:pt x="15719" y="71681"/>
                  </a:moveTo>
                  <a:cubicBezTo>
                    <a:pt x="-2710" y="61038"/>
                    <a:pt x="-9031" y="37463"/>
                    <a:pt x="1601" y="19028"/>
                  </a:cubicBezTo>
                  <a:cubicBezTo>
                    <a:pt x="12271" y="594"/>
                    <a:pt x="35833" y="-5717"/>
                    <a:pt x="54261" y="4926"/>
                  </a:cubicBezTo>
                  <a:cubicBezTo>
                    <a:pt x="72688" y="15569"/>
                    <a:pt x="79010" y="39130"/>
                    <a:pt x="68377" y="57564"/>
                  </a:cubicBezTo>
                  <a:cubicBezTo>
                    <a:pt x="57745" y="76002"/>
                    <a:pt x="34181" y="82328"/>
                    <a:pt x="15719" y="71688"/>
                  </a:cubicBezTo>
                  <a:cubicBezTo>
                    <a:pt x="15719" y="71684"/>
                    <a:pt x="15719" y="71684"/>
                    <a:pt x="15719" y="71681"/>
                  </a:cubicBezTo>
                  <a:close/>
                </a:path>
              </a:pathLst>
            </a:custGeom>
            <a:grpFill/>
            <a:ln w="359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D51F3443-84CB-6195-E696-6C0FBD79D134}"/>
                </a:ext>
              </a:extLst>
            </p:cNvPr>
            <p:cNvSpPr/>
            <p:nvPr/>
          </p:nvSpPr>
          <p:spPr>
            <a:xfrm>
              <a:off x="2901817" y="1857471"/>
              <a:ext cx="100237" cy="100248"/>
            </a:xfrm>
            <a:custGeom>
              <a:avLst/>
              <a:gdLst>
                <a:gd name="connsiteX0" fmla="*/ 21534 w 100237"/>
                <a:gd name="connsiteY0" fmla="*/ 6477 h 100248"/>
                <a:gd name="connsiteX1" fmla="*/ 3144 w 100237"/>
                <a:gd name="connsiteY1" fmla="*/ 74916 h 100248"/>
                <a:gd name="connsiteX2" fmla="*/ 71607 w 100237"/>
                <a:gd name="connsiteY2" fmla="*/ 93293 h 100248"/>
                <a:gd name="connsiteX3" fmla="*/ 89964 w 100237"/>
                <a:gd name="connsiteY3" fmla="*/ 24854 h 100248"/>
                <a:gd name="connsiteX4" fmla="*/ 89964 w 100237"/>
                <a:gd name="connsiteY4" fmla="*/ 24832 h 100248"/>
                <a:gd name="connsiteX5" fmla="*/ 21571 w 100237"/>
                <a:gd name="connsiteY5" fmla="*/ 6452 h 100248"/>
                <a:gd name="connsiteX6" fmla="*/ 21534 w 100237"/>
                <a:gd name="connsiteY6" fmla="*/ 6477 h 100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237" h="100248">
                  <a:moveTo>
                    <a:pt x="21534" y="6477"/>
                  </a:moveTo>
                  <a:cubicBezTo>
                    <a:pt x="-2425" y="20303"/>
                    <a:pt x="-10686" y="50943"/>
                    <a:pt x="3144" y="74916"/>
                  </a:cubicBezTo>
                  <a:cubicBezTo>
                    <a:pt x="16972" y="98893"/>
                    <a:pt x="47613" y="107119"/>
                    <a:pt x="71607" y="93293"/>
                  </a:cubicBezTo>
                  <a:cubicBezTo>
                    <a:pt x="95568" y="79471"/>
                    <a:pt x="103794" y="48827"/>
                    <a:pt x="89964" y="24854"/>
                  </a:cubicBezTo>
                  <a:cubicBezTo>
                    <a:pt x="89964" y="24846"/>
                    <a:pt x="89964" y="24839"/>
                    <a:pt x="89964" y="24832"/>
                  </a:cubicBezTo>
                  <a:cubicBezTo>
                    <a:pt x="76169" y="873"/>
                    <a:pt x="45530" y="-7356"/>
                    <a:pt x="21571" y="6452"/>
                  </a:cubicBezTo>
                  <a:cubicBezTo>
                    <a:pt x="21571" y="6462"/>
                    <a:pt x="21534" y="6470"/>
                    <a:pt x="21534" y="6477"/>
                  </a:cubicBezTo>
                  <a:close/>
                </a:path>
              </a:pathLst>
            </a:custGeom>
            <a:grpFill/>
            <a:ln w="359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88923236-5075-FC7E-080E-416F46185949}"/>
                </a:ext>
              </a:extLst>
            </p:cNvPr>
            <p:cNvSpPr/>
            <p:nvPr/>
          </p:nvSpPr>
          <p:spPr>
            <a:xfrm rot="19799999">
              <a:off x="2227667" y="717950"/>
              <a:ext cx="569125" cy="10237"/>
            </a:xfrm>
            <a:custGeom>
              <a:avLst/>
              <a:gdLst>
                <a:gd name="connsiteX0" fmla="*/ -3560 w 569125"/>
                <a:gd name="connsiteY0" fmla="*/ -245 h 10237"/>
                <a:gd name="connsiteX1" fmla="*/ 565566 w 569125"/>
                <a:gd name="connsiteY1" fmla="*/ -245 h 10237"/>
                <a:gd name="connsiteX2" fmla="*/ 565566 w 569125"/>
                <a:gd name="connsiteY2" fmla="*/ 9992 h 10237"/>
                <a:gd name="connsiteX3" fmla="*/ -3560 w 569125"/>
                <a:gd name="connsiteY3" fmla="*/ 9992 h 10237"/>
              </a:gdLst>
              <a:ahLst/>
              <a:cxnLst>
                <a:cxn ang="0">
                  <a:pos x="connsiteX0" y="connsiteY0"/>
                </a:cxn>
                <a:cxn ang="0">
                  <a:pos x="connsiteX1" y="connsiteY1"/>
                </a:cxn>
                <a:cxn ang="0">
                  <a:pos x="connsiteX2" y="connsiteY2"/>
                </a:cxn>
                <a:cxn ang="0">
                  <a:pos x="connsiteX3" y="connsiteY3"/>
                </a:cxn>
              </a:cxnLst>
              <a:rect l="l" t="t" r="r" b="b"/>
              <a:pathLst>
                <a:path w="569125" h="10237">
                  <a:moveTo>
                    <a:pt x="-3560" y="-245"/>
                  </a:moveTo>
                  <a:lnTo>
                    <a:pt x="565566" y="-245"/>
                  </a:lnTo>
                  <a:lnTo>
                    <a:pt x="565566" y="9992"/>
                  </a:lnTo>
                  <a:lnTo>
                    <a:pt x="-3560" y="9992"/>
                  </a:lnTo>
                  <a:close/>
                </a:path>
              </a:pathLst>
            </a:custGeom>
            <a:grpFill/>
            <a:ln w="359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2FEFE9BE-F227-95A3-CB3F-0EA3DFBA2DE0}"/>
                </a:ext>
              </a:extLst>
            </p:cNvPr>
            <p:cNvSpPr/>
            <p:nvPr/>
          </p:nvSpPr>
          <p:spPr>
            <a:xfrm>
              <a:off x="2228914" y="825825"/>
              <a:ext cx="77098" cy="77098"/>
            </a:xfrm>
            <a:custGeom>
              <a:avLst/>
              <a:gdLst>
                <a:gd name="connsiteX0" fmla="*/ 54261 w 77098"/>
                <a:gd name="connsiteY0" fmla="*/ 71680 h 77098"/>
                <a:gd name="connsiteX1" fmla="*/ 1601 w 77098"/>
                <a:gd name="connsiteY1" fmla="*/ 57581 h 77098"/>
                <a:gd name="connsiteX2" fmla="*/ 15719 w 77098"/>
                <a:gd name="connsiteY2" fmla="*/ 4928 h 77098"/>
                <a:gd name="connsiteX3" fmla="*/ 68377 w 77098"/>
                <a:gd name="connsiteY3" fmla="*/ 19027 h 77098"/>
                <a:gd name="connsiteX4" fmla="*/ 68377 w 77098"/>
                <a:gd name="connsiteY4" fmla="*/ 19056 h 77098"/>
                <a:gd name="connsiteX5" fmla="*/ 54261 w 77098"/>
                <a:gd name="connsiteY5" fmla="*/ 71680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8" h="77098">
                  <a:moveTo>
                    <a:pt x="54261" y="71680"/>
                  </a:moveTo>
                  <a:cubicBezTo>
                    <a:pt x="35835" y="82327"/>
                    <a:pt x="12271" y="76012"/>
                    <a:pt x="1601" y="57581"/>
                  </a:cubicBezTo>
                  <a:cubicBezTo>
                    <a:pt x="-9031" y="39146"/>
                    <a:pt x="-2710" y="15572"/>
                    <a:pt x="15719" y="4928"/>
                  </a:cubicBezTo>
                  <a:cubicBezTo>
                    <a:pt x="34146" y="-5718"/>
                    <a:pt x="57710" y="593"/>
                    <a:pt x="68377" y="19027"/>
                  </a:cubicBezTo>
                  <a:cubicBezTo>
                    <a:pt x="68377" y="19038"/>
                    <a:pt x="68377" y="19045"/>
                    <a:pt x="68377" y="19056"/>
                  </a:cubicBezTo>
                  <a:cubicBezTo>
                    <a:pt x="79010" y="37487"/>
                    <a:pt x="72688" y="61040"/>
                    <a:pt x="54261" y="71680"/>
                  </a:cubicBezTo>
                  <a:close/>
                </a:path>
              </a:pathLst>
            </a:custGeom>
            <a:grpFill/>
            <a:ln w="359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5EBD6FA4-CE27-61B1-AFBA-72D64D578233}"/>
                </a:ext>
              </a:extLst>
            </p:cNvPr>
            <p:cNvSpPr/>
            <p:nvPr/>
          </p:nvSpPr>
          <p:spPr>
            <a:xfrm>
              <a:off x="2726509" y="550751"/>
              <a:ext cx="61643" cy="61635"/>
            </a:xfrm>
            <a:custGeom>
              <a:avLst/>
              <a:gdLst>
                <a:gd name="connsiteX0" fmla="*/ 42671 w 61643"/>
                <a:gd name="connsiteY0" fmla="*/ 57270 h 61635"/>
                <a:gd name="connsiteX1" fmla="*/ 53950 w 61643"/>
                <a:gd name="connsiteY1" fmla="*/ 15171 h 61635"/>
                <a:gd name="connsiteX2" fmla="*/ 11851 w 61643"/>
                <a:gd name="connsiteY2" fmla="*/ 3888 h 61635"/>
                <a:gd name="connsiteX3" fmla="*/ 573 w 61643"/>
                <a:gd name="connsiteY3" fmla="*/ 45987 h 61635"/>
                <a:gd name="connsiteX4" fmla="*/ 573 w 61643"/>
                <a:gd name="connsiteY4" fmla="*/ 45991 h 61635"/>
                <a:gd name="connsiteX5" fmla="*/ 42671 w 61643"/>
                <a:gd name="connsiteY5" fmla="*/ 57270 h 61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43" h="61635">
                  <a:moveTo>
                    <a:pt x="42671" y="57270"/>
                  </a:moveTo>
                  <a:cubicBezTo>
                    <a:pt x="57399" y="48760"/>
                    <a:pt x="62464" y="29909"/>
                    <a:pt x="53950" y="15171"/>
                  </a:cubicBezTo>
                  <a:cubicBezTo>
                    <a:pt x="45437" y="429"/>
                    <a:pt x="26578" y="-4622"/>
                    <a:pt x="11851" y="3888"/>
                  </a:cubicBezTo>
                  <a:cubicBezTo>
                    <a:pt x="-2875" y="12398"/>
                    <a:pt x="-7941" y="31245"/>
                    <a:pt x="573" y="45987"/>
                  </a:cubicBezTo>
                  <a:cubicBezTo>
                    <a:pt x="573" y="45991"/>
                    <a:pt x="573" y="45991"/>
                    <a:pt x="573" y="45991"/>
                  </a:cubicBezTo>
                  <a:cubicBezTo>
                    <a:pt x="9085" y="60714"/>
                    <a:pt x="27943" y="65758"/>
                    <a:pt x="42671" y="57270"/>
                  </a:cubicBezTo>
                  <a:close/>
                </a:path>
              </a:pathLst>
            </a:custGeom>
            <a:grpFill/>
            <a:ln w="359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E17BE9ED-FD15-E73E-0165-E9570B9D2D5C}"/>
                </a:ext>
              </a:extLst>
            </p:cNvPr>
            <p:cNvSpPr/>
            <p:nvPr/>
          </p:nvSpPr>
          <p:spPr>
            <a:xfrm>
              <a:off x="1712400" y="2957509"/>
              <a:ext cx="1110161" cy="958433"/>
            </a:xfrm>
            <a:custGeom>
              <a:avLst/>
              <a:gdLst>
                <a:gd name="connsiteX0" fmla="*/ 1110162 w 1110161"/>
                <a:gd name="connsiteY0" fmla="*/ 255755 h 958433"/>
                <a:gd name="connsiteX1" fmla="*/ 1110162 w 1110161"/>
                <a:gd name="connsiteY1" fmla="*/ 637986 h 958433"/>
                <a:gd name="connsiteX2" fmla="*/ 555081 w 1110161"/>
                <a:gd name="connsiteY2" fmla="*/ 958433 h 958433"/>
                <a:gd name="connsiteX3" fmla="*/ 0 w 1110161"/>
                <a:gd name="connsiteY3" fmla="*/ 637986 h 958433"/>
                <a:gd name="connsiteX4" fmla="*/ 0 w 1110161"/>
                <a:gd name="connsiteY4" fmla="*/ 0 h 958433"/>
                <a:gd name="connsiteX5" fmla="*/ 10273 w 1110161"/>
                <a:gd name="connsiteY5" fmla="*/ 0 h 958433"/>
                <a:gd name="connsiteX6" fmla="*/ 10273 w 1110161"/>
                <a:gd name="connsiteY6" fmla="*/ 632059 h 958433"/>
                <a:gd name="connsiteX7" fmla="*/ 555081 w 1110161"/>
                <a:gd name="connsiteY7" fmla="*/ 946616 h 958433"/>
                <a:gd name="connsiteX8" fmla="*/ 1099889 w 1110161"/>
                <a:gd name="connsiteY8" fmla="*/ 632059 h 958433"/>
                <a:gd name="connsiteX9" fmla="*/ 1099889 w 1110161"/>
                <a:gd name="connsiteY9" fmla="*/ 255755 h 958433"/>
                <a:gd name="connsiteX10" fmla="*/ 1110162 w 1110161"/>
                <a:gd name="connsiteY10" fmla="*/ 255755 h 958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61" h="958433">
                  <a:moveTo>
                    <a:pt x="1110162" y="255755"/>
                  </a:moveTo>
                  <a:lnTo>
                    <a:pt x="1110162" y="637986"/>
                  </a:lnTo>
                  <a:lnTo>
                    <a:pt x="555081" y="958433"/>
                  </a:lnTo>
                  <a:lnTo>
                    <a:pt x="0" y="637986"/>
                  </a:lnTo>
                  <a:lnTo>
                    <a:pt x="0" y="0"/>
                  </a:lnTo>
                  <a:lnTo>
                    <a:pt x="10273" y="0"/>
                  </a:lnTo>
                  <a:lnTo>
                    <a:pt x="10273" y="632059"/>
                  </a:lnTo>
                  <a:lnTo>
                    <a:pt x="555081" y="946616"/>
                  </a:lnTo>
                  <a:lnTo>
                    <a:pt x="1099889" y="632059"/>
                  </a:lnTo>
                  <a:lnTo>
                    <a:pt x="1099889" y="255755"/>
                  </a:lnTo>
                  <a:lnTo>
                    <a:pt x="1110162" y="255755"/>
                  </a:lnTo>
                  <a:close/>
                </a:path>
              </a:pathLst>
            </a:custGeom>
            <a:grpFill/>
            <a:ln w="359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15126BB4-D75A-B366-E14D-20806DBBC062}"/>
                </a:ext>
              </a:extLst>
            </p:cNvPr>
            <p:cNvSpPr/>
            <p:nvPr/>
          </p:nvSpPr>
          <p:spPr>
            <a:xfrm>
              <a:off x="6346875" y="2037475"/>
              <a:ext cx="1794664" cy="1549434"/>
            </a:xfrm>
            <a:custGeom>
              <a:avLst/>
              <a:gdLst>
                <a:gd name="connsiteX0" fmla="*/ 1794664 w 1794664"/>
                <a:gd name="connsiteY0" fmla="*/ 502242 h 1549434"/>
                <a:gd name="connsiteX1" fmla="*/ 1794664 w 1794664"/>
                <a:gd name="connsiteY1" fmla="*/ 1031352 h 1549434"/>
                <a:gd name="connsiteX2" fmla="*/ 1790498 w 1794664"/>
                <a:gd name="connsiteY2" fmla="*/ 1033723 h 1549434"/>
                <a:gd name="connsiteX3" fmla="*/ 897332 w 1794664"/>
                <a:gd name="connsiteY3" fmla="*/ 1549435 h 1549434"/>
                <a:gd name="connsiteX4" fmla="*/ 893202 w 1794664"/>
                <a:gd name="connsiteY4" fmla="*/ 1547028 h 1549434"/>
                <a:gd name="connsiteX5" fmla="*/ 0 w 1794664"/>
                <a:gd name="connsiteY5" fmla="*/ 1031352 h 1549434"/>
                <a:gd name="connsiteX6" fmla="*/ 0 w 1794664"/>
                <a:gd name="connsiteY6" fmla="*/ 0 h 1549434"/>
                <a:gd name="connsiteX7" fmla="*/ 16595 w 1794664"/>
                <a:gd name="connsiteY7" fmla="*/ 0 h 1549434"/>
                <a:gd name="connsiteX8" fmla="*/ 16595 w 1794664"/>
                <a:gd name="connsiteY8" fmla="*/ 1021797 h 1549434"/>
                <a:gd name="connsiteX9" fmla="*/ 897332 w 1794664"/>
                <a:gd name="connsiteY9" fmla="*/ 1530289 h 1549434"/>
                <a:gd name="connsiteX10" fmla="*/ 1778069 w 1794664"/>
                <a:gd name="connsiteY10" fmla="*/ 1021797 h 1549434"/>
                <a:gd name="connsiteX11" fmla="*/ 1778069 w 1794664"/>
                <a:gd name="connsiteY11" fmla="*/ 502242 h 1549434"/>
                <a:gd name="connsiteX12" fmla="*/ 1794664 w 1794664"/>
                <a:gd name="connsiteY12" fmla="*/ 502242 h 154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4664" h="1549434">
                  <a:moveTo>
                    <a:pt x="1794664" y="502242"/>
                  </a:moveTo>
                  <a:lnTo>
                    <a:pt x="1794664" y="1031352"/>
                  </a:lnTo>
                  <a:lnTo>
                    <a:pt x="1790498" y="1033723"/>
                  </a:lnTo>
                  <a:lnTo>
                    <a:pt x="897332" y="1549435"/>
                  </a:lnTo>
                  <a:lnTo>
                    <a:pt x="893202" y="1547028"/>
                  </a:lnTo>
                  <a:lnTo>
                    <a:pt x="0" y="1031352"/>
                  </a:lnTo>
                  <a:lnTo>
                    <a:pt x="0" y="0"/>
                  </a:lnTo>
                  <a:lnTo>
                    <a:pt x="16595" y="0"/>
                  </a:lnTo>
                  <a:lnTo>
                    <a:pt x="16595" y="1021797"/>
                  </a:lnTo>
                  <a:lnTo>
                    <a:pt x="897332" y="1530289"/>
                  </a:lnTo>
                  <a:lnTo>
                    <a:pt x="1778069" y="1021797"/>
                  </a:lnTo>
                  <a:lnTo>
                    <a:pt x="1778069" y="502242"/>
                  </a:lnTo>
                  <a:lnTo>
                    <a:pt x="1794664" y="502242"/>
                  </a:lnTo>
                  <a:close/>
                </a:path>
              </a:pathLst>
            </a:custGeom>
            <a:grpFill/>
            <a:ln w="359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B262AA50-8D62-357C-3DDF-9D66851E2455}"/>
                </a:ext>
              </a:extLst>
            </p:cNvPr>
            <p:cNvSpPr/>
            <p:nvPr/>
          </p:nvSpPr>
          <p:spPr>
            <a:xfrm>
              <a:off x="8039885" y="2450992"/>
              <a:ext cx="186787" cy="186787"/>
            </a:xfrm>
            <a:custGeom>
              <a:avLst/>
              <a:gdLst>
                <a:gd name="connsiteX0" fmla="*/ -3560 w 186787"/>
                <a:gd name="connsiteY0" fmla="*/ 93148 h 186787"/>
                <a:gd name="connsiteX1" fmla="*/ 89833 w 186787"/>
                <a:gd name="connsiteY1" fmla="*/ -245 h 186787"/>
                <a:gd name="connsiteX2" fmla="*/ 183227 w 186787"/>
                <a:gd name="connsiteY2" fmla="*/ 93148 h 186787"/>
                <a:gd name="connsiteX3" fmla="*/ 89833 w 186787"/>
                <a:gd name="connsiteY3" fmla="*/ 186542 h 186787"/>
                <a:gd name="connsiteX4" fmla="*/ -3560 w 186787"/>
                <a:gd name="connsiteY4" fmla="*/ 93148 h 186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787" h="186787">
                  <a:moveTo>
                    <a:pt x="-3560" y="93148"/>
                  </a:moveTo>
                  <a:cubicBezTo>
                    <a:pt x="-3560" y="41570"/>
                    <a:pt x="38252" y="-245"/>
                    <a:pt x="89833" y="-245"/>
                  </a:cubicBezTo>
                  <a:cubicBezTo>
                    <a:pt x="141415" y="-245"/>
                    <a:pt x="183227" y="41570"/>
                    <a:pt x="183227" y="93148"/>
                  </a:cubicBezTo>
                  <a:cubicBezTo>
                    <a:pt x="183227" y="144727"/>
                    <a:pt x="141415" y="186542"/>
                    <a:pt x="89833" y="186542"/>
                  </a:cubicBezTo>
                  <a:cubicBezTo>
                    <a:pt x="38252" y="186542"/>
                    <a:pt x="-3560" y="144727"/>
                    <a:pt x="-3560" y="93148"/>
                  </a:cubicBezTo>
                  <a:close/>
                </a:path>
              </a:pathLst>
            </a:custGeom>
            <a:grpFill/>
            <a:ln w="359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F78CCCC3-05A9-C43A-27F0-EA437C35C673}"/>
                </a:ext>
              </a:extLst>
            </p:cNvPr>
            <p:cNvSpPr/>
            <p:nvPr/>
          </p:nvSpPr>
          <p:spPr>
            <a:xfrm>
              <a:off x="4418658" y="3728904"/>
              <a:ext cx="1281898" cy="1047552"/>
            </a:xfrm>
            <a:custGeom>
              <a:avLst/>
              <a:gdLst>
                <a:gd name="connsiteX0" fmla="*/ 1281898 w 1281898"/>
                <a:gd name="connsiteY0" fmla="*/ 0 h 1047552"/>
                <a:gd name="connsiteX1" fmla="*/ 1281898 w 1281898"/>
                <a:gd name="connsiteY1" fmla="*/ 677498 h 1047552"/>
                <a:gd name="connsiteX2" fmla="*/ 1278917 w 1281898"/>
                <a:gd name="connsiteY2" fmla="*/ 679222 h 1047552"/>
                <a:gd name="connsiteX3" fmla="*/ 640967 w 1281898"/>
                <a:gd name="connsiteY3" fmla="*/ 1047552 h 1047552"/>
                <a:gd name="connsiteX4" fmla="*/ 637986 w 1281898"/>
                <a:gd name="connsiteY4" fmla="*/ 1045864 h 1047552"/>
                <a:gd name="connsiteX5" fmla="*/ 0 w 1281898"/>
                <a:gd name="connsiteY5" fmla="*/ 677498 h 1047552"/>
                <a:gd name="connsiteX6" fmla="*/ 0 w 1281898"/>
                <a:gd name="connsiteY6" fmla="*/ 278421 h 1047552"/>
                <a:gd name="connsiteX7" fmla="*/ 11854 w 1281898"/>
                <a:gd name="connsiteY7" fmla="*/ 278421 h 1047552"/>
                <a:gd name="connsiteX8" fmla="*/ 11854 w 1281898"/>
                <a:gd name="connsiteY8" fmla="*/ 670673 h 1047552"/>
                <a:gd name="connsiteX9" fmla="*/ 640967 w 1281898"/>
                <a:gd name="connsiteY9" fmla="*/ 1033902 h 1047552"/>
                <a:gd name="connsiteX10" fmla="*/ 1270045 w 1281898"/>
                <a:gd name="connsiteY10" fmla="*/ 670673 h 1047552"/>
                <a:gd name="connsiteX11" fmla="*/ 1270045 w 1281898"/>
                <a:gd name="connsiteY11" fmla="*/ 0 h 1047552"/>
                <a:gd name="connsiteX12" fmla="*/ 1281898 w 1281898"/>
                <a:gd name="connsiteY12" fmla="*/ 0 h 1047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1898" h="1047552">
                  <a:moveTo>
                    <a:pt x="1281898" y="0"/>
                  </a:moveTo>
                  <a:lnTo>
                    <a:pt x="1281898" y="677498"/>
                  </a:lnTo>
                  <a:lnTo>
                    <a:pt x="1278917" y="679222"/>
                  </a:lnTo>
                  <a:lnTo>
                    <a:pt x="640967" y="1047552"/>
                  </a:lnTo>
                  <a:lnTo>
                    <a:pt x="637986" y="1045864"/>
                  </a:lnTo>
                  <a:lnTo>
                    <a:pt x="0" y="677498"/>
                  </a:lnTo>
                  <a:lnTo>
                    <a:pt x="0" y="278421"/>
                  </a:lnTo>
                  <a:lnTo>
                    <a:pt x="11854" y="278421"/>
                  </a:lnTo>
                  <a:lnTo>
                    <a:pt x="11854" y="670673"/>
                  </a:lnTo>
                  <a:lnTo>
                    <a:pt x="640967" y="1033902"/>
                  </a:lnTo>
                  <a:lnTo>
                    <a:pt x="1270045" y="670673"/>
                  </a:lnTo>
                  <a:lnTo>
                    <a:pt x="1270045" y="0"/>
                  </a:lnTo>
                  <a:lnTo>
                    <a:pt x="1281898" y="0"/>
                  </a:lnTo>
                  <a:close/>
                </a:path>
              </a:pathLst>
            </a:custGeom>
            <a:grpFill/>
            <a:ln w="359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19E0418A-BF8E-2A0C-EFF0-7432A10091E8}"/>
                </a:ext>
              </a:extLst>
            </p:cNvPr>
            <p:cNvSpPr/>
            <p:nvPr/>
          </p:nvSpPr>
          <p:spPr>
            <a:xfrm>
              <a:off x="4380043" y="3965045"/>
              <a:ext cx="89012" cy="89011"/>
            </a:xfrm>
            <a:custGeom>
              <a:avLst/>
              <a:gdLst>
                <a:gd name="connsiteX0" fmla="*/ 85452 w 89012"/>
                <a:gd name="connsiteY0" fmla="*/ 44260 h 89011"/>
                <a:gd name="connsiteX1" fmla="*/ 40946 w 89012"/>
                <a:gd name="connsiteY1" fmla="*/ -245 h 89011"/>
                <a:gd name="connsiteX2" fmla="*/ -3560 w 89012"/>
                <a:gd name="connsiteY2" fmla="*/ 44260 h 89011"/>
                <a:gd name="connsiteX3" fmla="*/ 40946 w 89012"/>
                <a:gd name="connsiteY3" fmla="*/ 88766 h 89011"/>
                <a:gd name="connsiteX4" fmla="*/ 40981 w 89012"/>
                <a:gd name="connsiteY4" fmla="*/ 88766 h 89011"/>
                <a:gd name="connsiteX5" fmla="*/ 85452 w 89012"/>
                <a:gd name="connsiteY5" fmla="*/ 44260 h 8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012" h="89011">
                  <a:moveTo>
                    <a:pt x="85452" y="44260"/>
                  </a:moveTo>
                  <a:cubicBezTo>
                    <a:pt x="85452" y="19691"/>
                    <a:pt x="65515" y="-245"/>
                    <a:pt x="40946" y="-245"/>
                  </a:cubicBezTo>
                  <a:cubicBezTo>
                    <a:pt x="16377" y="-245"/>
                    <a:pt x="-3560" y="19691"/>
                    <a:pt x="-3560" y="44260"/>
                  </a:cubicBezTo>
                  <a:cubicBezTo>
                    <a:pt x="-3560" y="68830"/>
                    <a:pt x="16377" y="88766"/>
                    <a:pt x="40946" y="88766"/>
                  </a:cubicBezTo>
                  <a:cubicBezTo>
                    <a:pt x="40946" y="88766"/>
                    <a:pt x="40981" y="88766"/>
                    <a:pt x="40981" y="88766"/>
                  </a:cubicBezTo>
                  <a:cubicBezTo>
                    <a:pt x="65552" y="88730"/>
                    <a:pt x="85452" y="68830"/>
                    <a:pt x="85452" y="44260"/>
                  </a:cubicBezTo>
                  <a:close/>
                </a:path>
              </a:pathLst>
            </a:custGeom>
            <a:grpFill/>
            <a:ln w="359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05AF246C-BCBC-769F-59A8-CD602DCCF138}"/>
                </a:ext>
              </a:extLst>
            </p:cNvPr>
            <p:cNvSpPr/>
            <p:nvPr/>
          </p:nvSpPr>
          <p:spPr>
            <a:xfrm rot="21261000">
              <a:off x="5632136" y="3671367"/>
              <a:ext cx="124572" cy="124572"/>
            </a:xfrm>
            <a:custGeom>
              <a:avLst/>
              <a:gdLst>
                <a:gd name="connsiteX0" fmla="*/ 121012 w 124572"/>
                <a:gd name="connsiteY0" fmla="*/ 62041 h 124572"/>
                <a:gd name="connsiteX1" fmla="*/ 58726 w 124572"/>
                <a:gd name="connsiteY1" fmla="*/ 124327 h 124572"/>
                <a:gd name="connsiteX2" fmla="*/ -3559 w 124572"/>
                <a:gd name="connsiteY2" fmla="*/ 62041 h 124572"/>
                <a:gd name="connsiteX3" fmla="*/ 58726 w 124572"/>
                <a:gd name="connsiteY3" fmla="*/ -245 h 124572"/>
                <a:gd name="connsiteX4" fmla="*/ 121012 w 124572"/>
                <a:gd name="connsiteY4" fmla="*/ 62041 h 124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72" h="124572">
                  <a:moveTo>
                    <a:pt x="121012" y="62041"/>
                  </a:moveTo>
                  <a:cubicBezTo>
                    <a:pt x="121012" y="96441"/>
                    <a:pt x="93126" y="124327"/>
                    <a:pt x="58726" y="124327"/>
                  </a:cubicBezTo>
                  <a:cubicBezTo>
                    <a:pt x="24327" y="124327"/>
                    <a:pt x="-3559" y="96441"/>
                    <a:pt x="-3559" y="62041"/>
                  </a:cubicBezTo>
                  <a:cubicBezTo>
                    <a:pt x="-3559" y="27641"/>
                    <a:pt x="24327" y="-245"/>
                    <a:pt x="58726" y="-245"/>
                  </a:cubicBezTo>
                  <a:cubicBezTo>
                    <a:pt x="93126" y="-245"/>
                    <a:pt x="121012" y="27642"/>
                    <a:pt x="121012" y="62041"/>
                  </a:cubicBezTo>
                  <a:close/>
                </a:path>
              </a:pathLst>
            </a:custGeom>
            <a:grpFill/>
            <a:ln w="359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19EAC982-8502-5455-0E47-B2AF66398011}"/>
                </a:ext>
              </a:extLst>
            </p:cNvPr>
            <p:cNvSpPr/>
            <p:nvPr/>
          </p:nvSpPr>
          <p:spPr>
            <a:xfrm>
              <a:off x="2917393" y="661177"/>
              <a:ext cx="786050" cy="327883"/>
            </a:xfrm>
            <a:custGeom>
              <a:avLst/>
              <a:gdLst>
                <a:gd name="connsiteX0" fmla="*/ 786050 w 786050"/>
                <a:gd name="connsiteY0" fmla="*/ 134846 h 327883"/>
                <a:gd name="connsiteX1" fmla="*/ 780914 w 786050"/>
                <a:gd name="connsiteY1" fmla="*/ 143718 h 327883"/>
                <a:gd name="connsiteX2" fmla="*/ 552530 w 786050"/>
                <a:gd name="connsiteY2" fmla="*/ 11854 h 327883"/>
                <a:gd name="connsiteX3" fmla="*/ 5137 w 786050"/>
                <a:gd name="connsiteY3" fmla="*/ 327883 h 327883"/>
                <a:gd name="connsiteX4" fmla="*/ 0 w 786050"/>
                <a:gd name="connsiteY4" fmla="*/ 319011 h 327883"/>
                <a:gd name="connsiteX5" fmla="*/ 552530 w 786050"/>
                <a:gd name="connsiteY5" fmla="*/ 0 h 327883"/>
                <a:gd name="connsiteX6" fmla="*/ 786050 w 786050"/>
                <a:gd name="connsiteY6" fmla="*/ 134846 h 32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050" h="327883">
                  <a:moveTo>
                    <a:pt x="786050" y="134846"/>
                  </a:moveTo>
                  <a:lnTo>
                    <a:pt x="780914" y="143718"/>
                  </a:lnTo>
                  <a:lnTo>
                    <a:pt x="552530" y="11854"/>
                  </a:lnTo>
                  <a:lnTo>
                    <a:pt x="5137" y="327883"/>
                  </a:lnTo>
                  <a:lnTo>
                    <a:pt x="0" y="319011"/>
                  </a:lnTo>
                  <a:lnTo>
                    <a:pt x="552530" y="0"/>
                  </a:lnTo>
                  <a:lnTo>
                    <a:pt x="786050" y="134846"/>
                  </a:lnTo>
                  <a:close/>
                </a:path>
              </a:pathLst>
            </a:custGeom>
            <a:grpFill/>
            <a:ln w="359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98D6BFB-1895-E448-4DDF-58AEE172A5F3}"/>
                </a:ext>
              </a:extLst>
            </p:cNvPr>
            <p:cNvSpPr/>
            <p:nvPr/>
          </p:nvSpPr>
          <p:spPr>
            <a:xfrm>
              <a:off x="3580271" y="2013192"/>
              <a:ext cx="1110125" cy="910838"/>
            </a:xfrm>
            <a:custGeom>
              <a:avLst/>
              <a:gdLst>
                <a:gd name="connsiteX0" fmla="*/ 1110126 w 1110125"/>
                <a:gd name="connsiteY0" fmla="*/ 320448 h 910838"/>
                <a:gd name="connsiteX1" fmla="*/ 1110126 w 1110125"/>
                <a:gd name="connsiteY1" fmla="*/ 910839 h 910838"/>
                <a:gd name="connsiteX2" fmla="*/ 1099889 w 1110125"/>
                <a:gd name="connsiteY2" fmla="*/ 910839 h 910838"/>
                <a:gd name="connsiteX3" fmla="*/ 1099889 w 1110125"/>
                <a:gd name="connsiteY3" fmla="*/ 326375 h 910838"/>
                <a:gd name="connsiteX4" fmla="*/ 555081 w 1110125"/>
                <a:gd name="connsiteY4" fmla="*/ 11818 h 910838"/>
                <a:gd name="connsiteX5" fmla="*/ 10237 w 1110125"/>
                <a:gd name="connsiteY5" fmla="*/ 326375 h 910838"/>
                <a:gd name="connsiteX6" fmla="*/ 10237 w 1110125"/>
                <a:gd name="connsiteY6" fmla="*/ 611620 h 910838"/>
                <a:gd name="connsiteX7" fmla="*/ 0 w 1110125"/>
                <a:gd name="connsiteY7" fmla="*/ 611620 h 910838"/>
                <a:gd name="connsiteX8" fmla="*/ 0 w 1110125"/>
                <a:gd name="connsiteY8" fmla="*/ 320448 h 910838"/>
                <a:gd name="connsiteX9" fmla="*/ 555081 w 1110125"/>
                <a:gd name="connsiteY9" fmla="*/ 0 h 910838"/>
                <a:gd name="connsiteX10" fmla="*/ 1110126 w 1110125"/>
                <a:gd name="connsiteY10" fmla="*/ 320448 h 9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25" h="910838">
                  <a:moveTo>
                    <a:pt x="1110126" y="320448"/>
                  </a:moveTo>
                  <a:lnTo>
                    <a:pt x="1110126" y="910839"/>
                  </a:lnTo>
                  <a:lnTo>
                    <a:pt x="1099889" y="910839"/>
                  </a:lnTo>
                  <a:lnTo>
                    <a:pt x="1099889" y="326375"/>
                  </a:lnTo>
                  <a:lnTo>
                    <a:pt x="555081" y="11818"/>
                  </a:lnTo>
                  <a:lnTo>
                    <a:pt x="10237" y="326375"/>
                  </a:lnTo>
                  <a:lnTo>
                    <a:pt x="10237" y="611620"/>
                  </a:lnTo>
                  <a:lnTo>
                    <a:pt x="0" y="611620"/>
                  </a:lnTo>
                  <a:lnTo>
                    <a:pt x="0" y="320448"/>
                  </a:lnTo>
                  <a:lnTo>
                    <a:pt x="555081" y="0"/>
                  </a:lnTo>
                  <a:lnTo>
                    <a:pt x="1110126" y="320448"/>
                  </a:lnTo>
                  <a:close/>
                </a:path>
              </a:pathLst>
            </a:custGeom>
            <a:grpFill/>
            <a:ln w="359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38B46219-28A2-3303-6EC1-3EC0B8DA7156}"/>
                </a:ext>
              </a:extLst>
            </p:cNvPr>
            <p:cNvSpPr/>
            <p:nvPr/>
          </p:nvSpPr>
          <p:spPr>
            <a:xfrm>
              <a:off x="3554551" y="2592448"/>
              <a:ext cx="61640" cy="61639"/>
            </a:xfrm>
            <a:custGeom>
              <a:avLst/>
              <a:gdLst>
                <a:gd name="connsiteX0" fmla="*/ 58080 w 61640"/>
                <a:gd name="connsiteY0" fmla="*/ 30574 h 61639"/>
                <a:gd name="connsiteX1" fmla="*/ 27260 w 61640"/>
                <a:gd name="connsiteY1" fmla="*/ 61394 h 61639"/>
                <a:gd name="connsiteX2" fmla="*/ -3560 w 61640"/>
                <a:gd name="connsiteY2" fmla="*/ 30574 h 61639"/>
                <a:gd name="connsiteX3" fmla="*/ 27260 w 61640"/>
                <a:gd name="connsiteY3" fmla="*/ -245 h 61639"/>
                <a:gd name="connsiteX4" fmla="*/ 58080 w 61640"/>
                <a:gd name="connsiteY4" fmla="*/ 30574 h 6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40" h="61639">
                  <a:moveTo>
                    <a:pt x="58080" y="30574"/>
                  </a:moveTo>
                  <a:cubicBezTo>
                    <a:pt x="58080" y="47597"/>
                    <a:pt x="44287" y="61394"/>
                    <a:pt x="27260" y="61394"/>
                  </a:cubicBezTo>
                  <a:cubicBezTo>
                    <a:pt x="10235" y="61394"/>
                    <a:pt x="-3560" y="47597"/>
                    <a:pt x="-3560" y="30574"/>
                  </a:cubicBezTo>
                  <a:cubicBezTo>
                    <a:pt x="-3560" y="13552"/>
                    <a:pt x="10235" y="-245"/>
                    <a:pt x="27260" y="-245"/>
                  </a:cubicBezTo>
                  <a:cubicBezTo>
                    <a:pt x="44287" y="-224"/>
                    <a:pt x="58045" y="13562"/>
                    <a:pt x="58080" y="30574"/>
                  </a:cubicBezTo>
                  <a:close/>
                </a:path>
              </a:pathLst>
            </a:custGeom>
            <a:grpFill/>
            <a:ln w="359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2967C79A-851F-4B74-9D88-10975ACB7A25}"/>
                </a:ext>
              </a:extLst>
            </p:cNvPr>
            <p:cNvSpPr/>
            <p:nvPr/>
          </p:nvSpPr>
          <p:spPr>
            <a:xfrm>
              <a:off x="4635151" y="2871407"/>
              <a:ext cx="100578" cy="100578"/>
            </a:xfrm>
            <a:custGeom>
              <a:avLst/>
              <a:gdLst>
                <a:gd name="connsiteX0" fmla="*/ -3560 w 100578"/>
                <a:gd name="connsiteY0" fmla="*/ 49864 h 100578"/>
                <a:gd name="connsiteX1" fmla="*/ 46550 w 100578"/>
                <a:gd name="connsiteY1" fmla="*/ 100332 h 100578"/>
                <a:gd name="connsiteX2" fmla="*/ 97018 w 100578"/>
                <a:gd name="connsiteY2" fmla="*/ 50223 h 100578"/>
                <a:gd name="connsiteX3" fmla="*/ 46910 w 100578"/>
                <a:gd name="connsiteY3" fmla="*/ -245 h 100578"/>
                <a:gd name="connsiteX4" fmla="*/ 46729 w 100578"/>
                <a:gd name="connsiteY4" fmla="*/ -245 h 100578"/>
                <a:gd name="connsiteX5" fmla="*/ -3560 w 100578"/>
                <a:gd name="connsiteY5" fmla="*/ 49864 h 10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78" h="100578">
                  <a:moveTo>
                    <a:pt x="-3560" y="49864"/>
                  </a:moveTo>
                  <a:cubicBezTo>
                    <a:pt x="-3667" y="77630"/>
                    <a:pt x="18784" y="100224"/>
                    <a:pt x="46550" y="100332"/>
                  </a:cubicBezTo>
                  <a:cubicBezTo>
                    <a:pt x="74317" y="100440"/>
                    <a:pt x="96911" y="77990"/>
                    <a:pt x="97018" y="50223"/>
                  </a:cubicBezTo>
                  <a:cubicBezTo>
                    <a:pt x="97127" y="22456"/>
                    <a:pt x="74676" y="-145"/>
                    <a:pt x="46910" y="-245"/>
                  </a:cubicBezTo>
                  <a:cubicBezTo>
                    <a:pt x="46838" y="-245"/>
                    <a:pt x="46801" y="-245"/>
                    <a:pt x="46729" y="-245"/>
                  </a:cubicBezTo>
                  <a:cubicBezTo>
                    <a:pt x="19034" y="-245"/>
                    <a:pt x="-3451" y="22169"/>
                    <a:pt x="-3560" y="49864"/>
                  </a:cubicBezTo>
                  <a:close/>
                </a:path>
              </a:pathLst>
            </a:custGeom>
            <a:grpFill/>
            <a:ln w="359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3F508998-EFD5-B909-68C9-8E4231E0BCEF}"/>
                </a:ext>
              </a:extLst>
            </p:cNvPr>
            <p:cNvSpPr/>
            <p:nvPr/>
          </p:nvSpPr>
          <p:spPr>
            <a:xfrm>
              <a:off x="3514896" y="2867815"/>
              <a:ext cx="738491" cy="300403"/>
            </a:xfrm>
            <a:custGeom>
              <a:avLst/>
              <a:gdLst>
                <a:gd name="connsiteX0" fmla="*/ 738491 w 738491"/>
                <a:gd name="connsiteY0" fmla="*/ 134846 h 300403"/>
                <a:gd name="connsiteX1" fmla="*/ 733355 w 738491"/>
                <a:gd name="connsiteY1" fmla="*/ 143718 h 300403"/>
                <a:gd name="connsiteX2" fmla="*/ 504936 w 738491"/>
                <a:gd name="connsiteY2" fmla="*/ 11818 h 300403"/>
                <a:gd name="connsiteX3" fmla="*/ 5137 w 738491"/>
                <a:gd name="connsiteY3" fmla="*/ 300404 h 300403"/>
                <a:gd name="connsiteX4" fmla="*/ 0 w 738491"/>
                <a:gd name="connsiteY4" fmla="*/ 291532 h 300403"/>
                <a:gd name="connsiteX5" fmla="*/ 504936 w 738491"/>
                <a:gd name="connsiteY5" fmla="*/ 0 h 300403"/>
                <a:gd name="connsiteX6" fmla="*/ 738491 w 738491"/>
                <a:gd name="connsiteY6" fmla="*/ 134846 h 30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491" h="300403">
                  <a:moveTo>
                    <a:pt x="738491" y="134846"/>
                  </a:moveTo>
                  <a:lnTo>
                    <a:pt x="733355" y="143718"/>
                  </a:lnTo>
                  <a:lnTo>
                    <a:pt x="504936" y="11818"/>
                  </a:lnTo>
                  <a:lnTo>
                    <a:pt x="5137" y="300404"/>
                  </a:lnTo>
                  <a:lnTo>
                    <a:pt x="0" y="291532"/>
                  </a:lnTo>
                  <a:lnTo>
                    <a:pt x="504936" y="0"/>
                  </a:lnTo>
                  <a:lnTo>
                    <a:pt x="738491" y="134846"/>
                  </a:lnTo>
                  <a:close/>
                </a:path>
              </a:pathLst>
            </a:custGeom>
            <a:grpFill/>
            <a:ln w="359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4F63870F-BA34-8F26-267B-63A2D8EF1D1E}"/>
                </a:ext>
              </a:extLst>
            </p:cNvPr>
            <p:cNvSpPr/>
            <p:nvPr/>
          </p:nvSpPr>
          <p:spPr>
            <a:xfrm>
              <a:off x="3462171" y="3104527"/>
              <a:ext cx="115603" cy="115608"/>
            </a:xfrm>
            <a:custGeom>
              <a:avLst/>
              <a:gdLst>
                <a:gd name="connsiteX0" fmla="*/ 83110 w 115603"/>
                <a:gd name="connsiteY0" fmla="*/ 107629 h 115608"/>
                <a:gd name="connsiteX1" fmla="*/ 4157 w 115603"/>
                <a:gd name="connsiteY1" fmla="*/ 86436 h 115608"/>
                <a:gd name="connsiteX2" fmla="*/ 25386 w 115603"/>
                <a:gd name="connsiteY2" fmla="*/ 7483 h 115608"/>
                <a:gd name="connsiteX3" fmla="*/ 104268 w 115603"/>
                <a:gd name="connsiteY3" fmla="*/ 28604 h 115608"/>
                <a:gd name="connsiteX4" fmla="*/ 83147 w 115603"/>
                <a:gd name="connsiteY4" fmla="*/ 107629 h 115608"/>
                <a:gd name="connsiteX5" fmla="*/ 83110 w 115603"/>
                <a:gd name="connsiteY5" fmla="*/ 107629 h 11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603" h="115608">
                  <a:moveTo>
                    <a:pt x="83110" y="107629"/>
                  </a:moveTo>
                  <a:cubicBezTo>
                    <a:pt x="55450" y="123578"/>
                    <a:pt x="20105" y="114059"/>
                    <a:pt x="4157" y="86436"/>
                  </a:cubicBezTo>
                  <a:cubicBezTo>
                    <a:pt x="-11757" y="58777"/>
                    <a:pt x="-2273" y="23431"/>
                    <a:pt x="25386" y="7483"/>
                  </a:cubicBezTo>
                  <a:cubicBezTo>
                    <a:pt x="53009" y="-8430"/>
                    <a:pt x="88282" y="1017"/>
                    <a:pt x="104268" y="28604"/>
                  </a:cubicBezTo>
                  <a:cubicBezTo>
                    <a:pt x="120251" y="56263"/>
                    <a:pt x="110805" y="91645"/>
                    <a:pt x="83147" y="107629"/>
                  </a:cubicBezTo>
                  <a:cubicBezTo>
                    <a:pt x="83110" y="107629"/>
                    <a:pt x="83110" y="107629"/>
                    <a:pt x="83110" y="107629"/>
                  </a:cubicBezTo>
                  <a:close/>
                </a:path>
              </a:pathLst>
            </a:custGeom>
            <a:grpFill/>
            <a:ln w="359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1FA5F23C-B8A1-5202-EA7A-9EE36932EEDF}"/>
                </a:ext>
              </a:extLst>
            </p:cNvPr>
            <p:cNvSpPr/>
            <p:nvPr/>
          </p:nvSpPr>
          <p:spPr>
            <a:xfrm>
              <a:off x="5461577" y="2364747"/>
              <a:ext cx="1368969" cy="409171"/>
            </a:xfrm>
            <a:custGeom>
              <a:avLst/>
              <a:gdLst>
                <a:gd name="connsiteX0" fmla="*/ 1368970 w 1368969"/>
                <a:gd name="connsiteY0" fmla="*/ 392792 h 409171"/>
                <a:gd name="connsiteX1" fmla="*/ 1362289 w 1368969"/>
                <a:gd name="connsiteY1" fmla="*/ 404394 h 409171"/>
                <a:gd name="connsiteX2" fmla="*/ 688634 w 1368969"/>
                <a:gd name="connsiteY2" fmla="*/ 15446 h 409171"/>
                <a:gd name="connsiteX3" fmla="*/ 6717 w 1368969"/>
                <a:gd name="connsiteY3" fmla="*/ 409172 h 409171"/>
                <a:gd name="connsiteX4" fmla="*/ 0 w 1368969"/>
                <a:gd name="connsiteY4" fmla="*/ 397569 h 409171"/>
                <a:gd name="connsiteX5" fmla="*/ 688634 w 1368969"/>
                <a:gd name="connsiteY5" fmla="*/ 0 h 409171"/>
                <a:gd name="connsiteX6" fmla="*/ 1368970 w 1368969"/>
                <a:gd name="connsiteY6" fmla="*/ 392792 h 409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8969" h="409171">
                  <a:moveTo>
                    <a:pt x="1368970" y="392792"/>
                  </a:moveTo>
                  <a:lnTo>
                    <a:pt x="1362289" y="404394"/>
                  </a:lnTo>
                  <a:lnTo>
                    <a:pt x="688634" y="15446"/>
                  </a:lnTo>
                  <a:lnTo>
                    <a:pt x="6717" y="409172"/>
                  </a:lnTo>
                  <a:lnTo>
                    <a:pt x="0" y="397569"/>
                  </a:lnTo>
                  <a:lnTo>
                    <a:pt x="688634" y="0"/>
                  </a:lnTo>
                  <a:lnTo>
                    <a:pt x="1368970" y="392792"/>
                  </a:lnTo>
                  <a:close/>
                </a:path>
              </a:pathLst>
            </a:custGeom>
            <a:grpFill/>
            <a:ln w="359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EDB7581B-5384-FCFE-48E6-EE12EF0AB438}"/>
                </a:ext>
              </a:extLst>
            </p:cNvPr>
            <p:cNvSpPr/>
            <p:nvPr/>
          </p:nvSpPr>
          <p:spPr>
            <a:xfrm>
              <a:off x="5426379" y="2726834"/>
              <a:ext cx="80559" cy="80548"/>
            </a:xfrm>
            <a:custGeom>
              <a:avLst/>
              <a:gdLst>
                <a:gd name="connsiteX0" fmla="*/ 56854 w 80559"/>
                <a:gd name="connsiteY0" fmla="*/ 74893 h 80548"/>
                <a:gd name="connsiteX1" fmla="*/ 1859 w 80559"/>
                <a:gd name="connsiteY1" fmla="*/ 60177 h 80548"/>
                <a:gd name="connsiteX2" fmla="*/ 16550 w 80559"/>
                <a:gd name="connsiteY2" fmla="*/ 5164 h 80548"/>
                <a:gd name="connsiteX3" fmla="*/ 71580 w 80559"/>
                <a:gd name="connsiteY3" fmla="*/ 19881 h 80548"/>
                <a:gd name="connsiteX4" fmla="*/ 71580 w 80559"/>
                <a:gd name="connsiteY4" fmla="*/ 19899 h 80548"/>
                <a:gd name="connsiteX5" fmla="*/ 56889 w 80559"/>
                <a:gd name="connsiteY5" fmla="*/ 74868 h 80548"/>
                <a:gd name="connsiteX6" fmla="*/ 56854 w 80559"/>
                <a:gd name="connsiteY6" fmla="*/ 74893 h 8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559" h="80548">
                  <a:moveTo>
                    <a:pt x="56854" y="74893"/>
                  </a:moveTo>
                  <a:cubicBezTo>
                    <a:pt x="37599" y="86021"/>
                    <a:pt x="12958" y="79430"/>
                    <a:pt x="1859" y="60177"/>
                  </a:cubicBezTo>
                  <a:cubicBezTo>
                    <a:pt x="-9276" y="40920"/>
                    <a:pt x="-2703" y="16292"/>
                    <a:pt x="16550" y="5164"/>
                  </a:cubicBezTo>
                  <a:cubicBezTo>
                    <a:pt x="35803" y="-5964"/>
                    <a:pt x="60446" y="627"/>
                    <a:pt x="71580" y="19881"/>
                  </a:cubicBezTo>
                  <a:cubicBezTo>
                    <a:pt x="71580" y="19888"/>
                    <a:pt x="71580" y="19895"/>
                    <a:pt x="71580" y="19899"/>
                  </a:cubicBezTo>
                  <a:cubicBezTo>
                    <a:pt x="82716" y="39131"/>
                    <a:pt x="76142" y="63744"/>
                    <a:pt x="56889" y="74868"/>
                  </a:cubicBezTo>
                  <a:cubicBezTo>
                    <a:pt x="56889" y="74875"/>
                    <a:pt x="56854" y="74886"/>
                    <a:pt x="56854" y="74893"/>
                  </a:cubicBezTo>
                  <a:close/>
                </a:path>
              </a:pathLst>
            </a:custGeom>
            <a:grpFill/>
            <a:ln w="359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7BD755EE-BE2F-4601-DE5E-E2D965D35A5F}"/>
                </a:ext>
              </a:extLst>
            </p:cNvPr>
            <p:cNvSpPr/>
            <p:nvPr/>
          </p:nvSpPr>
          <p:spPr>
            <a:xfrm>
              <a:off x="6774646" y="2711801"/>
              <a:ext cx="100593" cy="100594"/>
            </a:xfrm>
            <a:custGeom>
              <a:avLst/>
              <a:gdLst>
                <a:gd name="connsiteX0" fmla="*/ 21627 w 100593"/>
                <a:gd name="connsiteY0" fmla="*/ 93626 h 100594"/>
                <a:gd name="connsiteX1" fmla="*/ 90308 w 100593"/>
                <a:gd name="connsiteY1" fmla="*/ 75156 h 100594"/>
                <a:gd name="connsiteX2" fmla="*/ 71844 w 100593"/>
                <a:gd name="connsiteY2" fmla="*/ 6479 h 100594"/>
                <a:gd name="connsiteX3" fmla="*/ 3201 w 100593"/>
                <a:gd name="connsiteY3" fmla="*/ 24874 h 100594"/>
                <a:gd name="connsiteX4" fmla="*/ 21556 w 100593"/>
                <a:gd name="connsiteY4" fmla="*/ 93583 h 100594"/>
                <a:gd name="connsiteX5" fmla="*/ 21627 w 100593"/>
                <a:gd name="connsiteY5" fmla="*/ 93626 h 10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93" h="100594">
                  <a:moveTo>
                    <a:pt x="21627" y="93626"/>
                  </a:moveTo>
                  <a:cubicBezTo>
                    <a:pt x="45695" y="107491"/>
                    <a:pt x="76443" y="99222"/>
                    <a:pt x="90308" y="75156"/>
                  </a:cubicBezTo>
                  <a:cubicBezTo>
                    <a:pt x="104173" y="51092"/>
                    <a:pt x="95912" y="20344"/>
                    <a:pt x="71844" y="6479"/>
                  </a:cubicBezTo>
                  <a:cubicBezTo>
                    <a:pt x="47814" y="-7372"/>
                    <a:pt x="17102" y="861"/>
                    <a:pt x="3201" y="24874"/>
                  </a:cubicBezTo>
                  <a:cubicBezTo>
                    <a:pt x="-10701" y="48915"/>
                    <a:pt x="-2475" y="79678"/>
                    <a:pt x="21556" y="93583"/>
                  </a:cubicBezTo>
                  <a:cubicBezTo>
                    <a:pt x="21592" y="93597"/>
                    <a:pt x="21592" y="93612"/>
                    <a:pt x="21627" y="93626"/>
                  </a:cubicBezTo>
                  <a:close/>
                </a:path>
              </a:pathLst>
            </a:custGeom>
            <a:grpFill/>
            <a:ln w="359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B75FBDEF-513A-7933-8E7E-034F987C151B}"/>
                </a:ext>
              </a:extLst>
            </p:cNvPr>
            <p:cNvSpPr/>
            <p:nvPr/>
          </p:nvSpPr>
          <p:spPr>
            <a:xfrm>
              <a:off x="709569" y="1251999"/>
              <a:ext cx="516430" cy="1096368"/>
            </a:xfrm>
            <a:custGeom>
              <a:avLst/>
              <a:gdLst>
                <a:gd name="connsiteX0" fmla="*/ 516430 w 516430"/>
                <a:gd name="connsiteY0" fmla="*/ 295195 h 1096368"/>
                <a:gd name="connsiteX1" fmla="*/ 516430 w 516430"/>
                <a:gd name="connsiteY1" fmla="*/ 936127 h 1096368"/>
                <a:gd name="connsiteX2" fmla="*/ 238872 w 516430"/>
                <a:gd name="connsiteY2" fmla="*/ 1096369 h 1096368"/>
                <a:gd name="connsiteX3" fmla="*/ 233771 w 516430"/>
                <a:gd name="connsiteY3" fmla="*/ 1087496 h 1096368"/>
                <a:gd name="connsiteX4" fmla="*/ 506157 w 516430"/>
                <a:gd name="connsiteY4" fmla="*/ 930200 h 1096368"/>
                <a:gd name="connsiteX5" fmla="*/ 506157 w 516430"/>
                <a:gd name="connsiteY5" fmla="*/ 301086 h 1096368"/>
                <a:gd name="connsiteX6" fmla="*/ 0 w 516430"/>
                <a:gd name="connsiteY6" fmla="*/ 8872 h 1096368"/>
                <a:gd name="connsiteX7" fmla="*/ 5137 w 516430"/>
                <a:gd name="connsiteY7" fmla="*/ 0 h 1096368"/>
                <a:gd name="connsiteX8" fmla="*/ 516430 w 516430"/>
                <a:gd name="connsiteY8" fmla="*/ 295195 h 109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430" h="1096368">
                  <a:moveTo>
                    <a:pt x="516430" y="295195"/>
                  </a:moveTo>
                  <a:lnTo>
                    <a:pt x="516430" y="936127"/>
                  </a:lnTo>
                  <a:lnTo>
                    <a:pt x="238872" y="1096369"/>
                  </a:lnTo>
                  <a:lnTo>
                    <a:pt x="233771" y="1087496"/>
                  </a:lnTo>
                  <a:lnTo>
                    <a:pt x="506157" y="930200"/>
                  </a:lnTo>
                  <a:lnTo>
                    <a:pt x="506157" y="301086"/>
                  </a:lnTo>
                  <a:lnTo>
                    <a:pt x="0" y="8872"/>
                  </a:lnTo>
                  <a:lnTo>
                    <a:pt x="5137" y="0"/>
                  </a:lnTo>
                  <a:lnTo>
                    <a:pt x="516430" y="295195"/>
                  </a:lnTo>
                  <a:close/>
                </a:path>
              </a:pathLst>
            </a:custGeom>
            <a:grpFill/>
            <a:ln w="359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C9B288FF-2ED1-A997-0669-1C97DB2C56F9}"/>
                </a:ext>
              </a:extLst>
            </p:cNvPr>
            <p:cNvSpPr/>
            <p:nvPr/>
          </p:nvSpPr>
          <p:spPr>
            <a:xfrm>
              <a:off x="664159" y="1207540"/>
              <a:ext cx="100221" cy="100169"/>
            </a:xfrm>
            <a:custGeom>
              <a:avLst/>
              <a:gdLst>
                <a:gd name="connsiteX0" fmla="*/ 21519 w 100221"/>
                <a:gd name="connsiteY0" fmla="*/ 93281 h 100169"/>
                <a:gd name="connsiteX1" fmla="*/ 3128 w 100221"/>
                <a:gd name="connsiteY1" fmla="*/ 24841 h 100169"/>
                <a:gd name="connsiteX2" fmla="*/ 71593 w 100221"/>
                <a:gd name="connsiteY2" fmla="*/ 6464 h 100169"/>
                <a:gd name="connsiteX3" fmla="*/ 89948 w 100221"/>
                <a:gd name="connsiteY3" fmla="*/ 74904 h 100169"/>
                <a:gd name="connsiteX4" fmla="*/ 89948 w 100221"/>
                <a:gd name="connsiteY4" fmla="*/ 74926 h 100169"/>
                <a:gd name="connsiteX5" fmla="*/ 21519 w 100221"/>
                <a:gd name="connsiteY5" fmla="*/ 93281 h 10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21" h="100169">
                  <a:moveTo>
                    <a:pt x="21519" y="93281"/>
                  </a:moveTo>
                  <a:cubicBezTo>
                    <a:pt x="-2440" y="79455"/>
                    <a:pt x="-10666" y="48815"/>
                    <a:pt x="3128" y="24841"/>
                  </a:cubicBezTo>
                  <a:cubicBezTo>
                    <a:pt x="16958" y="864"/>
                    <a:pt x="47597" y="-7361"/>
                    <a:pt x="71593" y="6464"/>
                  </a:cubicBezTo>
                  <a:cubicBezTo>
                    <a:pt x="95552" y="20287"/>
                    <a:pt x="103777" y="50931"/>
                    <a:pt x="89948" y="74904"/>
                  </a:cubicBezTo>
                  <a:cubicBezTo>
                    <a:pt x="89948" y="74911"/>
                    <a:pt x="89948" y="74918"/>
                    <a:pt x="89948" y="74926"/>
                  </a:cubicBezTo>
                  <a:cubicBezTo>
                    <a:pt x="76047" y="98798"/>
                    <a:pt x="45514" y="106995"/>
                    <a:pt x="21519" y="93281"/>
                  </a:cubicBezTo>
                  <a:close/>
                </a:path>
              </a:pathLst>
            </a:custGeom>
            <a:grpFill/>
            <a:ln w="359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A42B0780-38BF-0142-D288-22F50101F7BF}"/>
                </a:ext>
              </a:extLst>
            </p:cNvPr>
            <p:cNvSpPr/>
            <p:nvPr/>
          </p:nvSpPr>
          <p:spPr>
            <a:xfrm>
              <a:off x="3119733" y="2943679"/>
              <a:ext cx="1953433" cy="1077330"/>
            </a:xfrm>
            <a:custGeom>
              <a:avLst/>
              <a:gdLst>
                <a:gd name="connsiteX0" fmla="*/ 1953434 w 1953433"/>
                <a:gd name="connsiteY0" fmla="*/ 531373 h 1077330"/>
                <a:gd name="connsiteX1" fmla="*/ 1007824 w 1953433"/>
                <a:gd name="connsiteY1" fmla="*/ 1077331 h 1077330"/>
                <a:gd name="connsiteX2" fmla="*/ 1003154 w 1953433"/>
                <a:gd name="connsiteY2" fmla="*/ 1074636 h 1077330"/>
                <a:gd name="connsiteX3" fmla="*/ 0 w 1953433"/>
                <a:gd name="connsiteY3" fmla="*/ 495453 h 1077330"/>
                <a:gd name="connsiteX4" fmla="*/ 0 w 1953433"/>
                <a:gd name="connsiteY4" fmla="*/ 0 h 1077330"/>
                <a:gd name="connsiteX5" fmla="*/ 18607 w 1953433"/>
                <a:gd name="connsiteY5" fmla="*/ 0 h 1077330"/>
                <a:gd name="connsiteX6" fmla="*/ 18607 w 1953433"/>
                <a:gd name="connsiteY6" fmla="*/ 484713 h 1077330"/>
                <a:gd name="connsiteX7" fmla="*/ 1007824 w 1953433"/>
                <a:gd name="connsiteY7" fmla="*/ 1055850 h 1077330"/>
                <a:gd name="connsiteX8" fmla="*/ 1944130 w 1953433"/>
                <a:gd name="connsiteY8" fmla="*/ 515281 h 1077330"/>
                <a:gd name="connsiteX9" fmla="*/ 1953434 w 1953433"/>
                <a:gd name="connsiteY9" fmla="*/ 531373 h 107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3433" h="1077330">
                  <a:moveTo>
                    <a:pt x="1953434" y="531373"/>
                  </a:moveTo>
                  <a:lnTo>
                    <a:pt x="1007824" y="1077331"/>
                  </a:lnTo>
                  <a:lnTo>
                    <a:pt x="1003154" y="1074636"/>
                  </a:lnTo>
                  <a:lnTo>
                    <a:pt x="0" y="495453"/>
                  </a:lnTo>
                  <a:lnTo>
                    <a:pt x="0" y="0"/>
                  </a:lnTo>
                  <a:lnTo>
                    <a:pt x="18607" y="0"/>
                  </a:lnTo>
                  <a:lnTo>
                    <a:pt x="18607" y="484713"/>
                  </a:lnTo>
                  <a:lnTo>
                    <a:pt x="1007824" y="1055850"/>
                  </a:lnTo>
                  <a:lnTo>
                    <a:pt x="1944130" y="515281"/>
                  </a:lnTo>
                  <a:lnTo>
                    <a:pt x="1953434" y="531373"/>
                  </a:lnTo>
                  <a:close/>
                </a:path>
              </a:pathLst>
            </a:custGeom>
            <a:grpFill/>
            <a:ln w="359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E167176C-ED95-D67D-649D-DDDB06337242}"/>
                </a:ext>
              </a:extLst>
            </p:cNvPr>
            <p:cNvSpPr/>
            <p:nvPr/>
          </p:nvSpPr>
          <p:spPr>
            <a:xfrm>
              <a:off x="4995516" y="3398743"/>
              <a:ext cx="139952" cy="139975"/>
            </a:xfrm>
            <a:custGeom>
              <a:avLst/>
              <a:gdLst>
                <a:gd name="connsiteX0" fmla="*/ 31417 w 139952"/>
                <a:gd name="connsiteY0" fmla="*/ 9145 h 139975"/>
                <a:gd name="connsiteX1" fmla="*/ 127001 w 139952"/>
                <a:gd name="connsiteY1" fmla="*/ 34756 h 139975"/>
                <a:gd name="connsiteX2" fmla="*/ 101391 w 139952"/>
                <a:gd name="connsiteY2" fmla="*/ 130341 h 139975"/>
                <a:gd name="connsiteX3" fmla="*/ 5806 w 139952"/>
                <a:gd name="connsiteY3" fmla="*/ 104729 h 139975"/>
                <a:gd name="connsiteX4" fmla="*/ 5806 w 139952"/>
                <a:gd name="connsiteY4" fmla="*/ 104729 h 139975"/>
                <a:gd name="connsiteX5" fmla="*/ 31417 w 139952"/>
                <a:gd name="connsiteY5" fmla="*/ 9145 h 13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952" h="139975">
                  <a:moveTo>
                    <a:pt x="31417" y="9145"/>
                  </a:moveTo>
                  <a:cubicBezTo>
                    <a:pt x="64895" y="-10181"/>
                    <a:pt x="107677" y="1278"/>
                    <a:pt x="127001" y="34756"/>
                  </a:cubicBezTo>
                  <a:cubicBezTo>
                    <a:pt x="146328" y="68234"/>
                    <a:pt x="134868" y="111015"/>
                    <a:pt x="101391" y="130341"/>
                  </a:cubicBezTo>
                  <a:cubicBezTo>
                    <a:pt x="67913" y="149666"/>
                    <a:pt x="25131" y="138207"/>
                    <a:pt x="5806" y="104729"/>
                  </a:cubicBezTo>
                  <a:cubicBezTo>
                    <a:pt x="5806" y="104729"/>
                    <a:pt x="5806" y="104729"/>
                    <a:pt x="5806" y="104729"/>
                  </a:cubicBezTo>
                  <a:cubicBezTo>
                    <a:pt x="-13483" y="71251"/>
                    <a:pt x="-2025" y="28506"/>
                    <a:pt x="31417" y="9145"/>
                  </a:cubicBezTo>
                  <a:close/>
                </a:path>
              </a:pathLst>
            </a:custGeom>
            <a:grpFill/>
            <a:ln w="359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66B75B05-668E-3B22-DB94-5A261DE51C26}"/>
                </a:ext>
              </a:extLst>
            </p:cNvPr>
            <p:cNvSpPr/>
            <p:nvPr/>
          </p:nvSpPr>
          <p:spPr>
            <a:xfrm>
              <a:off x="3038014" y="2857218"/>
              <a:ext cx="181974" cy="181973"/>
            </a:xfrm>
            <a:custGeom>
              <a:avLst/>
              <a:gdLst>
                <a:gd name="connsiteX0" fmla="*/ 178414 w 181974"/>
                <a:gd name="connsiteY0" fmla="*/ 90741 h 181973"/>
                <a:gd name="connsiteX1" fmla="*/ 87427 w 181974"/>
                <a:gd name="connsiteY1" fmla="*/ -245 h 181973"/>
                <a:gd name="connsiteX2" fmla="*/ -3560 w 181974"/>
                <a:gd name="connsiteY2" fmla="*/ 90741 h 181973"/>
                <a:gd name="connsiteX3" fmla="*/ 87427 w 181974"/>
                <a:gd name="connsiteY3" fmla="*/ 181728 h 181973"/>
                <a:gd name="connsiteX4" fmla="*/ 178414 w 181974"/>
                <a:gd name="connsiteY4" fmla="*/ 90741 h 1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974" h="181973">
                  <a:moveTo>
                    <a:pt x="178414" y="90741"/>
                  </a:moveTo>
                  <a:cubicBezTo>
                    <a:pt x="178414" y="40489"/>
                    <a:pt x="137679" y="-245"/>
                    <a:pt x="87427" y="-245"/>
                  </a:cubicBezTo>
                  <a:cubicBezTo>
                    <a:pt x="37173" y="-245"/>
                    <a:pt x="-3560" y="40489"/>
                    <a:pt x="-3560" y="90741"/>
                  </a:cubicBezTo>
                  <a:cubicBezTo>
                    <a:pt x="-3560" y="140994"/>
                    <a:pt x="37173" y="181728"/>
                    <a:pt x="87427" y="181728"/>
                  </a:cubicBezTo>
                  <a:cubicBezTo>
                    <a:pt x="137679" y="181728"/>
                    <a:pt x="178414" y="140994"/>
                    <a:pt x="178414" y="90741"/>
                  </a:cubicBezTo>
                  <a:close/>
                </a:path>
              </a:pathLst>
            </a:custGeom>
            <a:grpFill/>
            <a:ln w="359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DAC55416-22AA-E29A-F4AE-B8C56E4481A6}"/>
                </a:ext>
              </a:extLst>
            </p:cNvPr>
            <p:cNvSpPr/>
            <p:nvPr/>
          </p:nvSpPr>
          <p:spPr>
            <a:xfrm rot="19799999">
              <a:off x="3133368" y="1967587"/>
              <a:ext cx="450192" cy="18606"/>
            </a:xfrm>
            <a:custGeom>
              <a:avLst/>
              <a:gdLst>
                <a:gd name="connsiteX0" fmla="*/ -3561 w 450192"/>
                <a:gd name="connsiteY0" fmla="*/ -245 h 18606"/>
                <a:gd name="connsiteX1" fmla="*/ 446632 w 450192"/>
                <a:gd name="connsiteY1" fmla="*/ -245 h 18606"/>
                <a:gd name="connsiteX2" fmla="*/ 446632 w 450192"/>
                <a:gd name="connsiteY2" fmla="*/ 18361 h 18606"/>
                <a:gd name="connsiteX3" fmla="*/ -3561 w 450192"/>
                <a:gd name="connsiteY3" fmla="*/ 18361 h 18606"/>
              </a:gdLst>
              <a:ahLst/>
              <a:cxnLst>
                <a:cxn ang="0">
                  <a:pos x="connsiteX0" y="connsiteY0"/>
                </a:cxn>
                <a:cxn ang="0">
                  <a:pos x="connsiteX1" y="connsiteY1"/>
                </a:cxn>
                <a:cxn ang="0">
                  <a:pos x="connsiteX2" y="connsiteY2"/>
                </a:cxn>
                <a:cxn ang="0">
                  <a:pos x="connsiteX3" y="connsiteY3"/>
                </a:cxn>
              </a:cxnLst>
              <a:rect l="l" t="t" r="r" b="b"/>
              <a:pathLst>
                <a:path w="450192" h="18606">
                  <a:moveTo>
                    <a:pt x="-3561" y="-245"/>
                  </a:moveTo>
                  <a:lnTo>
                    <a:pt x="446632" y="-245"/>
                  </a:lnTo>
                  <a:lnTo>
                    <a:pt x="446632" y="18361"/>
                  </a:lnTo>
                  <a:lnTo>
                    <a:pt x="-3561" y="18361"/>
                  </a:lnTo>
                  <a:close/>
                </a:path>
              </a:pathLst>
            </a:custGeom>
            <a:grpFill/>
            <a:ln w="359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0FB30D04-F082-DE9B-BAE9-75F361BAF201}"/>
                </a:ext>
              </a:extLst>
            </p:cNvPr>
            <p:cNvSpPr/>
            <p:nvPr/>
          </p:nvSpPr>
          <p:spPr>
            <a:xfrm>
              <a:off x="3458519" y="1775740"/>
              <a:ext cx="181935" cy="181931"/>
            </a:xfrm>
            <a:custGeom>
              <a:avLst/>
              <a:gdLst>
                <a:gd name="connsiteX0" fmla="*/ 41933 w 181935"/>
                <a:gd name="connsiteY0" fmla="*/ 11948 h 181931"/>
                <a:gd name="connsiteX1" fmla="*/ 166181 w 181935"/>
                <a:gd name="connsiteY1" fmla="*/ 45254 h 181931"/>
                <a:gd name="connsiteX2" fmla="*/ 132848 w 181935"/>
                <a:gd name="connsiteY2" fmla="*/ 169493 h 181931"/>
                <a:gd name="connsiteX3" fmla="*/ 8634 w 181935"/>
                <a:gd name="connsiteY3" fmla="*/ 136198 h 181931"/>
                <a:gd name="connsiteX4" fmla="*/ 41933 w 181935"/>
                <a:gd name="connsiteY4" fmla="*/ 11956 h 181931"/>
                <a:gd name="connsiteX5" fmla="*/ 41933 w 181935"/>
                <a:gd name="connsiteY5" fmla="*/ 11948 h 18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35" h="181931">
                  <a:moveTo>
                    <a:pt x="41933" y="11948"/>
                  </a:moveTo>
                  <a:cubicBezTo>
                    <a:pt x="85432" y="-13160"/>
                    <a:pt x="141074" y="1751"/>
                    <a:pt x="166181" y="45254"/>
                  </a:cubicBezTo>
                  <a:cubicBezTo>
                    <a:pt x="191291" y="88757"/>
                    <a:pt x="176384" y="144381"/>
                    <a:pt x="132848" y="169493"/>
                  </a:cubicBezTo>
                  <a:cubicBezTo>
                    <a:pt x="89349" y="194598"/>
                    <a:pt x="33744" y="179694"/>
                    <a:pt x="8634" y="136198"/>
                  </a:cubicBezTo>
                  <a:cubicBezTo>
                    <a:pt x="-16473" y="92698"/>
                    <a:pt x="-1567" y="37071"/>
                    <a:pt x="41933" y="11956"/>
                  </a:cubicBezTo>
                  <a:cubicBezTo>
                    <a:pt x="41933" y="11952"/>
                    <a:pt x="41933" y="11952"/>
                    <a:pt x="41933" y="11948"/>
                  </a:cubicBezTo>
                  <a:close/>
                </a:path>
              </a:pathLst>
            </a:custGeom>
            <a:grpFill/>
            <a:ln w="359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A2DD97D4-FF72-EFBD-3F7A-D2A88ED95BEE}"/>
                </a:ext>
              </a:extLst>
            </p:cNvPr>
            <p:cNvSpPr/>
            <p:nvPr/>
          </p:nvSpPr>
          <p:spPr>
            <a:xfrm>
              <a:off x="3123466" y="2046449"/>
              <a:ext cx="83985" cy="83996"/>
            </a:xfrm>
            <a:custGeom>
              <a:avLst/>
              <a:gdLst>
                <a:gd name="connsiteX0" fmla="*/ 17348 w 83985"/>
                <a:gd name="connsiteY0" fmla="*/ 5436 h 83996"/>
                <a:gd name="connsiteX1" fmla="*/ 2119 w 83985"/>
                <a:gd name="connsiteY1" fmla="*/ 62830 h 83996"/>
                <a:gd name="connsiteX2" fmla="*/ 59520 w 83985"/>
                <a:gd name="connsiteY2" fmla="*/ 78071 h 83996"/>
                <a:gd name="connsiteX3" fmla="*/ 74821 w 83985"/>
                <a:gd name="connsiteY3" fmla="*/ 20810 h 83996"/>
                <a:gd name="connsiteX4" fmla="*/ 17492 w 83985"/>
                <a:gd name="connsiteY4" fmla="*/ 5357 h 83996"/>
                <a:gd name="connsiteX5" fmla="*/ 17348 w 83985"/>
                <a:gd name="connsiteY5" fmla="*/ 5436 h 83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985" h="83996">
                  <a:moveTo>
                    <a:pt x="17348" y="5436"/>
                  </a:moveTo>
                  <a:cubicBezTo>
                    <a:pt x="-2696" y="17078"/>
                    <a:pt x="-9520" y="42775"/>
                    <a:pt x="2119" y="62830"/>
                  </a:cubicBezTo>
                  <a:cubicBezTo>
                    <a:pt x="13756" y="82888"/>
                    <a:pt x="39439" y="89713"/>
                    <a:pt x="59520" y="78071"/>
                  </a:cubicBezTo>
                  <a:cubicBezTo>
                    <a:pt x="79527" y="66461"/>
                    <a:pt x="86352" y="40857"/>
                    <a:pt x="74821" y="20810"/>
                  </a:cubicBezTo>
                  <a:cubicBezTo>
                    <a:pt x="63256" y="709"/>
                    <a:pt x="37571" y="-6209"/>
                    <a:pt x="17492" y="5357"/>
                  </a:cubicBezTo>
                  <a:cubicBezTo>
                    <a:pt x="17420" y="5386"/>
                    <a:pt x="17385" y="5411"/>
                    <a:pt x="17348" y="5436"/>
                  </a:cubicBezTo>
                  <a:close/>
                </a:path>
              </a:pathLst>
            </a:custGeom>
            <a:grpFill/>
            <a:ln w="359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4E1E2540-EFEE-4052-E8DD-10FC851D4C98}"/>
                </a:ext>
              </a:extLst>
            </p:cNvPr>
            <p:cNvSpPr/>
            <p:nvPr/>
          </p:nvSpPr>
          <p:spPr>
            <a:xfrm>
              <a:off x="4197746" y="1451179"/>
              <a:ext cx="937635" cy="1990647"/>
            </a:xfrm>
            <a:custGeom>
              <a:avLst/>
              <a:gdLst>
                <a:gd name="connsiteX0" fmla="*/ 937635 w 937635"/>
                <a:gd name="connsiteY0" fmla="*/ 535971 h 1990647"/>
                <a:gd name="connsiteX1" fmla="*/ 937635 w 937635"/>
                <a:gd name="connsiteY1" fmla="*/ 1699727 h 1990647"/>
                <a:gd name="connsiteX2" fmla="*/ 433705 w 937635"/>
                <a:gd name="connsiteY2" fmla="*/ 1990648 h 1990647"/>
                <a:gd name="connsiteX3" fmla="*/ 424402 w 937635"/>
                <a:gd name="connsiteY3" fmla="*/ 1974519 h 1990647"/>
                <a:gd name="connsiteX4" fmla="*/ 919028 w 937635"/>
                <a:gd name="connsiteY4" fmla="*/ 1688986 h 1990647"/>
                <a:gd name="connsiteX5" fmla="*/ 919028 w 937635"/>
                <a:gd name="connsiteY5" fmla="*/ 546711 h 1990647"/>
                <a:gd name="connsiteX6" fmla="*/ 0 w 937635"/>
                <a:gd name="connsiteY6" fmla="*/ 16092 h 1990647"/>
                <a:gd name="connsiteX7" fmla="*/ 9304 w 937635"/>
                <a:gd name="connsiteY7" fmla="*/ 0 h 1990647"/>
                <a:gd name="connsiteX8" fmla="*/ 937635 w 937635"/>
                <a:gd name="connsiteY8" fmla="*/ 535971 h 199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7635" h="1990647">
                  <a:moveTo>
                    <a:pt x="937635" y="535971"/>
                  </a:moveTo>
                  <a:lnTo>
                    <a:pt x="937635" y="1699727"/>
                  </a:lnTo>
                  <a:lnTo>
                    <a:pt x="433705" y="1990648"/>
                  </a:lnTo>
                  <a:lnTo>
                    <a:pt x="424402" y="1974519"/>
                  </a:lnTo>
                  <a:lnTo>
                    <a:pt x="919028" y="1688986"/>
                  </a:lnTo>
                  <a:lnTo>
                    <a:pt x="919028" y="546711"/>
                  </a:lnTo>
                  <a:lnTo>
                    <a:pt x="0" y="16092"/>
                  </a:lnTo>
                  <a:lnTo>
                    <a:pt x="9304" y="0"/>
                  </a:lnTo>
                  <a:lnTo>
                    <a:pt x="937635" y="535971"/>
                  </a:lnTo>
                  <a:close/>
                </a:path>
              </a:pathLst>
            </a:custGeom>
            <a:grpFill/>
            <a:ln w="359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C03B0C2F-3176-A0D5-CABB-B621A8CA1C2A}"/>
                </a:ext>
              </a:extLst>
            </p:cNvPr>
            <p:cNvSpPr/>
            <p:nvPr/>
          </p:nvSpPr>
          <p:spPr>
            <a:xfrm>
              <a:off x="4115365" y="1370548"/>
              <a:ext cx="181921" cy="181932"/>
            </a:xfrm>
            <a:custGeom>
              <a:avLst/>
              <a:gdLst>
                <a:gd name="connsiteX0" fmla="*/ 41895 w 181921"/>
                <a:gd name="connsiteY0" fmla="*/ 169469 h 181932"/>
                <a:gd name="connsiteX1" fmla="*/ 8669 w 181921"/>
                <a:gd name="connsiteY1" fmla="*/ 45216 h 181932"/>
                <a:gd name="connsiteX2" fmla="*/ 132918 w 181921"/>
                <a:gd name="connsiteY2" fmla="*/ 11971 h 181932"/>
                <a:gd name="connsiteX3" fmla="*/ 166181 w 181921"/>
                <a:gd name="connsiteY3" fmla="*/ 136170 h 181932"/>
                <a:gd name="connsiteX4" fmla="*/ 41967 w 181921"/>
                <a:gd name="connsiteY4" fmla="*/ 169501 h 181932"/>
                <a:gd name="connsiteX5" fmla="*/ 41895 w 181921"/>
                <a:gd name="connsiteY5" fmla="*/ 169469 h 18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21" h="181932">
                  <a:moveTo>
                    <a:pt x="41895" y="169469"/>
                  </a:moveTo>
                  <a:cubicBezTo>
                    <a:pt x="-1604" y="144339"/>
                    <a:pt x="-16476" y="88708"/>
                    <a:pt x="8669" y="45216"/>
                  </a:cubicBezTo>
                  <a:cubicBezTo>
                    <a:pt x="33776" y="1723"/>
                    <a:pt x="89418" y="-13159"/>
                    <a:pt x="132918" y="11971"/>
                  </a:cubicBezTo>
                  <a:cubicBezTo>
                    <a:pt x="176382" y="37090"/>
                    <a:pt x="191254" y="92681"/>
                    <a:pt x="166181" y="136170"/>
                  </a:cubicBezTo>
                  <a:cubicBezTo>
                    <a:pt x="141072" y="179681"/>
                    <a:pt x="85467" y="194602"/>
                    <a:pt x="41967" y="169501"/>
                  </a:cubicBezTo>
                  <a:cubicBezTo>
                    <a:pt x="41930" y="169490"/>
                    <a:pt x="41895" y="169479"/>
                    <a:pt x="41895" y="169469"/>
                  </a:cubicBezTo>
                  <a:close/>
                </a:path>
              </a:pathLst>
            </a:custGeom>
            <a:grpFill/>
            <a:ln w="359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6BCAD37E-6943-F044-F197-2CAD7B519C75}"/>
                </a:ext>
              </a:extLst>
            </p:cNvPr>
            <p:cNvSpPr/>
            <p:nvPr/>
          </p:nvSpPr>
          <p:spPr>
            <a:xfrm>
              <a:off x="315018" y="325319"/>
              <a:ext cx="1131965" cy="928762"/>
            </a:xfrm>
            <a:custGeom>
              <a:avLst/>
              <a:gdLst>
                <a:gd name="connsiteX0" fmla="*/ 1131966 w 1131965"/>
                <a:gd name="connsiteY0" fmla="*/ 326770 h 928762"/>
                <a:gd name="connsiteX1" fmla="*/ 1131966 w 1131965"/>
                <a:gd name="connsiteY1" fmla="*/ 928763 h 928762"/>
                <a:gd name="connsiteX2" fmla="*/ 1121513 w 1131965"/>
                <a:gd name="connsiteY2" fmla="*/ 928763 h 928762"/>
                <a:gd name="connsiteX3" fmla="*/ 1121513 w 1131965"/>
                <a:gd name="connsiteY3" fmla="*/ 332804 h 928762"/>
                <a:gd name="connsiteX4" fmla="*/ 565965 w 1131965"/>
                <a:gd name="connsiteY4" fmla="*/ 12069 h 928762"/>
                <a:gd name="connsiteX5" fmla="*/ 10453 w 1131965"/>
                <a:gd name="connsiteY5" fmla="*/ 332804 h 928762"/>
                <a:gd name="connsiteX6" fmla="*/ 10453 w 1131965"/>
                <a:gd name="connsiteY6" fmla="*/ 623689 h 928762"/>
                <a:gd name="connsiteX7" fmla="*/ 0 w 1131965"/>
                <a:gd name="connsiteY7" fmla="*/ 623689 h 928762"/>
                <a:gd name="connsiteX8" fmla="*/ 0 w 1131965"/>
                <a:gd name="connsiteY8" fmla="*/ 326770 h 928762"/>
                <a:gd name="connsiteX9" fmla="*/ 565965 w 1131965"/>
                <a:gd name="connsiteY9" fmla="*/ 0 h 928762"/>
                <a:gd name="connsiteX10" fmla="*/ 1131966 w 1131965"/>
                <a:gd name="connsiteY10" fmla="*/ 326770 h 92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1965" h="928762">
                  <a:moveTo>
                    <a:pt x="1131966" y="326770"/>
                  </a:moveTo>
                  <a:lnTo>
                    <a:pt x="1131966" y="928763"/>
                  </a:lnTo>
                  <a:lnTo>
                    <a:pt x="1121513" y="928763"/>
                  </a:lnTo>
                  <a:lnTo>
                    <a:pt x="1121513" y="332804"/>
                  </a:lnTo>
                  <a:lnTo>
                    <a:pt x="565965" y="12069"/>
                  </a:lnTo>
                  <a:lnTo>
                    <a:pt x="10453" y="332804"/>
                  </a:lnTo>
                  <a:lnTo>
                    <a:pt x="10453" y="623689"/>
                  </a:lnTo>
                  <a:lnTo>
                    <a:pt x="0" y="623689"/>
                  </a:lnTo>
                  <a:lnTo>
                    <a:pt x="0" y="326770"/>
                  </a:lnTo>
                  <a:lnTo>
                    <a:pt x="565965" y="0"/>
                  </a:lnTo>
                  <a:lnTo>
                    <a:pt x="1131966" y="326770"/>
                  </a:lnTo>
                  <a:close/>
                </a:path>
              </a:pathLst>
            </a:custGeom>
            <a:grpFill/>
            <a:ln w="359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B47171E5-77BC-C49D-389E-13A0DD61D435}"/>
                </a:ext>
              </a:extLst>
            </p:cNvPr>
            <p:cNvSpPr/>
            <p:nvPr/>
          </p:nvSpPr>
          <p:spPr>
            <a:xfrm>
              <a:off x="288795" y="915997"/>
              <a:ext cx="62861" cy="62861"/>
            </a:xfrm>
            <a:custGeom>
              <a:avLst/>
              <a:gdLst>
                <a:gd name="connsiteX0" fmla="*/ 59301 w 62861"/>
                <a:gd name="connsiteY0" fmla="*/ 31185 h 62861"/>
                <a:gd name="connsiteX1" fmla="*/ 27870 w 62861"/>
                <a:gd name="connsiteY1" fmla="*/ 62616 h 62861"/>
                <a:gd name="connsiteX2" fmla="*/ -3560 w 62861"/>
                <a:gd name="connsiteY2" fmla="*/ 31185 h 62861"/>
                <a:gd name="connsiteX3" fmla="*/ 27870 w 62861"/>
                <a:gd name="connsiteY3" fmla="*/ -245 h 62861"/>
                <a:gd name="connsiteX4" fmla="*/ 59301 w 62861"/>
                <a:gd name="connsiteY4" fmla="*/ 31185 h 6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61" h="62861">
                  <a:moveTo>
                    <a:pt x="59301" y="31185"/>
                  </a:moveTo>
                  <a:cubicBezTo>
                    <a:pt x="59301" y="48542"/>
                    <a:pt x="45220" y="62616"/>
                    <a:pt x="27870" y="62616"/>
                  </a:cubicBezTo>
                  <a:cubicBezTo>
                    <a:pt x="10521" y="62616"/>
                    <a:pt x="-3560" y="48542"/>
                    <a:pt x="-3560" y="31185"/>
                  </a:cubicBezTo>
                  <a:cubicBezTo>
                    <a:pt x="-3560" y="13828"/>
                    <a:pt x="10521" y="-245"/>
                    <a:pt x="27870" y="-245"/>
                  </a:cubicBezTo>
                  <a:cubicBezTo>
                    <a:pt x="45220" y="-245"/>
                    <a:pt x="59301" y="13828"/>
                    <a:pt x="59301" y="31185"/>
                  </a:cubicBezTo>
                  <a:close/>
                </a:path>
              </a:pathLst>
            </a:custGeom>
            <a:grpFill/>
            <a:ln w="359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CA6F7AF3-9A3C-C5CB-8279-9F2E0243A55C}"/>
                </a:ext>
              </a:extLst>
            </p:cNvPr>
            <p:cNvSpPr/>
            <p:nvPr/>
          </p:nvSpPr>
          <p:spPr>
            <a:xfrm>
              <a:off x="1390659" y="1200453"/>
              <a:ext cx="102158" cy="102158"/>
            </a:xfrm>
            <a:custGeom>
              <a:avLst/>
              <a:gdLst>
                <a:gd name="connsiteX0" fmla="*/ -3560 w 102158"/>
                <a:gd name="connsiteY0" fmla="*/ 50834 h 102158"/>
                <a:gd name="connsiteX1" fmla="*/ 47519 w 102158"/>
                <a:gd name="connsiteY1" fmla="*/ 101913 h 102158"/>
                <a:gd name="connsiteX2" fmla="*/ 98599 w 102158"/>
                <a:gd name="connsiteY2" fmla="*/ 50834 h 102158"/>
                <a:gd name="connsiteX3" fmla="*/ 47519 w 102158"/>
                <a:gd name="connsiteY3" fmla="*/ -245 h 102158"/>
                <a:gd name="connsiteX4" fmla="*/ -3560 w 102158"/>
                <a:gd name="connsiteY4" fmla="*/ 50834 h 10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58" h="102158">
                  <a:moveTo>
                    <a:pt x="-3560" y="50834"/>
                  </a:moveTo>
                  <a:cubicBezTo>
                    <a:pt x="-3560" y="79046"/>
                    <a:pt x="19322" y="101913"/>
                    <a:pt x="47519" y="101913"/>
                  </a:cubicBezTo>
                  <a:cubicBezTo>
                    <a:pt x="75717" y="101913"/>
                    <a:pt x="98599" y="79042"/>
                    <a:pt x="98599" y="50834"/>
                  </a:cubicBezTo>
                  <a:cubicBezTo>
                    <a:pt x="98599" y="22625"/>
                    <a:pt x="75717" y="-245"/>
                    <a:pt x="47519" y="-245"/>
                  </a:cubicBezTo>
                  <a:cubicBezTo>
                    <a:pt x="19322" y="-245"/>
                    <a:pt x="-3560" y="22625"/>
                    <a:pt x="-3560" y="50834"/>
                  </a:cubicBezTo>
                  <a:close/>
                </a:path>
              </a:pathLst>
            </a:custGeom>
            <a:grpFill/>
            <a:ln w="359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1346F211-3F19-D23C-893D-90CE4E0C51E4}"/>
                </a:ext>
              </a:extLst>
            </p:cNvPr>
            <p:cNvSpPr/>
            <p:nvPr/>
          </p:nvSpPr>
          <p:spPr>
            <a:xfrm>
              <a:off x="6758274" y="4546564"/>
              <a:ext cx="880736" cy="556984"/>
            </a:xfrm>
            <a:custGeom>
              <a:avLst/>
              <a:gdLst>
                <a:gd name="connsiteX0" fmla="*/ 880737 w 880736"/>
                <a:gd name="connsiteY0" fmla="*/ 326770 h 556984"/>
                <a:gd name="connsiteX1" fmla="*/ 880737 w 880736"/>
                <a:gd name="connsiteY1" fmla="*/ 556985 h 556984"/>
                <a:gd name="connsiteX2" fmla="*/ 870284 w 880736"/>
                <a:gd name="connsiteY2" fmla="*/ 556985 h 556984"/>
                <a:gd name="connsiteX3" fmla="*/ 870284 w 880736"/>
                <a:gd name="connsiteY3" fmla="*/ 332804 h 556984"/>
                <a:gd name="connsiteX4" fmla="*/ 314736 w 880736"/>
                <a:gd name="connsiteY4" fmla="*/ 12069 h 556984"/>
                <a:gd name="connsiteX5" fmla="*/ 5208 w 880736"/>
                <a:gd name="connsiteY5" fmla="*/ 190774 h 556984"/>
                <a:gd name="connsiteX6" fmla="*/ 0 w 880736"/>
                <a:gd name="connsiteY6" fmla="*/ 181722 h 556984"/>
                <a:gd name="connsiteX7" fmla="*/ 314736 w 880736"/>
                <a:gd name="connsiteY7" fmla="*/ 0 h 556984"/>
                <a:gd name="connsiteX8" fmla="*/ 880737 w 880736"/>
                <a:gd name="connsiteY8" fmla="*/ 326770 h 556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0736" h="556984">
                  <a:moveTo>
                    <a:pt x="880737" y="326770"/>
                  </a:moveTo>
                  <a:lnTo>
                    <a:pt x="880737" y="556985"/>
                  </a:lnTo>
                  <a:lnTo>
                    <a:pt x="870284" y="556985"/>
                  </a:lnTo>
                  <a:lnTo>
                    <a:pt x="870284" y="332804"/>
                  </a:lnTo>
                  <a:lnTo>
                    <a:pt x="314736" y="12069"/>
                  </a:lnTo>
                  <a:lnTo>
                    <a:pt x="5208" y="190774"/>
                  </a:lnTo>
                  <a:lnTo>
                    <a:pt x="0" y="181722"/>
                  </a:lnTo>
                  <a:lnTo>
                    <a:pt x="314736" y="0"/>
                  </a:lnTo>
                  <a:lnTo>
                    <a:pt x="880737" y="326770"/>
                  </a:lnTo>
                  <a:close/>
                </a:path>
              </a:pathLst>
            </a:custGeom>
            <a:grpFill/>
            <a:ln w="359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A5AD9FA9-399D-7E9D-F492-471AF5EAD1C9}"/>
                </a:ext>
              </a:extLst>
            </p:cNvPr>
            <p:cNvSpPr/>
            <p:nvPr/>
          </p:nvSpPr>
          <p:spPr>
            <a:xfrm>
              <a:off x="6715798" y="4684459"/>
              <a:ext cx="94275" cy="94277"/>
            </a:xfrm>
            <a:custGeom>
              <a:avLst/>
              <a:gdLst>
                <a:gd name="connsiteX0" fmla="*/ 67114 w 94275"/>
                <a:gd name="connsiteY0" fmla="*/ 87728 h 94277"/>
                <a:gd name="connsiteX1" fmla="*/ 2745 w 94275"/>
                <a:gd name="connsiteY1" fmla="*/ 70414 h 94277"/>
                <a:gd name="connsiteX2" fmla="*/ 20058 w 94275"/>
                <a:gd name="connsiteY2" fmla="*/ 6044 h 94277"/>
                <a:gd name="connsiteX3" fmla="*/ 84392 w 94275"/>
                <a:gd name="connsiteY3" fmla="*/ 23322 h 94277"/>
                <a:gd name="connsiteX4" fmla="*/ 67149 w 94275"/>
                <a:gd name="connsiteY4" fmla="*/ 87692 h 94277"/>
                <a:gd name="connsiteX5" fmla="*/ 67114 w 94275"/>
                <a:gd name="connsiteY5" fmla="*/ 87728 h 9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275" h="94277">
                  <a:moveTo>
                    <a:pt x="67114" y="87728"/>
                  </a:moveTo>
                  <a:cubicBezTo>
                    <a:pt x="44555" y="100731"/>
                    <a:pt x="15747" y="92973"/>
                    <a:pt x="2745" y="70414"/>
                  </a:cubicBezTo>
                  <a:cubicBezTo>
                    <a:pt x="-10259" y="47892"/>
                    <a:pt x="-2500" y="19048"/>
                    <a:pt x="20058" y="6044"/>
                  </a:cubicBezTo>
                  <a:cubicBezTo>
                    <a:pt x="42580" y="-6923"/>
                    <a:pt x="71388" y="800"/>
                    <a:pt x="84392" y="23322"/>
                  </a:cubicBezTo>
                  <a:cubicBezTo>
                    <a:pt x="97396" y="45845"/>
                    <a:pt x="89708" y="74689"/>
                    <a:pt x="67149" y="87692"/>
                  </a:cubicBezTo>
                  <a:cubicBezTo>
                    <a:pt x="67149" y="87728"/>
                    <a:pt x="67114" y="87728"/>
                    <a:pt x="67114" y="87728"/>
                  </a:cubicBezTo>
                  <a:close/>
                </a:path>
              </a:pathLst>
            </a:custGeom>
            <a:grpFill/>
            <a:ln w="359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CC83F2F6-FEE7-9125-CB41-586C9EE753A8}"/>
                </a:ext>
              </a:extLst>
            </p:cNvPr>
            <p:cNvSpPr/>
            <p:nvPr/>
          </p:nvSpPr>
          <p:spPr>
            <a:xfrm>
              <a:off x="7598421" y="5066407"/>
              <a:ext cx="70762" cy="70763"/>
            </a:xfrm>
            <a:custGeom>
              <a:avLst/>
              <a:gdLst>
                <a:gd name="connsiteX0" fmla="*/ -3560 w 70762"/>
                <a:gd name="connsiteY0" fmla="*/ 35100 h 70763"/>
                <a:gd name="connsiteX1" fmla="*/ 31785 w 70762"/>
                <a:gd name="connsiteY1" fmla="*/ 70518 h 70763"/>
                <a:gd name="connsiteX2" fmla="*/ 67202 w 70762"/>
                <a:gd name="connsiteY2" fmla="*/ 35172 h 70763"/>
                <a:gd name="connsiteX3" fmla="*/ 31857 w 70762"/>
                <a:gd name="connsiteY3" fmla="*/ -245 h 70763"/>
                <a:gd name="connsiteX4" fmla="*/ 31785 w 70762"/>
                <a:gd name="connsiteY4" fmla="*/ -245 h 70763"/>
                <a:gd name="connsiteX5" fmla="*/ -3560 w 70762"/>
                <a:gd name="connsiteY5" fmla="*/ 35100 h 7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762" h="70763">
                  <a:moveTo>
                    <a:pt x="-3560" y="35100"/>
                  </a:moveTo>
                  <a:cubicBezTo>
                    <a:pt x="-3597" y="54641"/>
                    <a:pt x="12245" y="70482"/>
                    <a:pt x="31785" y="70518"/>
                  </a:cubicBezTo>
                  <a:cubicBezTo>
                    <a:pt x="51326" y="70554"/>
                    <a:pt x="67167" y="54713"/>
                    <a:pt x="67202" y="35172"/>
                  </a:cubicBezTo>
                  <a:cubicBezTo>
                    <a:pt x="67239" y="15631"/>
                    <a:pt x="51398" y="-210"/>
                    <a:pt x="31857" y="-245"/>
                  </a:cubicBezTo>
                  <a:cubicBezTo>
                    <a:pt x="31822" y="-245"/>
                    <a:pt x="31822" y="-245"/>
                    <a:pt x="31785" y="-245"/>
                  </a:cubicBezTo>
                  <a:cubicBezTo>
                    <a:pt x="12280" y="-210"/>
                    <a:pt x="-3525" y="15595"/>
                    <a:pt x="-3560" y="35100"/>
                  </a:cubicBezTo>
                  <a:close/>
                </a:path>
              </a:pathLst>
            </a:custGeom>
            <a:grpFill/>
            <a:ln w="359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320D40B9-4F36-AA20-4FDA-DB9AE28D3458}"/>
                </a:ext>
              </a:extLst>
            </p:cNvPr>
            <p:cNvSpPr/>
            <p:nvPr/>
          </p:nvSpPr>
          <p:spPr>
            <a:xfrm>
              <a:off x="7055265" y="3600416"/>
              <a:ext cx="568623" cy="975783"/>
            </a:xfrm>
            <a:custGeom>
              <a:avLst/>
              <a:gdLst>
                <a:gd name="connsiteX0" fmla="*/ 568623 w 568623"/>
                <a:gd name="connsiteY0" fmla="*/ 966767 h 975783"/>
                <a:gd name="connsiteX1" fmla="*/ 563378 w 568623"/>
                <a:gd name="connsiteY1" fmla="*/ 975783 h 975783"/>
                <a:gd name="connsiteX2" fmla="*/ 0 w 568623"/>
                <a:gd name="connsiteY2" fmla="*/ 650522 h 975783"/>
                <a:gd name="connsiteX3" fmla="*/ 0 w 568623"/>
                <a:gd name="connsiteY3" fmla="*/ 0 h 975783"/>
                <a:gd name="connsiteX4" fmla="*/ 10453 w 568623"/>
                <a:gd name="connsiteY4" fmla="*/ 0 h 975783"/>
                <a:gd name="connsiteX5" fmla="*/ 10453 w 568623"/>
                <a:gd name="connsiteY5" fmla="*/ 644488 h 975783"/>
                <a:gd name="connsiteX6" fmla="*/ 568623 w 568623"/>
                <a:gd name="connsiteY6" fmla="*/ 966767 h 975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623" h="975783">
                  <a:moveTo>
                    <a:pt x="568623" y="966767"/>
                  </a:moveTo>
                  <a:lnTo>
                    <a:pt x="563378" y="975783"/>
                  </a:lnTo>
                  <a:lnTo>
                    <a:pt x="0" y="650522"/>
                  </a:lnTo>
                  <a:lnTo>
                    <a:pt x="0" y="0"/>
                  </a:lnTo>
                  <a:lnTo>
                    <a:pt x="10453" y="0"/>
                  </a:lnTo>
                  <a:lnTo>
                    <a:pt x="10453" y="644488"/>
                  </a:lnTo>
                  <a:lnTo>
                    <a:pt x="568623" y="966767"/>
                  </a:lnTo>
                  <a:close/>
                </a:path>
              </a:pathLst>
            </a:custGeom>
            <a:grpFill/>
            <a:ln w="359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1F2AC256-6D52-08E4-8CCF-08927AF9C343}"/>
                </a:ext>
              </a:extLst>
            </p:cNvPr>
            <p:cNvSpPr/>
            <p:nvPr/>
          </p:nvSpPr>
          <p:spPr>
            <a:xfrm>
              <a:off x="6626481" y="1365256"/>
              <a:ext cx="1131965" cy="928798"/>
            </a:xfrm>
            <a:custGeom>
              <a:avLst/>
              <a:gdLst>
                <a:gd name="connsiteX0" fmla="*/ 1131966 w 1131965"/>
                <a:gd name="connsiteY0" fmla="*/ 326770 h 928798"/>
                <a:gd name="connsiteX1" fmla="*/ 1131966 w 1131965"/>
                <a:gd name="connsiteY1" fmla="*/ 928799 h 928798"/>
                <a:gd name="connsiteX2" fmla="*/ 1121513 w 1131965"/>
                <a:gd name="connsiteY2" fmla="*/ 928799 h 928798"/>
                <a:gd name="connsiteX3" fmla="*/ 1121513 w 1131965"/>
                <a:gd name="connsiteY3" fmla="*/ 332804 h 928798"/>
                <a:gd name="connsiteX4" fmla="*/ 565965 w 1131965"/>
                <a:gd name="connsiteY4" fmla="*/ 12069 h 928798"/>
                <a:gd name="connsiteX5" fmla="*/ 10453 w 1131965"/>
                <a:gd name="connsiteY5" fmla="*/ 332804 h 928798"/>
                <a:gd name="connsiteX6" fmla="*/ 10453 w 1131965"/>
                <a:gd name="connsiteY6" fmla="*/ 623689 h 928798"/>
                <a:gd name="connsiteX7" fmla="*/ 0 w 1131965"/>
                <a:gd name="connsiteY7" fmla="*/ 623689 h 928798"/>
                <a:gd name="connsiteX8" fmla="*/ 0 w 1131965"/>
                <a:gd name="connsiteY8" fmla="*/ 326770 h 928798"/>
                <a:gd name="connsiteX9" fmla="*/ 2586 w 1131965"/>
                <a:gd name="connsiteY9" fmla="*/ 325261 h 928798"/>
                <a:gd name="connsiteX10" fmla="*/ 565965 w 1131965"/>
                <a:gd name="connsiteY10" fmla="*/ 0 h 928798"/>
                <a:gd name="connsiteX11" fmla="*/ 1131966 w 1131965"/>
                <a:gd name="connsiteY11" fmla="*/ 326770 h 92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1965" h="928798">
                  <a:moveTo>
                    <a:pt x="1131966" y="326770"/>
                  </a:moveTo>
                  <a:lnTo>
                    <a:pt x="1131966" y="928799"/>
                  </a:lnTo>
                  <a:lnTo>
                    <a:pt x="1121513" y="928799"/>
                  </a:lnTo>
                  <a:lnTo>
                    <a:pt x="1121513" y="332804"/>
                  </a:lnTo>
                  <a:lnTo>
                    <a:pt x="565965" y="12069"/>
                  </a:lnTo>
                  <a:lnTo>
                    <a:pt x="10453" y="332804"/>
                  </a:lnTo>
                  <a:lnTo>
                    <a:pt x="10453" y="623689"/>
                  </a:lnTo>
                  <a:lnTo>
                    <a:pt x="0" y="623689"/>
                  </a:lnTo>
                  <a:lnTo>
                    <a:pt x="0" y="326770"/>
                  </a:lnTo>
                  <a:lnTo>
                    <a:pt x="2586" y="325261"/>
                  </a:lnTo>
                  <a:lnTo>
                    <a:pt x="565965" y="0"/>
                  </a:lnTo>
                  <a:lnTo>
                    <a:pt x="1131966" y="326770"/>
                  </a:lnTo>
                  <a:close/>
                </a:path>
              </a:pathLst>
            </a:custGeom>
            <a:grpFill/>
            <a:ln w="359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98517C9F-6992-6E96-D9E9-2C8AD43A2C36}"/>
                </a:ext>
              </a:extLst>
            </p:cNvPr>
            <p:cNvSpPr/>
            <p:nvPr/>
          </p:nvSpPr>
          <p:spPr>
            <a:xfrm>
              <a:off x="6600260" y="1955935"/>
              <a:ext cx="62861" cy="62861"/>
            </a:xfrm>
            <a:custGeom>
              <a:avLst/>
              <a:gdLst>
                <a:gd name="connsiteX0" fmla="*/ 59301 w 62861"/>
                <a:gd name="connsiteY0" fmla="*/ 31185 h 62861"/>
                <a:gd name="connsiteX1" fmla="*/ 27870 w 62861"/>
                <a:gd name="connsiteY1" fmla="*/ 62616 h 62861"/>
                <a:gd name="connsiteX2" fmla="*/ -3560 w 62861"/>
                <a:gd name="connsiteY2" fmla="*/ 31185 h 62861"/>
                <a:gd name="connsiteX3" fmla="*/ 27870 w 62861"/>
                <a:gd name="connsiteY3" fmla="*/ -245 h 62861"/>
                <a:gd name="connsiteX4" fmla="*/ 27977 w 62861"/>
                <a:gd name="connsiteY4" fmla="*/ -245 h 62861"/>
                <a:gd name="connsiteX5" fmla="*/ 59301 w 62861"/>
                <a:gd name="connsiteY5" fmla="*/ 31185 h 6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61" h="62861">
                  <a:moveTo>
                    <a:pt x="59301" y="31185"/>
                  </a:moveTo>
                  <a:cubicBezTo>
                    <a:pt x="59301" y="48546"/>
                    <a:pt x="45219" y="62616"/>
                    <a:pt x="27870" y="62616"/>
                  </a:cubicBezTo>
                  <a:cubicBezTo>
                    <a:pt x="10520" y="62616"/>
                    <a:pt x="-3560" y="48542"/>
                    <a:pt x="-3560" y="31185"/>
                  </a:cubicBezTo>
                  <a:cubicBezTo>
                    <a:pt x="-3560" y="13825"/>
                    <a:pt x="10520" y="-245"/>
                    <a:pt x="27870" y="-245"/>
                  </a:cubicBezTo>
                  <a:cubicBezTo>
                    <a:pt x="27905" y="-245"/>
                    <a:pt x="27942" y="-245"/>
                    <a:pt x="27977" y="-245"/>
                  </a:cubicBezTo>
                  <a:cubicBezTo>
                    <a:pt x="45290" y="-184"/>
                    <a:pt x="59301" y="13868"/>
                    <a:pt x="59301" y="31185"/>
                  </a:cubicBezTo>
                  <a:close/>
                </a:path>
              </a:pathLst>
            </a:custGeom>
            <a:grpFill/>
            <a:ln w="359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6F7AE9BB-AF87-48BF-7E94-6B5980A4C419}"/>
                </a:ext>
              </a:extLst>
            </p:cNvPr>
            <p:cNvSpPr/>
            <p:nvPr/>
          </p:nvSpPr>
          <p:spPr>
            <a:xfrm>
              <a:off x="7702231" y="2240390"/>
              <a:ext cx="102157" cy="102158"/>
            </a:xfrm>
            <a:custGeom>
              <a:avLst/>
              <a:gdLst>
                <a:gd name="connsiteX0" fmla="*/ -3560 w 102157"/>
                <a:gd name="connsiteY0" fmla="*/ 50834 h 102158"/>
                <a:gd name="connsiteX1" fmla="*/ 47520 w 102157"/>
                <a:gd name="connsiteY1" fmla="*/ 101913 h 102158"/>
                <a:gd name="connsiteX2" fmla="*/ 98598 w 102157"/>
                <a:gd name="connsiteY2" fmla="*/ 50834 h 102158"/>
                <a:gd name="connsiteX3" fmla="*/ 47520 w 102157"/>
                <a:gd name="connsiteY3" fmla="*/ -245 h 102158"/>
                <a:gd name="connsiteX4" fmla="*/ -3560 w 102157"/>
                <a:gd name="connsiteY4" fmla="*/ 50834 h 10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57" h="102158">
                  <a:moveTo>
                    <a:pt x="-3560" y="50834"/>
                  </a:moveTo>
                  <a:cubicBezTo>
                    <a:pt x="-3560" y="79042"/>
                    <a:pt x="19322" y="101913"/>
                    <a:pt x="47520" y="101913"/>
                  </a:cubicBezTo>
                  <a:cubicBezTo>
                    <a:pt x="75716" y="101913"/>
                    <a:pt x="98598" y="79042"/>
                    <a:pt x="98598" y="50834"/>
                  </a:cubicBezTo>
                  <a:cubicBezTo>
                    <a:pt x="98598" y="22622"/>
                    <a:pt x="75716" y="-245"/>
                    <a:pt x="47520" y="-245"/>
                  </a:cubicBezTo>
                  <a:cubicBezTo>
                    <a:pt x="19322" y="-245"/>
                    <a:pt x="-3560" y="22625"/>
                    <a:pt x="-3560" y="50834"/>
                  </a:cubicBezTo>
                  <a:close/>
                </a:path>
              </a:pathLst>
            </a:custGeom>
            <a:grpFill/>
            <a:ln w="359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D9A2E684-0FC9-2EA4-FE17-530474D10051}"/>
                </a:ext>
              </a:extLst>
            </p:cNvPr>
            <p:cNvSpPr/>
            <p:nvPr/>
          </p:nvSpPr>
          <p:spPr>
            <a:xfrm rot="19737602">
              <a:off x="6785855" y="1049181"/>
              <a:ext cx="245158" cy="10237"/>
            </a:xfrm>
            <a:custGeom>
              <a:avLst/>
              <a:gdLst>
                <a:gd name="connsiteX0" fmla="*/ -3560 w 245158"/>
                <a:gd name="connsiteY0" fmla="*/ -245 h 10237"/>
                <a:gd name="connsiteX1" fmla="*/ 241598 w 245158"/>
                <a:gd name="connsiteY1" fmla="*/ -245 h 10237"/>
                <a:gd name="connsiteX2" fmla="*/ 241598 w 245158"/>
                <a:gd name="connsiteY2" fmla="*/ 9992 h 10237"/>
                <a:gd name="connsiteX3" fmla="*/ -3560 w 245158"/>
                <a:gd name="connsiteY3" fmla="*/ 9992 h 10237"/>
              </a:gdLst>
              <a:ahLst/>
              <a:cxnLst>
                <a:cxn ang="0">
                  <a:pos x="connsiteX0" y="connsiteY0"/>
                </a:cxn>
                <a:cxn ang="0">
                  <a:pos x="connsiteX1" y="connsiteY1"/>
                </a:cxn>
                <a:cxn ang="0">
                  <a:pos x="connsiteX2" y="connsiteY2"/>
                </a:cxn>
                <a:cxn ang="0">
                  <a:pos x="connsiteX3" y="connsiteY3"/>
                </a:cxn>
              </a:cxnLst>
              <a:rect l="l" t="t" r="r" b="b"/>
              <a:pathLst>
                <a:path w="245158" h="10237">
                  <a:moveTo>
                    <a:pt x="-3560" y="-245"/>
                  </a:moveTo>
                  <a:lnTo>
                    <a:pt x="241598" y="-245"/>
                  </a:lnTo>
                  <a:lnTo>
                    <a:pt x="241598" y="9992"/>
                  </a:lnTo>
                  <a:lnTo>
                    <a:pt x="-3560" y="9992"/>
                  </a:lnTo>
                  <a:close/>
                </a:path>
              </a:pathLst>
            </a:custGeom>
            <a:grpFill/>
            <a:ln w="359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640224C0-B4D6-1F90-97B0-7BAC26D49120}"/>
                </a:ext>
              </a:extLst>
            </p:cNvPr>
            <p:cNvSpPr/>
            <p:nvPr/>
          </p:nvSpPr>
          <p:spPr>
            <a:xfrm>
              <a:off x="6962404" y="941573"/>
              <a:ext cx="98139" cy="102059"/>
            </a:xfrm>
            <a:custGeom>
              <a:avLst/>
              <a:gdLst>
                <a:gd name="connsiteX0" fmla="*/ 21015 w 98139"/>
                <a:gd name="connsiteY0" fmla="*/ 6544 h 102059"/>
                <a:gd name="connsiteX1" fmla="*/ 86786 w 98139"/>
                <a:gd name="connsiteY1" fmla="*/ 23132 h 102059"/>
                <a:gd name="connsiteX2" fmla="*/ 87972 w 98139"/>
                <a:gd name="connsiteY2" fmla="*/ 25259 h 102059"/>
                <a:gd name="connsiteX3" fmla="*/ 70012 w 98139"/>
                <a:gd name="connsiteY3" fmla="*/ 95016 h 102059"/>
                <a:gd name="connsiteX4" fmla="*/ 4241 w 98139"/>
                <a:gd name="connsiteY4" fmla="*/ 78453 h 102059"/>
                <a:gd name="connsiteX5" fmla="*/ 3055 w 98139"/>
                <a:gd name="connsiteY5" fmla="*/ 76338 h 102059"/>
                <a:gd name="connsiteX6" fmla="*/ 21015 w 98139"/>
                <a:gd name="connsiteY6" fmla="*/ 6544 h 1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39" h="102059">
                  <a:moveTo>
                    <a:pt x="21015" y="6544"/>
                  </a:moveTo>
                  <a:cubicBezTo>
                    <a:pt x="43753" y="-7034"/>
                    <a:pt x="73209" y="391"/>
                    <a:pt x="86786" y="23132"/>
                  </a:cubicBezTo>
                  <a:cubicBezTo>
                    <a:pt x="87181" y="23829"/>
                    <a:pt x="87577" y="24540"/>
                    <a:pt x="87972" y="25259"/>
                  </a:cubicBezTo>
                  <a:cubicBezTo>
                    <a:pt x="101514" y="49584"/>
                    <a:pt x="93611" y="80260"/>
                    <a:pt x="70012" y="95016"/>
                  </a:cubicBezTo>
                  <a:cubicBezTo>
                    <a:pt x="47274" y="108601"/>
                    <a:pt x="17820" y="101187"/>
                    <a:pt x="4241" y="78453"/>
                  </a:cubicBezTo>
                  <a:cubicBezTo>
                    <a:pt x="3846" y="77757"/>
                    <a:pt x="3415" y="77052"/>
                    <a:pt x="3055" y="76338"/>
                  </a:cubicBezTo>
                  <a:cubicBezTo>
                    <a:pt x="-10487" y="52001"/>
                    <a:pt x="-2621" y="21314"/>
                    <a:pt x="21015" y="6544"/>
                  </a:cubicBezTo>
                  <a:close/>
                </a:path>
              </a:pathLst>
            </a:custGeom>
            <a:grpFill/>
            <a:ln w="359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2434F69F-0EB1-B96B-91C4-D656876A86D3}"/>
                </a:ext>
              </a:extLst>
            </p:cNvPr>
            <p:cNvSpPr/>
            <p:nvPr/>
          </p:nvSpPr>
          <p:spPr>
            <a:xfrm>
              <a:off x="6781808" y="1093598"/>
              <a:ext cx="45425" cy="47251"/>
            </a:xfrm>
            <a:custGeom>
              <a:avLst/>
              <a:gdLst>
                <a:gd name="connsiteX0" fmla="*/ 7821 w 45425"/>
                <a:gd name="connsiteY0" fmla="*/ 2907 h 47251"/>
                <a:gd name="connsiteX1" fmla="*/ -442 w 45425"/>
                <a:gd name="connsiteY1" fmla="*/ 35235 h 47251"/>
                <a:gd name="connsiteX2" fmla="*/ 29409 w 45425"/>
                <a:gd name="connsiteY2" fmla="*/ 44441 h 47251"/>
                <a:gd name="connsiteX3" fmla="*/ 30450 w 45425"/>
                <a:gd name="connsiteY3" fmla="*/ 43856 h 47251"/>
                <a:gd name="connsiteX4" fmla="*/ 38748 w 45425"/>
                <a:gd name="connsiteY4" fmla="*/ 11527 h 47251"/>
                <a:gd name="connsiteX5" fmla="*/ 8826 w 45425"/>
                <a:gd name="connsiteY5" fmla="*/ 2332 h 47251"/>
                <a:gd name="connsiteX6" fmla="*/ 7821 w 45425"/>
                <a:gd name="connsiteY6" fmla="*/ 2907 h 4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425" h="47251">
                  <a:moveTo>
                    <a:pt x="7821" y="2907"/>
                  </a:moveTo>
                  <a:cubicBezTo>
                    <a:pt x="-3136" y="9728"/>
                    <a:pt x="-6800" y="23985"/>
                    <a:pt x="-442" y="35235"/>
                  </a:cubicBezTo>
                  <a:cubicBezTo>
                    <a:pt x="5271" y="46022"/>
                    <a:pt x="18632" y="50142"/>
                    <a:pt x="29409" y="44441"/>
                  </a:cubicBezTo>
                  <a:cubicBezTo>
                    <a:pt x="29768" y="44255"/>
                    <a:pt x="30128" y="44061"/>
                    <a:pt x="30450" y="43856"/>
                  </a:cubicBezTo>
                  <a:cubicBezTo>
                    <a:pt x="41442" y="37049"/>
                    <a:pt x="45106" y="22785"/>
                    <a:pt x="38748" y="11527"/>
                  </a:cubicBezTo>
                  <a:cubicBezTo>
                    <a:pt x="33037" y="730"/>
                    <a:pt x="19639" y="-3387"/>
                    <a:pt x="8826" y="2332"/>
                  </a:cubicBezTo>
                  <a:cubicBezTo>
                    <a:pt x="8503" y="2515"/>
                    <a:pt x="8144" y="2705"/>
                    <a:pt x="7821" y="2907"/>
                  </a:cubicBezTo>
                  <a:close/>
                </a:path>
              </a:pathLst>
            </a:custGeom>
            <a:grpFill/>
            <a:ln w="359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4BCE8F22-4174-19F9-4DD3-43FF5CA5EA88}"/>
                </a:ext>
              </a:extLst>
            </p:cNvPr>
            <p:cNvSpPr/>
            <p:nvPr/>
          </p:nvSpPr>
          <p:spPr>
            <a:xfrm rot="19799999">
              <a:off x="1465682" y="3051137"/>
              <a:ext cx="647504" cy="10452"/>
            </a:xfrm>
            <a:custGeom>
              <a:avLst/>
              <a:gdLst>
                <a:gd name="connsiteX0" fmla="*/ -3560 w 647504"/>
                <a:gd name="connsiteY0" fmla="*/ -245 h 10452"/>
                <a:gd name="connsiteX1" fmla="*/ 643944 w 647504"/>
                <a:gd name="connsiteY1" fmla="*/ -245 h 10452"/>
                <a:gd name="connsiteX2" fmla="*/ 643944 w 647504"/>
                <a:gd name="connsiteY2" fmla="*/ 10208 h 10452"/>
                <a:gd name="connsiteX3" fmla="*/ -3560 w 647504"/>
                <a:gd name="connsiteY3" fmla="*/ 10208 h 10452"/>
              </a:gdLst>
              <a:ahLst/>
              <a:cxnLst>
                <a:cxn ang="0">
                  <a:pos x="connsiteX0" y="connsiteY0"/>
                </a:cxn>
                <a:cxn ang="0">
                  <a:pos x="connsiteX1" y="connsiteY1"/>
                </a:cxn>
                <a:cxn ang="0">
                  <a:pos x="connsiteX2" y="connsiteY2"/>
                </a:cxn>
                <a:cxn ang="0">
                  <a:pos x="connsiteX3" y="connsiteY3"/>
                </a:cxn>
              </a:cxnLst>
              <a:rect l="l" t="t" r="r" b="b"/>
              <a:pathLst>
                <a:path w="647504" h="10452">
                  <a:moveTo>
                    <a:pt x="-3560" y="-245"/>
                  </a:moveTo>
                  <a:lnTo>
                    <a:pt x="643944" y="-245"/>
                  </a:lnTo>
                  <a:lnTo>
                    <a:pt x="643944" y="10208"/>
                  </a:lnTo>
                  <a:lnTo>
                    <a:pt x="-3560" y="10208"/>
                  </a:lnTo>
                  <a:close/>
                </a:path>
              </a:pathLst>
            </a:custGeom>
            <a:grpFill/>
            <a:ln w="359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D0377CB4-2A1E-D233-CBC3-C52E6314DABB}"/>
                </a:ext>
              </a:extLst>
            </p:cNvPr>
            <p:cNvSpPr/>
            <p:nvPr/>
          </p:nvSpPr>
          <p:spPr>
            <a:xfrm>
              <a:off x="1093920" y="3389023"/>
              <a:ext cx="753003" cy="306330"/>
            </a:xfrm>
            <a:custGeom>
              <a:avLst/>
              <a:gdLst>
                <a:gd name="connsiteX0" fmla="*/ 753003 w 753003"/>
                <a:gd name="connsiteY0" fmla="*/ 137468 h 306330"/>
                <a:gd name="connsiteX1" fmla="*/ 747795 w 753003"/>
                <a:gd name="connsiteY1" fmla="*/ 146556 h 306330"/>
                <a:gd name="connsiteX2" fmla="*/ 514886 w 753003"/>
                <a:gd name="connsiteY2" fmla="*/ 12069 h 306330"/>
                <a:gd name="connsiteX3" fmla="*/ 5244 w 753003"/>
                <a:gd name="connsiteY3" fmla="*/ 306331 h 306330"/>
                <a:gd name="connsiteX4" fmla="*/ 0 w 753003"/>
                <a:gd name="connsiteY4" fmla="*/ 297279 h 306330"/>
                <a:gd name="connsiteX5" fmla="*/ 514886 w 753003"/>
                <a:gd name="connsiteY5" fmla="*/ 0 h 306330"/>
                <a:gd name="connsiteX6" fmla="*/ 753003 w 753003"/>
                <a:gd name="connsiteY6" fmla="*/ 137468 h 30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003" h="306330">
                  <a:moveTo>
                    <a:pt x="753003" y="137468"/>
                  </a:moveTo>
                  <a:lnTo>
                    <a:pt x="747795" y="146556"/>
                  </a:lnTo>
                  <a:lnTo>
                    <a:pt x="514886" y="12069"/>
                  </a:lnTo>
                  <a:lnTo>
                    <a:pt x="5244" y="306331"/>
                  </a:lnTo>
                  <a:lnTo>
                    <a:pt x="0" y="297279"/>
                  </a:lnTo>
                  <a:lnTo>
                    <a:pt x="514886" y="0"/>
                  </a:lnTo>
                  <a:lnTo>
                    <a:pt x="753003" y="137468"/>
                  </a:lnTo>
                  <a:close/>
                </a:path>
              </a:pathLst>
            </a:custGeom>
            <a:grpFill/>
            <a:ln w="359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50C2A283-172C-58F7-2323-A1DB7283DD9C}"/>
                </a:ext>
              </a:extLst>
            </p:cNvPr>
            <p:cNvSpPr/>
            <p:nvPr/>
          </p:nvSpPr>
          <p:spPr>
            <a:xfrm>
              <a:off x="1040109" y="3630400"/>
              <a:ext cx="117901" cy="117909"/>
            </a:xfrm>
            <a:custGeom>
              <a:avLst/>
              <a:gdLst>
                <a:gd name="connsiteX0" fmla="*/ 84877 w 117901"/>
                <a:gd name="connsiteY0" fmla="*/ 109753 h 117909"/>
                <a:gd name="connsiteX1" fmla="*/ 4344 w 117901"/>
                <a:gd name="connsiteY1" fmla="*/ 88200 h 117909"/>
                <a:gd name="connsiteX2" fmla="*/ 25896 w 117901"/>
                <a:gd name="connsiteY2" fmla="*/ 7666 h 117909"/>
                <a:gd name="connsiteX3" fmla="*/ 106430 w 117901"/>
                <a:gd name="connsiteY3" fmla="*/ 29218 h 117909"/>
                <a:gd name="connsiteX4" fmla="*/ 84877 w 117901"/>
                <a:gd name="connsiteY4" fmla="*/ 109753 h 117909"/>
                <a:gd name="connsiteX5" fmla="*/ 84877 w 117901"/>
                <a:gd name="connsiteY5" fmla="*/ 109753 h 11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01" h="117909">
                  <a:moveTo>
                    <a:pt x="84877" y="109753"/>
                  </a:moveTo>
                  <a:cubicBezTo>
                    <a:pt x="56680" y="126025"/>
                    <a:pt x="20652" y="116398"/>
                    <a:pt x="4344" y="88200"/>
                  </a:cubicBezTo>
                  <a:cubicBezTo>
                    <a:pt x="-11928" y="60003"/>
                    <a:pt x="-2266" y="23938"/>
                    <a:pt x="25896" y="7666"/>
                  </a:cubicBezTo>
                  <a:cubicBezTo>
                    <a:pt x="54094" y="-8606"/>
                    <a:pt x="90158" y="1021"/>
                    <a:pt x="106430" y="29218"/>
                  </a:cubicBezTo>
                  <a:cubicBezTo>
                    <a:pt x="122702" y="57416"/>
                    <a:pt x="113075" y="93445"/>
                    <a:pt x="84877" y="109753"/>
                  </a:cubicBezTo>
                  <a:cubicBezTo>
                    <a:pt x="84877" y="109753"/>
                    <a:pt x="84877" y="109753"/>
                    <a:pt x="84877" y="109753"/>
                  </a:cubicBezTo>
                  <a:close/>
                </a:path>
              </a:pathLst>
            </a:custGeom>
            <a:grpFill/>
            <a:ln w="3590" cap="flat">
              <a:noFill/>
              <a:prstDash val="solid"/>
              <a:miter/>
            </a:ln>
          </p:spPr>
          <p:txBody>
            <a:bodyPr rtlCol="0" anchor="ctr"/>
            <a:lstStyle/>
            <a:p>
              <a:endParaRPr lang="en-US"/>
            </a:p>
          </p:txBody>
        </p:sp>
      </p:grpSp>
      <p:sp>
        <p:nvSpPr>
          <p:cNvPr id="98" name="Rectangle: Rounded Corners 97">
            <a:extLst>
              <a:ext uri="{FF2B5EF4-FFF2-40B4-BE49-F238E27FC236}">
                <a16:creationId xmlns:a16="http://schemas.microsoft.com/office/drawing/2014/main" id="{8A422499-EDB1-7821-C835-07E7E42DE7C9}"/>
              </a:ext>
            </a:extLst>
          </p:cNvPr>
          <p:cNvSpPr/>
          <p:nvPr userDrawn="1"/>
        </p:nvSpPr>
        <p:spPr>
          <a:xfrm>
            <a:off x="467834" y="1330326"/>
            <a:ext cx="11259046" cy="4894628"/>
          </a:xfrm>
          <a:prstGeom prst="roundRect">
            <a:avLst>
              <a:gd name="adj" fmla="val 2321"/>
            </a:avLst>
          </a:prstGeom>
          <a:solidFill>
            <a:schemeClr val="bg1"/>
          </a:solidFill>
          <a:ln>
            <a:noFill/>
          </a:ln>
          <a:effectLst>
            <a:outerShdw blurRad="711200" dist="38100" dir="5400000" algn="t"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407" tIns="36407" rIns="36407" bIns="36407" rtlCol="0" anchor="ctr"/>
          <a:lstStyle/>
          <a:p>
            <a:pPr defTabSz="550320" hangingPunct="0">
              <a:lnSpc>
                <a:spcPct val="120000"/>
              </a:lnSpc>
            </a:pPr>
            <a:endParaRPr lang="en-US" sz="1000" err="1">
              <a:solidFill>
                <a:prstClr val="white"/>
              </a:solidFill>
              <a:latin typeface="Calibri"/>
              <a:cs typeface="Sakkal Majalla"/>
              <a:sym typeface="Helvetica"/>
            </a:endParaRPr>
          </a:p>
        </p:txBody>
      </p:sp>
    </p:spTree>
    <p:extLst>
      <p:ext uri="{BB962C8B-B14F-4D97-AF65-F5344CB8AC3E}">
        <p14:creationId xmlns:p14="http://schemas.microsoft.com/office/powerpoint/2010/main" val="32110808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3_5 D 2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1AE66E0-330E-DE27-8EEC-1222F5B1B93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p:spPr>
      </p:pic>
      <p:sp>
        <p:nvSpPr>
          <p:cNvPr id="3" name="Title 1">
            <a:extLst>
              <a:ext uri="{FF2B5EF4-FFF2-40B4-BE49-F238E27FC236}">
                <a16:creationId xmlns:a16="http://schemas.microsoft.com/office/drawing/2014/main" id="{C16B2355-43B8-FDFE-877C-8C639D126608}"/>
              </a:ext>
            </a:extLst>
          </p:cNvPr>
          <p:cNvSpPr>
            <a:spLocks noGrp="1"/>
          </p:cNvSpPr>
          <p:nvPr>
            <p:ph type="title"/>
          </p:nvPr>
        </p:nvSpPr>
        <p:spPr>
          <a:xfrm>
            <a:off x="598968" y="551503"/>
            <a:ext cx="11020726" cy="533400"/>
          </a:xfrm>
        </p:spPr>
        <p:txBody>
          <a:bodyPr/>
          <a:lstStyle>
            <a:lvl1pPr>
              <a:defRPr sz="3200">
                <a:solidFill>
                  <a:schemeClr val="bg1"/>
                </a:solidFill>
              </a:defRPr>
            </a:lvl1pPr>
          </a:lstStyle>
          <a:p>
            <a:r>
              <a:rPr lang="en-US"/>
              <a:t>Click to edit Master title style</a:t>
            </a:r>
          </a:p>
        </p:txBody>
      </p:sp>
      <p:sp>
        <p:nvSpPr>
          <p:cNvPr id="7" name="Text Placeholder 4">
            <a:extLst>
              <a:ext uri="{FF2B5EF4-FFF2-40B4-BE49-F238E27FC236}">
                <a16:creationId xmlns:a16="http://schemas.microsoft.com/office/drawing/2014/main" id="{B6324567-E537-3186-6CA0-355372E61994}"/>
              </a:ext>
            </a:extLst>
          </p:cNvPr>
          <p:cNvSpPr>
            <a:spLocks noGrp="1"/>
          </p:cNvSpPr>
          <p:nvPr>
            <p:ph type="body" sz="quarter" idx="11" hasCustomPrompt="1"/>
          </p:nvPr>
        </p:nvSpPr>
        <p:spPr>
          <a:xfrm>
            <a:off x="598968" y="265313"/>
            <a:ext cx="5334288" cy="169200"/>
          </a:xfrm>
        </p:spPr>
        <p:txBody>
          <a:bodyPr vert="horz" lIns="0" tIns="0" rIns="0" bIns="0" rtlCol="0" anchor="b" anchorCtr="0">
            <a:noAutofit/>
          </a:bodyPr>
          <a:lstStyle>
            <a:lvl1pPr>
              <a:defRPr lang="en-US" dirty="0">
                <a:solidFill>
                  <a:schemeClr val="bg1"/>
                </a:solidFill>
              </a:defRPr>
            </a:lvl1pPr>
          </a:lstStyle>
          <a:p>
            <a:pPr lvl="0">
              <a:spcAft>
                <a:spcPts val="0"/>
              </a:spcAft>
            </a:pPr>
            <a:r>
              <a:rPr lang="en-US"/>
              <a:t>Super title here</a:t>
            </a:r>
          </a:p>
        </p:txBody>
      </p:sp>
      <p:sp>
        <p:nvSpPr>
          <p:cNvPr id="8" name="Freeform 19">
            <a:extLst>
              <a:ext uri="{FF2B5EF4-FFF2-40B4-BE49-F238E27FC236}">
                <a16:creationId xmlns:a16="http://schemas.microsoft.com/office/drawing/2014/main" id="{96D6FC52-65EC-EBEC-CDDB-3F6F0C553BA8}"/>
              </a:ext>
            </a:extLst>
          </p:cNvPr>
          <p:cNvSpPr>
            <a:spLocks noEditPoints="1"/>
          </p:cNvSpPr>
          <p:nvPr userDrawn="1"/>
        </p:nvSpPr>
        <p:spPr bwMode="auto">
          <a:xfrm>
            <a:off x="607728" y="6525390"/>
            <a:ext cx="484454" cy="201989"/>
          </a:xfrm>
          <a:custGeom>
            <a:avLst/>
            <a:gdLst>
              <a:gd name="T0" fmla="*/ 403785 w 283"/>
              <a:gd name="T1" fmla="*/ 116716 h 114"/>
              <a:gd name="T2" fmla="*/ 333235 w 283"/>
              <a:gd name="T3" fmla="*/ 131874 h 114"/>
              <a:gd name="T4" fmla="*/ 366259 w 283"/>
              <a:gd name="T5" fmla="*/ 90947 h 114"/>
              <a:gd name="T6" fmla="*/ 403785 w 283"/>
              <a:gd name="T7" fmla="*/ 84884 h 114"/>
              <a:gd name="T8" fmla="*/ 333235 w 283"/>
              <a:gd name="T9" fmla="*/ 3032 h 114"/>
              <a:gd name="T10" fmla="*/ 421798 w 283"/>
              <a:gd name="T11" fmla="*/ 131874 h 114"/>
              <a:gd name="T12" fmla="*/ 333235 w 283"/>
              <a:gd name="T13" fmla="*/ 134905 h 114"/>
              <a:gd name="T14" fmla="*/ 369261 w 283"/>
              <a:gd name="T15" fmla="*/ 153095 h 114"/>
              <a:gd name="T16" fmla="*/ 307717 w 283"/>
              <a:gd name="T17" fmla="*/ 124295 h 114"/>
              <a:gd name="T18" fmla="*/ 304715 w 283"/>
              <a:gd name="T19" fmla="*/ 78821 h 114"/>
              <a:gd name="T20" fmla="*/ 231163 w 283"/>
              <a:gd name="T21" fmla="*/ 131874 h 114"/>
              <a:gd name="T22" fmla="*/ 319726 w 283"/>
              <a:gd name="T23" fmla="*/ 80337 h 114"/>
              <a:gd name="T24" fmla="*/ 256681 w 283"/>
              <a:gd name="T25" fmla="*/ 131874 h 114"/>
              <a:gd name="T26" fmla="*/ 270191 w 283"/>
              <a:gd name="T27" fmla="*/ 131874 h 114"/>
              <a:gd name="T28" fmla="*/ 180127 w 283"/>
              <a:gd name="T29" fmla="*/ 131874 h 114"/>
              <a:gd name="T30" fmla="*/ 175624 w 283"/>
              <a:gd name="T31" fmla="*/ 84884 h 114"/>
              <a:gd name="T32" fmla="*/ 129091 w 283"/>
              <a:gd name="T33" fmla="*/ 3032 h 114"/>
              <a:gd name="T34" fmla="*/ 217654 w 283"/>
              <a:gd name="T35" fmla="*/ 78821 h 114"/>
              <a:gd name="T36" fmla="*/ 213151 w 283"/>
              <a:gd name="T37" fmla="*/ 131874 h 114"/>
              <a:gd name="T38" fmla="*/ 139599 w 283"/>
              <a:gd name="T39" fmla="*/ 119747 h 114"/>
              <a:gd name="T40" fmla="*/ 133594 w 283"/>
              <a:gd name="T41" fmla="*/ 119747 h 114"/>
              <a:gd name="T42" fmla="*/ 130592 w 283"/>
              <a:gd name="T43" fmla="*/ 104589 h 114"/>
              <a:gd name="T44" fmla="*/ 142601 w 283"/>
              <a:gd name="T45" fmla="*/ 93979 h 114"/>
              <a:gd name="T46" fmla="*/ 139599 w 283"/>
              <a:gd name="T47" fmla="*/ 119747 h 114"/>
              <a:gd name="T48" fmla="*/ 100571 w 283"/>
              <a:gd name="T49" fmla="*/ 130358 h 114"/>
              <a:gd name="T50" fmla="*/ 55539 w 283"/>
              <a:gd name="T51" fmla="*/ 124295 h 114"/>
              <a:gd name="T52" fmla="*/ 37527 w 283"/>
              <a:gd name="T53" fmla="*/ 116716 h 114"/>
              <a:gd name="T54" fmla="*/ 27019 w 283"/>
              <a:gd name="T55" fmla="*/ 3032 h 114"/>
              <a:gd name="T56" fmla="*/ 114081 w 283"/>
              <a:gd name="T57" fmla="*/ 83368 h 114"/>
              <a:gd name="T58" fmla="*/ 33023 w 283"/>
              <a:gd name="T59" fmla="*/ 131874 h 114"/>
              <a:gd name="T60" fmla="*/ 330233 w 283"/>
              <a:gd name="T61" fmla="*/ 0 h 114"/>
              <a:gd name="T62" fmla="*/ 322728 w 283"/>
              <a:gd name="T63" fmla="*/ 0 h 114"/>
              <a:gd name="T64" fmla="*/ 220656 w 283"/>
              <a:gd name="T65" fmla="*/ 78821 h 114"/>
              <a:gd name="T66" fmla="*/ 126089 w 283"/>
              <a:gd name="T67" fmla="*/ 78821 h 114"/>
              <a:gd name="T68" fmla="*/ 24017 w 283"/>
              <a:gd name="T69" fmla="*/ 0 h 114"/>
              <a:gd name="T70" fmla="*/ 21015 w 283"/>
              <a:gd name="T71" fmla="*/ 171284 h 114"/>
              <a:gd name="T72" fmla="*/ 52537 w 283"/>
              <a:gd name="T73" fmla="*/ 171284 h 114"/>
              <a:gd name="T74" fmla="*/ 99070 w 283"/>
              <a:gd name="T75" fmla="*/ 134905 h 114"/>
              <a:gd name="T76" fmla="*/ 121586 w 283"/>
              <a:gd name="T77" fmla="*/ 134905 h 114"/>
              <a:gd name="T78" fmla="*/ 135095 w 283"/>
              <a:gd name="T79" fmla="*/ 134905 h 114"/>
              <a:gd name="T80" fmla="*/ 168119 w 283"/>
              <a:gd name="T81" fmla="*/ 171284 h 114"/>
              <a:gd name="T82" fmla="*/ 213151 w 283"/>
              <a:gd name="T83" fmla="*/ 134905 h 114"/>
              <a:gd name="T84" fmla="*/ 255180 w 283"/>
              <a:gd name="T85" fmla="*/ 134905 h 114"/>
              <a:gd name="T86" fmla="*/ 285201 w 283"/>
              <a:gd name="T87" fmla="*/ 171284 h 114"/>
              <a:gd name="T88" fmla="*/ 315223 w 283"/>
              <a:gd name="T89" fmla="*/ 163705 h 114"/>
              <a:gd name="T90" fmla="*/ 399282 w 283"/>
              <a:gd name="T91" fmla="*/ 134905 h 114"/>
              <a:gd name="T92" fmla="*/ 330233 w 283"/>
              <a:gd name="T93" fmla="*/ 0 h 11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a:lstStyle/>
          <a:p>
            <a:endParaRPr lang="en-AU" sz="1633">
              <a:solidFill>
                <a:schemeClr val="bg1">
                  <a:lumMod val="85000"/>
                </a:schemeClr>
              </a:solidFill>
            </a:endParaRPr>
          </a:p>
        </p:txBody>
      </p:sp>
      <p:sp>
        <p:nvSpPr>
          <p:cNvPr id="10" name="Shape 8">
            <a:extLst>
              <a:ext uri="{FF2B5EF4-FFF2-40B4-BE49-F238E27FC236}">
                <a16:creationId xmlns:a16="http://schemas.microsoft.com/office/drawing/2014/main" id="{9B2B5B5E-2538-7B26-A145-7E70D7D8AE27}"/>
              </a:ext>
            </a:extLst>
          </p:cNvPr>
          <p:cNvSpPr txBox="1">
            <a:spLocks/>
          </p:cNvSpPr>
          <p:nvPr userDrawn="1"/>
        </p:nvSpPr>
        <p:spPr>
          <a:xfrm>
            <a:off x="11101302" y="6538407"/>
            <a:ext cx="480646" cy="149225"/>
          </a:xfrm>
          <a:prstGeom prst="rect">
            <a:avLst/>
          </a:prstGeom>
        </p:spPr>
        <p:txBody>
          <a:bodyPr lIns="0" tIns="0" rIns="0" bIns="0" anchor="b"/>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fontAlgn="auto">
              <a:spcBef>
                <a:spcPts val="0"/>
              </a:spcBef>
              <a:spcAft>
                <a:spcPts val="0"/>
              </a:spcAft>
              <a:defRPr/>
            </a:pPr>
            <a:fld id="{07B1ADDA-458A-465B-8E73-31AB406EC0F3}" type="slidenum">
              <a:rPr lang="en-GB" sz="907" b="0" smtClean="0">
                <a:solidFill>
                  <a:schemeClr val="bg1">
                    <a:lumMod val="85000"/>
                  </a:schemeClr>
                </a:solidFill>
                <a:latin typeface="Arial" panose="020B0604020202020204" pitchFamily="34" charset="0"/>
                <a:cs typeface="Arial" panose="020B0604020202020204" pitchFamily="34" charset="0"/>
              </a:rPr>
              <a:pPr algn="r" fontAlgn="auto">
                <a:spcBef>
                  <a:spcPts val="0"/>
                </a:spcBef>
                <a:spcAft>
                  <a:spcPts val="0"/>
                </a:spcAft>
                <a:defRPr/>
              </a:pPr>
              <a:t>‹#›</a:t>
            </a:fld>
            <a:endParaRPr lang="en-GB" sz="907" b="0">
              <a:solidFill>
                <a:schemeClr val="bg1">
                  <a:lumMod val="85000"/>
                </a:schemeClr>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6B884808-5737-2C91-9CEA-60C885DD114F}"/>
              </a:ext>
            </a:extLst>
          </p:cNvPr>
          <p:cNvSpPr/>
          <p:nvPr userDrawn="1"/>
        </p:nvSpPr>
        <p:spPr>
          <a:xfrm>
            <a:off x="8039825" y="0"/>
            <a:ext cx="3702996" cy="6858000"/>
          </a:xfrm>
          <a:prstGeom prst="rect">
            <a:avLst/>
          </a:prstGeom>
          <a:solidFill>
            <a:schemeClr val="bg1"/>
          </a:solidFill>
          <a:ln w="12700" cap="flat" cmpd="sng" algn="ctr">
            <a:noFill/>
            <a:prstDash val="solid"/>
            <a:miter lim="800000"/>
          </a:ln>
          <a:effectLst/>
        </p:spPr>
        <p:txBody>
          <a:bodyPr wrap="none" lIns="54610" tIns="54610" rIns="54610" bIns="54610" rtlCol="0" anchor="ctr"/>
          <a:lstStyle/>
          <a:p>
            <a:pPr marR="0" lvl="0" indent="0" algn="ctr" fontAlgn="auto">
              <a:lnSpc>
                <a:spcPct val="100000"/>
              </a:lnSpc>
              <a:spcBef>
                <a:spcPts val="0"/>
              </a:spcBef>
              <a:spcAft>
                <a:spcPts val="0"/>
              </a:spcAft>
              <a:buClrTx/>
              <a:buSzTx/>
              <a:buFontTx/>
              <a:buNone/>
              <a:tabLst/>
            </a:pPr>
            <a:endParaRPr kumimoji="0" lang="en-GB" sz="800" b="0" i="0" u="none" strike="noStrike" kern="0" cap="none" spc="0" normalizeH="0" baseline="0">
              <a:ln>
                <a:noFill/>
              </a:ln>
              <a:solidFill>
                <a:srgbClr val="FFFFFF"/>
              </a:solidFill>
              <a:effectLst/>
              <a:uLnTx/>
              <a:uFillTx/>
            </a:endParaRPr>
          </a:p>
        </p:txBody>
      </p:sp>
      <p:grpSp>
        <p:nvGrpSpPr>
          <p:cNvPr id="5" name="Group 4">
            <a:extLst>
              <a:ext uri="{FF2B5EF4-FFF2-40B4-BE49-F238E27FC236}">
                <a16:creationId xmlns:a16="http://schemas.microsoft.com/office/drawing/2014/main" id="{4D1D9913-18EF-96A6-59B5-015013573194}"/>
              </a:ext>
            </a:extLst>
          </p:cNvPr>
          <p:cNvGrpSpPr/>
          <p:nvPr userDrawn="1"/>
        </p:nvGrpSpPr>
        <p:grpSpPr>
          <a:xfrm>
            <a:off x="9297702" y="-1126461"/>
            <a:ext cx="5558549" cy="3624521"/>
            <a:chOff x="288795" y="168656"/>
            <a:chExt cx="7937877" cy="5175991"/>
          </a:xfrm>
          <a:solidFill>
            <a:srgbClr val="C5FFF9">
              <a:alpha val="51000"/>
            </a:srgbClr>
          </a:solidFill>
        </p:grpSpPr>
        <p:sp>
          <p:nvSpPr>
            <p:cNvPr id="6" name="Freeform: Shape 5">
              <a:extLst>
                <a:ext uri="{FF2B5EF4-FFF2-40B4-BE49-F238E27FC236}">
                  <a16:creationId xmlns:a16="http://schemas.microsoft.com/office/drawing/2014/main" id="{92162CC1-6C64-C001-7F7D-40BD4A946829}"/>
                </a:ext>
              </a:extLst>
            </p:cNvPr>
            <p:cNvSpPr/>
            <p:nvPr/>
          </p:nvSpPr>
          <p:spPr>
            <a:xfrm>
              <a:off x="6634132" y="2781103"/>
              <a:ext cx="1075857" cy="593336"/>
            </a:xfrm>
            <a:custGeom>
              <a:avLst/>
              <a:gdLst>
                <a:gd name="connsiteX0" fmla="*/ 1075858 w 1075857"/>
                <a:gd name="connsiteY0" fmla="*/ 300691 h 593336"/>
                <a:gd name="connsiteX1" fmla="*/ 1070757 w 1075857"/>
                <a:gd name="connsiteY1" fmla="*/ 309564 h 593336"/>
                <a:gd name="connsiteX2" fmla="*/ 555081 w 1075857"/>
                <a:gd name="connsiteY2" fmla="*/ 11818 h 593336"/>
                <a:gd name="connsiteX3" fmla="*/ 10237 w 1075857"/>
                <a:gd name="connsiteY3" fmla="*/ 326375 h 593336"/>
                <a:gd name="connsiteX4" fmla="*/ 10237 w 1075857"/>
                <a:gd name="connsiteY4" fmla="*/ 593336 h 593336"/>
                <a:gd name="connsiteX5" fmla="*/ 0 w 1075857"/>
                <a:gd name="connsiteY5" fmla="*/ 593336 h 593336"/>
                <a:gd name="connsiteX6" fmla="*/ 0 w 1075857"/>
                <a:gd name="connsiteY6" fmla="*/ 320448 h 593336"/>
                <a:gd name="connsiteX7" fmla="*/ 555081 w 1075857"/>
                <a:gd name="connsiteY7" fmla="*/ 0 h 593336"/>
                <a:gd name="connsiteX8" fmla="*/ 1075858 w 1075857"/>
                <a:gd name="connsiteY8" fmla="*/ 300691 h 59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5857" h="593336">
                  <a:moveTo>
                    <a:pt x="1075858" y="300691"/>
                  </a:moveTo>
                  <a:lnTo>
                    <a:pt x="1070757" y="309564"/>
                  </a:lnTo>
                  <a:lnTo>
                    <a:pt x="555081" y="11818"/>
                  </a:lnTo>
                  <a:lnTo>
                    <a:pt x="10237" y="326375"/>
                  </a:lnTo>
                  <a:lnTo>
                    <a:pt x="10237" y="593336"/>
                  </a:lnTo>
                  <a:lnTo>
                    <a:pt x="0" y="593336"/>
                  </a:lnTo>
                  <a:lnTo>
                    <a:pt x="0" y="320448"/>
                  </a:lnTo>
                  <a:lnTo>
                    <a:pt x="555081" y="0"/>
                  </a:lnTo>
                  <a:lnTo>
                    <a:pt x="1075858" y="300691"/>
                  </a:lnTo>
                  <a:close/>
                </a:path>
              </a:pathLst>
            </a:custGeom>
            <a:grpFill/>
            <a:ln w="359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A89B9044-5E62-7277-D98A-245A5A987ECB}"/>
                </a:ext>
              </a:extLst>
            </p:cNvPr>
            <p:cNvSpPr/>
            <p:nvPr/>
          </p:nvSpPr>
          <p:spPr>
            <a:xfrm>
              <a:off x="7667200" y="3046686"/>
              <a:ext cx="77118" cy="77096"/>
            </a:xfrm>
            <a:custGeom>
              <a:avLst/>
              <a:gdLst>
                <a:gd name="connsiteX0" fmla="*/ 15738 w 77118"/>
                <a:gd name="connsiteY0" fmla="*/ 71682 h 77096"/>
                <a:gd name="connsiteX1" fmla="*/ 68396 w 77118"/>
                <a:gd name="connsiteY1" fmla="*/ 57565 h 77096"/>
                <a:gd name="connsiteX2" fmla="*/ 54281 w 77118"/>
                <a:gd name="connsiteY2" fmla="*/ 4941 h 77096"/>
                <a:gd name="connsiteX3" fmla="*/ 1621 w 77118"/>
                <a:gd name="connsiteY3" fmla="*/ 19022 h 77096"/>
                <a:gd name="connsiteX4" fmla="*/ 1621 w 77118"/>
                <a:gd name="connsiteY4" fmla="*/ 19058 h 77096"/>
                <a:gd name="connsiteX5" fmla="*/ 15629 w 77118"/>
                <a:gd name="connsiteY5" fmla="*/ 71610 h 77096"/>
                <a:gd name="connsiteX6" fmla="*/ 15738 w 77118"/>
                <a:gd name="connsiteY6" fmla="*/ 71682 h 7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118" h="77096">
                  <a:moveTo>
                    <a:pt x="15738" y="71682"/>
                  </a:moveTo>
                  <a:cubicBezTo>
                    <a:pt x="34165" y="82314"/>
                    <a:pt x="57729" y="76028"/>
                    <a:pt x="68396" y="57565"/>
                  </a:cubicBezTo>
                  <a:cubicBezTo>
                    <a:pt x="79031" y="39137"/>
                    <a:pt x="72708" y="15574"/>
                    <a:pt x="54281" y="4941"/>
                  </a:cubicBezTo>
                  <a:cubicBezTo>
                    <a:pt x="35854" y="-5727"/>
                    <a:pt x="12290" y="595"/>
                    <a:pt x="1621" y="19022"/>
                  </a:cubicBezTo>
                  <a:cubicBezTo>
                    <a:pt x="1621" y="19022"/>
                    <a:pt x="1621" y="19058"/>
                    <a:pt x="1621" y="19058"/>
                  </a:cubicBezTo>
                  <a:cubicBezTo>
                    <a:pt x="-9012" y="37449"/>
                    <a:pt x="-2761" y="60977"/>
                    <a:pt x="15629" y="71610"/>
                  </a:cubicBezTo>
                  <a:cubicBezTo>
                    <a:pt x="15666" y="71646"/>
                    <a:pt x="15701" y="71682"/>
                    <a:pt x="15738" y="71682"/>
                  </a:cubicBezTo>
                  <a:close/>
                </a:path>
              </a:pathLst>
            </a:custGeom>
            <a:grpFill/>
            <a:ln w="359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4E798EE2-B9A8-C25A-AEBA-525EF5D51518}"/>
                </a:ext>
              </a:extLst>
            </p:cNvPr>
            <p:cNvSpPr/>
            <p:nvPr/>
          </p:nvSpPr>
          <p:spPr>
            <a:xfrm>
              <a:off x="6589052" y="3321636"/>
              <a:ext cx="100218" cy="100218"/>
            </a:xfrm>
            <a:custGeom>
              <a:avLst/>
              <a:gdLst>
                <a:gd name="connsiteX0" fmla="*/ 96658 w 100218"/>
                <a:gd name="connsiteY0" fmla="*/ 50043 h 100218"/>
                <a:gd name="connsiteX1" fmla="*/ 46370 w 100218"/>
                <a:gd name="connsiteY1" fmla="*/ 99973 h 100218"/>
                <a:gd name="connsiteX2" fmla="*/ -3560 w 100218"/>
                <a:gd name="connsiteY2" fmla="*/ 49684 h 100218"/>
                <a:gd name="connsiteX3" fmla="*/ 46370 w 100218"/>
                <a:gd name="connsiteY3" fmla="*/ -245 h 100218"/>
                <a:gd name="connsiteX4" fmla="*/ 96658 w 100218"/>
                <a:gd name="connsiteY4" fmla="*/ 50043 h 100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8" h="100218">
                  <a:moveTo>
                    <a:pt x="96658" y="50043"/>
                  </a:moveTo>
                  <a:cubicBezTo>
                    <a:pt x="96551" y="77703"/>
                    <a:pt x="74029" y="100081"/>
                    <a:pt x="46370" y="99973"/>
                  </a:cubicBezTo>
                  <a:cubicBezTo>
                    <a:pt x="18710" y="99865"/>
                    <a:pt x="-3669" y="77343"/>
                    <a:pt x="-3560" y="49684"/>
                  </a:cubicBezTo>
                  <a:cubicBezTo>
                    <a:pt x="-3453" y="22133"/>
                    <a:pt x="18819" y="-138"/>
                    <a:pt x="46370" y="-245"/>
                  </a:cubicBezTo>
                  <a:cubicBezTo>
                    <a:pt x="74136" y="-245"/>
                    <a:pt x="96658" y="22277"/>
                    <a:pt x="96658" y="50043"/>
                  </a:cubicBezTo>
                  <a:close/>
                </a:path>
              </a:pathLst>
            </a:custGeom>
            <a:grpFill/>
            <a:ln w="359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AEC2AFF2-87B6-3166-0E9A-1599267130D6}"/>
                </a:ext>
              </a:extLst>
            </p:cNvPr>
            <p:cNvSpPr/>
            <p:nvPr/>
          </p:nvSpPr>
          <p:spPr>
            <a:xfrm>
              <a:off x="5802678" y="1269744"/>
              <a:ext cx="1104989" cy="327883"/>
            </a:xfrm>
            <a:custGeom>
              <a:avLst/>
              <a:gdLst>
                <a:gd name="connsiteX0" fmla="*/ 1104989 w 1104989"/>
                <a:gd name="connsiteY0" fmla="*/ 8872 h 327883"/>
                <a:gd name="connsiteX1" fmla="*/ 552494 w 1104989"/>
                <a:gd name="connsiteY1" fmla="*/ 327883 h 327883"/>
                <a:gd name="connsiteX2" fmla="*/ 0 w 1104989"/>
                <a:gd name="connsiteY2" fmla="*/ 8872 h 327883"/>
                <a:gd name="connsiteX3" fmla="*/ 5100 w 1104989"/>
                <a:gd name="connsiteY3" fmla="*/ 0 h 327883"/>
                <a:gd name="connsiteX4" fmla="*/ 552494 w 1104989"/>
                <a:gd name="connsiteY4" fmla="*/ 316029 h 327883"/>
                <a:gd name="connsiteX5" fmla="*/ 1099888 w 1104989"/>
                <a:gd name="connsiteY5" fmla="*/ 0 h 327883"/>
                <a:gd name="connsiteX6" fmla="*/ 1104989 w 1104989"/>
                <a:gd name="connsiteY6" fmla="*/ 8872 h 32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4989" h="327883">
                  <a:moveTo>
                    <a:pt x="1104989" y="8872"/>
                  </a:moveTo>
                  <a:lnTo>
                    <a:pt x="552494" y="327883"/>
                  </a:lnTo>
                  <a:lnTo>
                    <a:pt x="0" y="8872"/>
                  </a:lnTo>
                  <a:lnTo>
                    <a:pt x="5100" y="0"/>
                  </a:lnTo>
                  <a:lnTo>
                    <a:pt x="552494" y="316029"/>
                  </a:lnTo>
                  <a:lnTo>
                    <a:pt x="1099888" y="0"/>
                  </a:lnTo>
                  <a:lnTo>
                    <a:pt x="1104989" y="8872"/>
                  </a:lnTo>
                  <a:close/>
                </a:path>
              </a:pathLst>
            </a:custGeom>
            <a:grpFill/>
            <a:ln w="359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C0B4AEB-A33F-1B34-C9F6-FEFB9A638F61}"/>
                </a:ext>
              </a:extLst>
            </p:cNvPr>
            <p:cNvSpPr/>
            <p:nvPr/>
          </p:nvSpPr>
          <p:spPr>
            <a:xfrm>
              <a:off x="1861255" y="4015550"/>
              <a:ext cx="901822" cy="579219"/>
            </a:xfrm>
            <a:custGeom>
              <a:avLst/>
              <a:gdLst>
                <a:gd name="connsiteX0" fmla="*/ 901822 w 901822"/>
                <a:gd name="connsiteY0" fmla="*/ 320484 h 579219"/>
                <a:gd name="connsiteX1" fmla="*/ 901822 w 901822"/>
                <a:gd name="connsiteY1" fmla="*/ 579220 h 579219"/>
                <a:gd name="connsiteX2" fmla="*/ 891549 w 901822"/>
                <a:gd name="connsiteY2" fmla="*/ 579220 h 579219"/>
                <a:gd name="connsiteX3" fmla="*/ 891549 w 901822"/>
                <a:gd name="connsiteY3" fmla="*/ 326411 h 579219"/>
                <a:gd name="connsiteX4" fmla="*/ 346741 w 901822"/>
                <a:gd name="connsiteY4" fmla="*/ 11854 h 579219"/>
                <a:gd name="connsiteX5" fmla="*/ 5137 w 901822"/>
                <a:gd name="connsiteY5" fmla="*/ 209094 h 579219"/>
                <a:gd name="connsiteX6" fmla="*/ 0 w 901822"/>
                <a:gd name="connsiteY6" fmla="*/ 200186 h 579219"/>
                <a:gd name="connsiteX7" fmla="*/ 346741 w 901822"/>
                <a:gd name="connsiteY7" fmla="*/ 0 h 579219"/>
                <a:gd name="connsiteX8" fmla="*/ 901822 w 901822"/>
                <a:gd name="connsiteY8" fmla="*/ 320484 h 579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1822" h="579219">
                  <a:moveTo>
                    <a:pt x="901822" y="320484"/>
                  </a:moveTo>
                  <a:lnTo>
                    <a:pt x="901822" y="579220"/>
                  </a:lnTo>
                  <a:lnTo>
                    <a:pt x="891549" y="579220"/>
                  </a:lnTo>
                  <a:lnTo>
                    <a:pt x="891549" y="326411"/>
                  </a:lnTo>
                  <a:lnTo>
                    <a:pt x="346741" y="11854"/>
                  </a:lnTo>
                  <a:lnTo>
                    <a:pt x="5137" y="209094"/>
                  </a:lnTo>
                  <a:lnTo>
                    <a:pt x="0" y="200186"/>
                  </a:lnTo>
                  <a:lnTo>
                    <a:pt x="346741" y="0"/>
                  </a:lnTo>
                  <a:lnTo>
                    <a:pt x="901822" y="320484"/>
                  </a:lnTo>
                  <a:close/>
                </a:path>
              </a:pathLst>
            </a:custGeom>
            <a:grpFill/>
            <a:ln w="359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A2C36237-53FD-9942-AEDF-9788A8AC11D2}"/>
                </a:ext>
              </a:extLst>
            </p:cNvPr>
            <p:cNvSpPr/>
            <p:nvPr/>
          </p:nvSpPr>
          <p:spPr>
            <a:xfrm>
              <a:off x="6398860" y="846040"/>
              <a:ext cx="186384" cy="186386"/>
            </a:xfrm>
            <a:custGeom>
              <a:avLst/>
              <a:gdLst>
                <a:gd name="connsiteX0" fmla="*/ 43021 w 186384"/>
                <a:gd name="connsiteY0" fmla="*/ 173631 h 186386"/>
                <a:gd name="connsiteX1" fmla="*/ 170324 w 186384"/>
                <a:gd name="connsiteY1" fmla="*/ 139556 h 186386"/>
                <a:gd name="connsiteX2" fmla="*/ 136234 w 186384"/>
                <a:gd name="connsiteY2" fmla="*/ 12265 h 186386"/>
                <a:gd name="connsiteX3" fmla="*/ 8932 w 186384"/>
                <a:gd name="connsiteY3" fmla="*/ 46339 h 186386"/>
                <a:gd name="connsiteX4" fmla="*/ 8932 w 186384"/>
                <a:gd name="connsiteY4" fmla="*/ 46364 h 186386"/>
                <a:gd name="connsiteX5" fmla="*/ 43021 w 186384"/>
                <a:gd name="connsiteY5" fmla="*/ 173631 h 18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384" h="186386">
                  <a:moveTo>
                    <a:pt x="43021" y="173631"/>
                  </a:moveTo>
                  <a:cubicBezTo>
                    <a:pt x="87598" y="199371"/>
                    <a:pt x="144569" y="184116"/>
                    <a:pt x="170324" y="139556"/>
                  </a:cubicBezTo>
                  <a:cubicBezTo>
                    <a:pt x="196044" y="94997"/>
                    <a:pt x="180812" y="38005"/>
                    <a:pt x="136234" y="12265"/>
                  </a:cubicBezTo>
                  <a:cubicBezTo>
                    <a:pt x="91693" y="-13476"/>
                    <a:pt x="34687" y="1779"/>
                    <a:pt x="8932" y="46339"/>
                  </a:cubicBezTo>
                  <a:cubicBezTo>
                    <a:pt x="8932" y="46346"/>
                    <a:pt x="8932" y="46357"/>
                    <a:pt x="8932" y="46364"/>
                  </a:cubicBezTo>
                  <a:cubicBezTo>
                    <a:pt x="-16786" y="90924"/>
                    <a:pt x="-1520" y="147894"/>
                    <a:pt x="43021" y="173631"/>
                  </a:cubicBezTo>
                  <a:close/>
                </a:path>
              </a:pathLst>
            </a:custGeom>
            <a:grpFill/>
            <a:ln w="359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D2338F4-3421-D2BB-7DC2-67B893D7F80F}"/>
                </a:ext>
              </a:extLst>
            </p:cNvPr>
            <p:cNvSpPr/>
            <p:nvPr/>
          </p:nvSpPr>
          <p:spPr>
            <a:xfrm>
              <a:off x="1355076" y="4439873"/>
              <a:ext cx="147869" cy="147869"/>
            </a:xfrm>
            <a:custGeom>
              <a:avLst/>
              <a:gdLst>
                <a:gd name="connsiteX0" fmla="*/ 33389 w 147869"/>
                <a:gd name="connsiteY0" fmla="*/ 137696 h 147869"/>
                <a:gd name="connsiteX1" fmla="*/ 6376 w 147869"/>
                <a:gd name="connsiteY1" fmla="*/ 36688 h 147869"/>
                <a:gd name="connsiteX2" fmla="*/ 107349 w 147869"/>
                <a:gd name="connsiteY2" fmla="*/ 9675 h 147869"/>
                <a:gd name="connsiteX3" fmla="*/ 134397 w 147869"/>
                <a:gd name="connsiteY3" fmla="*/ 110648 h 147869"/>
                <a:gd name="connsiteX4" fmla="*/ 33425 w 147869"/>
                <a:gd name="connsiteY4" fmla="*/ 137696 h 147869"/>
                <a:gd name="connsiteX5" fmla="*/ 33389 w 147869"/>
                <a:gd name="connsiteY5" fmla="*/ 137696 h 147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869" h="147869">
                  <a:moveTo>
                    <a:pt x="33389" y="137696"/>
                  </a:moveTo>
                  <a:cubicBezTo>
                    <a:pt x="-1957" y="117257"/>
                    <a:pt x="-14062" y="72069"/>
                    <a:pt x="6376" y="36688"/>
                  </a:cubicBezTo>
                  <a:cubicBezTo>
                    <a:pt x="26779" y="1342"/>
                    <a:pt x="72003" y="-10728"/>
                    <a:pt x="107349" y="9675"/>
                  </a:cubicBezTo>
                  <a:cubicBezTo>
                    <a:pt x="142695" y="30114"/>
                    <a:pt x="154801" y="75302"/>
                    <a:pt x="134397" y="110648"/>
                  </a:cubicBezTo>
                  <a:cubicBezTo>
                    <a:pt x="113994" y="145994"/>
                    <a:pt x="68770" y="158135"/>
                    <a:pt x="33425" y="137696"/>
                  </a:cubicBezTo>
                  <a:cubicBezTo>
                    <a:pt x="33425" y="137696"/>
                    <a:pt x="33389" y="137696"/>
                    <a:pt x="33389" y="137696"/>
                  </a:cubicBezTo>
                  <a:close/>
                </a:path>
              </a:pathLst>
            </a:custGeom>
            <a:grpFill/>
            <a:ln w="359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ADB55085-98E2-AB85-D96B-4DAE56F1AB5A}"/>
                </a:ext>
              </a:extLst>
            </p:cNvPr>
            <p:cNvSpPr/>
            <p:nvPr/>
          </p:nvSpPr>
          <p:spPr>
            <a:xfrm>
              <a:off x="2192802" y="1309041"/>
              <a:ext cx="2307395" cy="1916004"/>
            </a:xfrm>
            <a:custGeom>
              <a:avLst/>
              <a:gdLst>
                <a:gd name="connsiteX0" fmla="*/ 2307395 w 2307395"/>
                <a:gd name="connsiteY0" fmla="*/ 666076 h 1916004"/>
                <a:gd name="connsiteX1" fmla="*/ 2307395 w 2307395"/>
                <a:gd name="connsiteY1" fmla="*/ 1893159 h 1916004"/>
                <a:gd name="connsiteX2" fmla="*/ 2286094 w 2307395"/>
                <a:gd name="connsiteY2" fmla="*/ 1893159 h 1916004"/>
                <a:gd name="connsiteX3" fmla="*/ 2286094 w 2307395"/>
                <a:gd name="connsiteY3" fmla="*/ 678361 h 1916004"/>
                <a:gd name="connsiteX4" fmla="*/ 1153698 w 2307395"/>
                <a:gd name="connsiteY4" fmla="*/ 24606 h 1916004"/>
                <a:gd name="connsiteX5" fmla="*/ 21301 w 2307395"/>
                <a:gd name="connsiteY5" fmla="*/ 678361 h 1916004"/>
                <a:gd name="connsiteX6" fmla="*/ 21301 w 2307395"/>
                <a:gd name="connsiteY6" fmla="*/ 1916005 h 1916004"/>
                <a:gd name="connsiteX7" fmla="*/ 0 w 2307395"/>
                <a:gd name="connsiteY7" fmla="*/ 1916005 h 1916004"/>
                <a:gd name="connsiteX8" fmla="*/ 0 w 2307395"/>
                <a:gd name="connsiteY8" fmla="*/ 666076 h 1916004"/>
                <a:gd name="connsiteX9" fmla="*/ 1153698 w 2307395"/>
                <a:gd name="connsiteY9" fmla="*/ 0 h 1916004"/>
                <a:gd name="connsiteX10" fmla="*/ 1159014 w 2307395"/>
                <a:gd name="connsiteY10" fmla="*/ 3053 h 1916004"/>
                <a:gd name="connsiteX11" fmla="*/ 2307395 w 2307395"/>
                <a:gd name="connsiteY11" fmla="*/ 666076 h 191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07395" h="1916004">
                  <a:moveTo>
                    <a:pt x="2307395" y="666076"/>
                  </a:moveTo>
                  <a:lnTo>
                    <a:pt x="2307395" y="1893159"/>
                  </a:lnTo>
                  <a:lnTo>
                    <a:pt x="2286094" y="1893159"/>
                  </a:lnTo>
                  <a:lnTo>
                    <a:pt x="2286094" y="678361"/>
                  </a:lnTo>
                  <a:lnTo>
                    <a:pt x="1153698" y="24606"/>
                  </a:lnTo>
                  <a:lnTo>
                    <a:pt x="21301" y="678361"/>
                  </a:lnTo>
                  <a:lnTo>
                    <a:pt x="21301" y="1916005"/>
                  </a:lnTo>
                  <a:lnTo>
                    <a:pt x="0" y="1916005"/>
                  </a:lnTo>
                  <a:lnTo>
                    <a:pt x="0" y="666076"/>
                  </a:lnTo>
                  <a:lnTo>
                    <a:pt x="1153698" y="0"/>
                  </a:lnTo>
                  <a:lnTo>
                    <a:pt x="1159014" y="3053"/>
                  </a:lnTo>
                  <a:lnTo>
                    <a:pt x="2307395" y="666076"/>
                  </a:lnTo>
                  <a:close/>
                </a:path>
              </a:pathLst>
            </a:custGeom>
            <a:grpFill/>
            <a:ln w="359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464BD88-E9E1-F523-21FB-54658EEF0726}"/>
                </a:ext>
              </a:extLst>
            </p:cNvPr>
            <p:cNvSpPr/>
            <p:nvPr/>
          </p:nvSpPr>
          <p:spPr>
            <a:xfrm>
              <a:off x="2123332" y="3140919"/>
              <a:ext cx="160205" cy="160205"/>
            </a:xfrm>
            <a:custGeom>
              <a:avLst/>
              <a:gdLst>
                <a:gd name="connsiteX0" fmla="*/ 160206 w 160205"/>
                <a:gd name="connsiteY0" fmla="*/ 80103 h 160205"/>
                <a:gd name="connsiteX1" fmla="*/ 80103 w 160205"/>
                <a:gd name="connsiteY1" fmla="*/ 160206 h 160205"/>
                <a:gd name="connsiteX2" fmla="*/ 0 w 160205"/>
                <a:gd name="connsiteY2" fmla="*/ 80103 h 160205"/>
                <a:gd name="connsiteX3" fmla="*/ 80103 w 160205"/>
                <a:gd name="connsiteY3" fmla="*/ 0 h 160205"/>
                <a:gd name="connsiteX4" fmla="*/ 160206 w 160205"/>
                <a:gd name="connsiteY4" fmla="*/ 80103 h 160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205" h="160205">
                  <a:moveTo>
                    <a:pt x="160206" y="80103"/>
                  </a:moveTo>
                  <a:cubicBezTo>
                    <a:pt x="160206" y="124343"/>
                    <a:pt x="124343" y="160206"/>
                    <a:pt x="80103" y="160206"/>
                  </a:cubicBezTo>
                  <a:cubicBezTo>
                    <a:pt x="35863" y="160206"/>
                    <a:pt x="0" y="124342"/>
                    <a:pt x="0" y="80103"/>
                  </a:cubicBezTo>
                  <a:cubicBezTo>
                    <a:pt x="0" y="35863"/>
                    <a:pt x="35863" y="0"/>
                    <a:pt x="80103" y="0"/>
                  </a:cubicBezTo>
                  <a:cubicBezTo>
                    <a:pt x="124343" y="0"/>
                    <a:pt x="160206" y="35863"/>
                    <a:pt x="160206" y="80103"/>
                  </a:cubicBezTo>
                  <a:close/>
                </a:path>
              </a:pathLst>
            </a:custGeom>
            <a:grpFill/>
            <a:ln w="359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90EE08D-2C90-C8E3-7C8A-F70F2F1FAB02}"/>
                </a:ext>
              </a:extLst>
            </p:cNvPr>
            <p:cNvSpPr/>
            <p:nvPr/>
          </p:nvSpPr>
          <p:spPr>
            <a:xfrm>
              <a:off x="4385396" y="3092822"/>
              <a:ext cx="208339" cy="208339"/>
            </a:xfrm>
            <a:custGeom>
              <a:avLst/>
              <a:gdLst>
                <a:gd name="connsiteX0" fmla="*/ -3560 w 208339"/>
                <a:gd name="connsiteY0" fmla="*/ 103924 h 208339"/>
                <a:gd name="connsiteX1" fmla="*/ 100610 w 208339"/>
                <a:gd name="connsiteY1" fmla="*/ 208094 h 208339"/>
                <a:gd name="connsiteX2" fmla="*/ 204779 w 208339"/>
                <a:gd name="connsiteY2" fmla="*/ 103924 h 208339"/>
                <a:gd name="connsiteX3" fmla="*/ 100610 w 208339"/>
                <a:gd name="connsiteY3" fmla="*/ -245 h 208339"/>
                <a:gd name="connsiteX4" fmla="*/ -3560 w 208339"/>
                <a:gd name="connsiteY4" fmla="*/ 103924 h 208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339" h="208339">
                  <a:moveTo>
                    <a:pt x="-3560" y="103924"/>
                  </a:moveTo>
                  <a:cubicBezTo>
                    <a:pt x="-3560" y="161469"/>
                    <a:pt x="43065" y="208094"/>
                    <a:pt x="100610" y="208094"/>
                  </a:cubicBezTo>
                  <a:cubicBezTo>
                    <a:pt x="158154" y="208094"/>
                    <a:pt x="204779" y="161469"/>
                    <a:pt x="204779" y="103924"/>
                  </a:cubicBezTo>
                  <a:cubicBezTo>
                    <a:pt x="204779" y="46379"/>
                    <a:pt x="158154" y="-245"/>
                    <a:pt x="100610" y="-245"/>
                  </a:cubicBezTo>
                  <a:cubicBezTo>
                    <a:pt x="43065" y="-245"/>
                    <a:pt x="-3560" y="46379"/>
                    <a:pt x="-3560" y="103924"/>
                  </a:cubicBezTo>
                  <a:close/>
                </a:path>
              </a:pathLst>
            </a:custGeom>
            <a:grpFill/>
            <a:ln w="359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F0DA444B-D951-CD3A-68E8-6FBBE39FA93A}"/>
                </a:ext>
              </a:extLst>
            </p:cNvPr>
            <p:cNvSpPr/>
            <p:nvPr/>
          </p:nvSpPr>
          <p:spPr>
            <a:xfrm>
              <a:off x="5419585" y="4733818"/>
              <a:ext cx="1107575" cy="610829"/>
            </a:xfrm>
            <a:custGeom>
              <a:avLst/>
              <a:gdLst>
                <a:gd name="connsiteX0" fmla="*/ 1107575 w 1107575"/>
                <a:gd name="connsiteY0" fmla="*/ 291855 h 610829"/>
                <a:gd name="connsiteX1" fmla="*/ 555081 w 1107575"/>
                <a:gd name="connsiteY1" fmla="*/ 610830 h 610829"/>
                <a:gd name="connsiteX2" fmla="*/ 0 w 1107575"/>
                <a:gd name="connsiteY2" fmla="*/ 290346 h 610829"/>
                <a:gd name="connsiteX3" fmla="*/ 0 w 1107575"/>
                <a:gd name="connsiteY3" fmla="*/ 0 h 610829"/>
                <a:gd name="connsiteX4" fmla="*/ 10237 w 1107575"/>
                <a:gd name="connsiteY4" fmla="*/ 0 h 610829"/>
                <a:gd name="connsiteX5" fmla="*/ 10237 w 1107575"/>
                <a:gd name="connsiteY5" fmla="*/ 284455 h 610829"/>
                <a:gd name="connsiteX6" fmla="*/ 555081 w 1107575"/>
                <a:gd name="connsiteY6" fmla="*/ 599012 h 610829"/>
                <a:gd name="connsiteX7" fmla="*/ 1102439 w 1107575"/>
                <a:gd name="connsiteY7" fmla="*/ 282947 h 610829"/>
                <a:gd name="connsiteX8" fmla="*/ 1107575 w 1107575"/>
                <a:gd name="connsiteY8" fmla="*/ 291855 h 610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575" h="610829">
                  <a:moveTo>
                    <a:pt x="1107575" y="291855"/>
                  </a:moveTo>
                  <a:lnTo>
                    <a:pt x="555081" y="610830"/>
                  </a:lnTo>
                  <a:lnTo>
                    <a:pt x="0" y="290346"/>
                  </a:lnTo>
                  <a:lnTo>
                    <a:pt x="0" y="0"/>
                  </a:lnTo>
                  <a:lnTo>
                    <a:pt x="10237" y="0"/>
                  </a:lnTo>
                  <a:lnTo>
                    <a:pt x="10237" y="284455"/>
                  </a:lnTo>
                  <a:lnTo>
                    <a:pt x="555081" y="599012"/>
                  </a:lnTo>
                  <a:lnTo>
                    <a:pt x="1102439" y="282947"/>
                  </a:lnTo>
                  <a:lnTo>
                    <a:pt x="1107575" y="291855"/>
                  </a:lnTo>
                  <a:close/>
                </a:path>
              </a:pathLst>
            </a:custGeom>
            <a:grpFill/>
            <a:ln w="359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3CD626F7-010C-355F-3C7D-9C56257B57DA}"/>
                </a:ext>
              </a:extLst>
            </p:cNvPr>
            <p:cNvSpPr/>
            <p:nvPr/>
          </p:nvSpPr>
          <p:spPr>
            <a:xfrm>
              <a:off x="3305299" y="3449046"/>
              <a:ext cx="557631" cy="1105097"/>
            </a:xfrm>
            <a:custGeom>
              <a:avLst/>
              <a:gdLst>
                <a:gd name="connsiteX0" fmla="*/ 557631 w 557631"/>
                <a:gd name="connsiteY0" fmla="*/ 8873 h 1105097"/>
                <a:gd name="connsiteX1" fmla="*/ 10237 w 557631"/>
                <a:gd name="connsiteY1" fmla="*/ 324902 h 1105097"/>
                <a:gd name="connsiteX2" fmla="*/ 10237 w 557631"/>
                <a:gd name="connsiteY2" fmla="*/ 954015 h 1105097"/>
                <a:gd name="connsiteX3" fmla="*/ 256581 w 557631"/>
                <a:gd name="connsiteY3" fmla="*/ 1096225 h 1105097"/>
                <a:gd name="connsiteX4" fmla="*/ 251444 w 557631"/>
                <a:gd name="connsiteY4" fmla="*/ 1105097 h 1105097"/>
                <a:gd name="connsiteX5" fmla="*/ 0 w 557631"/>
                <a:gd name="connsiteY5" fmla="*/ 959906 h 1105097"/>
                <a:gd name="connsiteX6" fmla="*/ 0 w 557631"/>
                <a:gd name="connsiteY6" fmla="*/ 318975 h 1105097"/>
                <a:gd name="connsiteX7" fmla="*/ 552495 w 557631"/>
                <a:gd name="connsiteY7" fmla="*/ 0 h 1105097"/>
                <a:gd name="connsiteX8" fmla="*/ 557631 w 557631"/>
                <a:gd name="connsiteY8" fmla="*/ 8873 h 110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31" h="1105097">
                  <a:moveTo>
                    <a:pt x="557631" y="8873"/>
                  </a:moveTo>
                  <a:lnTo>
                    <a:pt x="10237" y="324902"/>
                  </a:lnTo>
                  <a:lnTo>
                    <a:pt x="10237" y="954015"/>
                  </a:lnTo>
                  <a:lnTo>
                    <a:pt x="256581" y="1096225"/>
                  </a:lnTo>
                  <a:lnTo>
                    <a:pt x="251444" y="1105097"/>
                  </a:lnTo>
                  <a:lnTo>
                    <a:pt x="0" y="959906"/>
                  </a:lnTo>
                  <a:lnTo>
                    <a:pt x="0" y="318975"/>
                  </a:lnTo>
                  <a:lnTo>
                    <a:pt x="552495" y="0"/>
                  </a:lnTo>
                  <a:lnTo>
                    <a:pt x="557631" y="8873"/>
                  </a:lnTo>
                  <a:close/>
                </a:path>
              </a:pathLst>
            </a:custGeom>
            <a:grpFill/>
            <a:ln w="359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D8CE794A-EDB3-2517-1FC5-C7E64D7330FE}"/>
                </a:ext>
              </a:extLst>
            </p:cNvPr>
            <p:cNvSpPr/>
            <p:nvPr/>
          </p:nvSpPr>
          <p:spPr>
            <a:xfrm rot="18000001">
              <a:off x="3704402" y="4462459"/>
              <a:ext cx="10237" cy="347603"/>
            </a:xfrm>
            <a:custGeom>
              <a:avLst/>
              <a:gdLst>
                <a:gd name="connsiteX0" fmla="*/ -3560 w 10237"/>
                <a:gd name="connsiteY0" fmla="*/ -245 h 347603"/>
                <a:gd name="connsiteX1" fmla="*/ 6678 w 10237"/>
                <a:gd name="connsiteY1" fmla="*/ -245 h 347603"/>
                <a:gd name="connsiteX2" fmla="*/ 6678 w 10237"/>
                <a:gd name="connsiteY2" fmla="*/ 347358 h 347603"/>
                <a:gd name="connsiteX3" fmla="*/ -3560 w 10237"/>
                <a:gd name="connsiteY3" fmla="*/ 347358 h 347603"/>
              </a:gdLst>
              <a:ahLst/>
              <a:cxnLst>
                <a:cxn ang="0">
                  <a:pos x="connsiteX0" y="connsiteY0"/>
                </a:cxn>
                <a:cxn ang="0">
                  <a:pos x="connsiteX1" y="connsiteY1"/>
                </a:cxn>
                <a:cxn ang="0">
                  <a:pos x="connsiteX2" y="connsiteY2"/>
                </a:cxn>
                <a:cxn ang="0">
                  <a:pos x="connsiteX3" y="connsiteY3"/>
                </a:cxn>
              </a:cxnLst>
              <a:rect l="l" t="t" r="r" b="b"/>
              <a:pathLst>
                <a:path w="10237" h="347603">
                  <a:moveTo>
                    <a:pt x="-3560" y="-245"/>
                  </a:moveTo>
                  <a:lnTo>
                    <a:pt x="6678" y="-245"/>
                  </a:lnTo>
                  <a:lnTo>
                    <a:pt x="6678" y="347358"/>
                  </a:lnTo>
                  <a:lnTo>
                    <a:pt x="-3560" y="347358"/>
                  </a:lnTo>
                  <a:close/>
                </a:path>
              </a:pathLst>
            </a:custGeom>
            <a:grpFill/>
            <a:ln w="359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EFD78362-2A7C-484E-79A6-C43800829686}"/>
                </a:ext>
              </a:extLst>
            </p:cNvPr>
            <p:cNvSpPr/>
            <p:nvPr/>
          </p:nvSpPr>
          <p:spPr>
            <a:xfrm>
              <a:off x="640781" y="1711962"/>
              <a:ext cx="1739239" cy="1472457"/>
            </a:xfrm>
            <a:custGeom>
              <a:avLst/>
              <a:gdLst>
                <a:gd name="connsiteX0" fmla="*/ 1739239 w 1739239"/>
                <a:gd name="connsiteY0" fmla="*/ 486078 h 1472457"/>
                <a:gd name="connsiteX1" fmla="*/ 1730978 w 1739239"/>
                <a:gd name="connsiteY1" fmla="*/ 500410 h 1472457"/>
                <a:gd name="connsiteX2" fmla="*/ 897332 w 1739239"/>
                <a:gd name="connsiteY2" fmla="*/ 19110 h 1472457"/>
                <a:gd name="connsiteX3" fmla="*/ 16595 w 1739239"/>
                <a:gd name="connsiteY3" fmla="*/ 527638 h 1472457"/>
                <a:gd name="connsiteX4" fmla="*/ 16595 w 1739239"/>
                <a:gd name="connsiteY4" fmla="*/ 1472457 h 1472457"/>
                <a:gd name="connsiteX5" fmla="*/ 0 w 1739239"/>
                <a:gd name="connsiteY5" fmla="*/ 1472457 h 1472457"/>
                <a:gd name="connsiteX6" fmla="*/ 0 w 1739239"/>
                <a:gd name="connsiteY6" fmla="*/ 518047 h 1472457"/>
                <a:gd name="connsiteX7" fmla="*/ 897332 w 1739239"/>
                <a:gd name="connsiteY7" fmla="*/ 0 h 1472457"/>
                <a:gd name="connsiteX8" fmla="*/ 901463 w 1739239"/>
                <a:gd name="connsiteY8" fmla="*/ 2371 h 1472457"/>
                <a:gd name="connsiteX9" fmla="*/ 1739239 w 1739239"/>
                <a:gd name="connsiteY9" fmla="*/ 486078 h 147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239" h="1472457">
                  <a:moveTo>
                    <a:pt x="1739239" y="486078"/>
                  </a:moveTo>
                  <a:lnTo>
                    <a:pt x="1730978" y="500410"/>
                  </a:lnTo>
                  <a:lnTo>
                    <a:pt x="897332" y="19110"/>
                  </a:lnTo>
                  <a:lnTo>
                    <a:pt x="16595" y="527638"/>
                  </a:lnTo>
                  <a:lnTo>
                    <a:pt x="16595" y="1472457"/>
                  </a:lnTo>
                  <a:lnTo>
                    <a:pt x="0" y="1472457"/>
                  </a:lnTo>
                  <a:lnTo>
                    <a:pt x="0" y="518047"/>
                  </a:lnTo>
                  <a:lnTo>
                    <a:pt x="897332" y="0"/>
                  </a:lnTo>
                  <a:lnTo>
                    <a:pt x="901463" y="2371"/>
                  </a:lnTo>
                  <a:lnTo>
                    <a:pt x="1739239" y="486078"/>
                  </a:lnTo>
                  <a:close/>
                </a:path>
              </a:pathLst>
            </a:custGeom>
            <a:grpFill/>
            <a:ln w="359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01D9689-8055-0BEE-BB47-87C44F877F28}"/>
                </a:ext>
              </a:extLst>
            </p:cNvPr>
            <p:cNvSpPr/>
            <p:nvPr/>
          </p:nvSpPr>
          <p:spPr>
            <a:xfrm>
              <a:off x="568042" y="3099395"/>
              <a:ext cx="162002" cy="162002"/>
            </a:xfrm>
            <a:custGeom>
              <a:avLst/>
              <a:gdLst>
                <a:gd name="connsiteX0" fmla="*/ 158442 w 162002"/>
                <a:gd name="connsiteY0" fmla="*/ 80720 h 162002"/>
                <a:gd name="connsiteX1" fmla="*/ 77477 w 162002"/>
                <a:gd name="connsiteY1" fmla="*/ 161757 h 162002"/>
                <a:gd name="connsiteX2" fmla="*/ -3560 w 162002"/>
                <a:gd name="connsiteY2" fmla="*/ 80792 h 162002"/>
                <a:gd name="connsiteX3" fmla="*/ 77405 w 162002"/>
                <a:gd name="connsiteY3" fmla="*/ -245 h 162002"/>
                <a:gd name="connsiteX4" fmla="*/ 77441 w 162002"/>
                <a:gd name="connsiteY4" fmla="*/ -245 h 162002"/>
                <a:gd name="connsiteX5" fmla="*/ 158442 w 162002"/>
                <a:gd name="connsiteY5" fmla="*/ 80720 h 16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002" h="162002">
                  <a:moveTo>
                    <a:pt x="158442" y="80720"/>
                  </a:moveTo>
                  <a:cubicBezTo>
                    <a:pt x="158478" y="125441"/>
                    <a:pt x="122198" y="161721"/>
                    <a:pt x="77477" y="161757"/>
                  </a:cubicBezTo>
                  <a:cubicBezTo>
                    <a:pt x="32756" y="161792"/>
                    <a:pt x="-3524" y="125513"/>
                    <a:pt x="-3560" y="80792"/>
                  </a:cubicBezTo>
                  <a:cubicBezTo>
                    <a:pt x="-3596" y="36070"/>
                    <a:pt x="32684" y="-209"/>
                    <a:pt x="77405" y="-245"/>
                  </a:cubicBezTo>
                  <a:cubicBezTo>
                    <a:pt x="77405" y="-245"/>
                    <a:pt x="77441" y="-245"/>
                    <a:pt x="77441" y="-245"/>
                  </a:cubicBezTo>
                  <a:cubicBezTo>
                    <a:pt x="122162" y="-209"/>
                    <a:pt x="158406" y="35999"/>
                    <a:pt x="158442" y="80720"/>
                  </a:cubicBezTo>
                  <a:close/>
                </a:path>
              </a:pathLst>
            </a:custGeom>
            <a:grpFill/>
            <a:ln w="359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3BB2B68-C143-A538-8042-F517C1CF795F}"/>
                </a:ext>
              </a:extLst>
            </p:cNvPr>
            <p:cNvSpPr/>
            <p:nvPr/>
          </p:nvSpPr>
          <p:spPr>
            <a:xfrm>
              <a:off x="2310846" y="2141374"/>
              <a:ext cx="124687" cy="124664"/>
            </a:xfrm>
            <a:custGeom>
              <a:avLst/>
              <a:gdLst>
                <a:gd name="connsiteX0" fmla="*/ 27610 w 124687"/>
                <a:gd name="connsiteY0" fmla="*/ 116049 h 124664"/>
                <a:gd name="connsiteX1" fmla="*/ 112742 w 124687"/>
                <a:gd name="connsiteY1" fmla="*/ 93264 h 124664"/>
                <a:gd name="connsiteX2" fmla="*/ 89969 w 124687"/>
                <a:gd name="connsiteY2" fmla="*/ 8125 h 124664"/>
                <a:gd name="connsiteX3" fmla="*/ 4836 w 124687"/>
                <a:gd name="connsiteY3" fmla="*/ 30906 h 124664"/>
                <a:gd name="connsiteX4" fmla="*/ 4801 w 124687"/>
                <a:gd name="connsiteY4" fmla="*/ 30953 h 124664"/>
                <a:gd name="connsiteX5" fmla="*/ 27575 w 124687"/>
                <a:gd name="connsiteY5" fmla="*/ 116038 h 124664"/>
                <a:gd name="connsiteX6" fmla="*/ 27610 w 124687"/>
                <a:gd name="connsiteY6" fmla="*/ 116049 h 12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687" h="124664">
                  <a:moveTo>
                    <a:pt x="27610" y="116049"/>
                  </a:moveTo>
                  <a:cubicBezTo>
                    <a:pt x="57425" y="133269"/>
                    <a:pt x="95536" y="123067"/>
                    <a:pt x="112742" y="93264"/>
                  </a:cubicBezTo>
                  <a:cubicBezTo>
                    <a:pt x="129983" y="63461"/>
                    <a:pt x="119782" y="25342"/>
                    <a:pt x="89969" y="8125"/>
                  </a:cubicBezTo>
                  <a:cubicBezTo>
                    <a:pt x="60154" y="-9095"/>
                    <a:pt x="22043" y="1106"/>
                    <a:pt x="4836" y="30906"/>
                  </a:cubicBezTo>
                  <a:cubicBezTo>
                    <a:pt x="4801" y="30924"/>
                    <a:pt x="4801" y="30938"/>
                    <a:pt x="4801" y="30953"/>
                  </a:cubicBezTo>
                  <a:cubicBezTo>
                    <a:pt x="-12405" y="60742"/>
                    <a:pt x="-2204" y="98835"/>
                    <a:pt x="27575" y="116038"/>
                  </a:cubicBezTo>
                  <a:cubicBezTo>
                    <a:pt x="27610" y="116041"/>
                    <a:pt x="27610" y="116045"/>
                    <a:pt x="27610" y="116049"/>
                  </a:cubicBezTo>
                  <a:close/>
                </a:path>
              </a:pathLst>
            </a:custGeom>
            <a:grpFill/>
            <a:ln w="359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C1478200-AF20-1DCC-5D6F-0EF61FC67298}"/>
                </a:ext>
              </a:extLst>
            </p:cNvPr>
            <p:cNvSpPr/>
            <p:nvPr/>
          </p:nvSpPr>
          <p:spPr>
            <a:xfrm>
              <a:off x="1400035" y="2308172"/>
              <a:ext cx="1225036" cy="368293"/>
            </a:xfrm>
            <a:custGeom>
              <a:avLst/>
              <a:gdLst>
                <a:gd name="connsiteX0" fmla="*/ 1225036 w 1225036"/>
                <a:gd name="connsiteY0" fmla="*/ 10345 h 368293"/>
                <a:gd name="connsiteX1" fmla="*/ 605118 w 1225036"/>
                <a:gd name="connsiteY1" fmla="*/ 368294 h 368293"/>
                <a:gd name="connsiteX2" fmla="*/ 0 w 1225036"/>
                <a:gd name="connsiteY2" fmla="*/ 18930 h 368293"/>
                <a:gd name="connsiteX3" fmla="*/ 5963 w 1225036"/>
                <a:gd name="connsiteY3" fmla="*/ 8549 h 368293"/>
                <a:gd name="connsiteX4" fmla="*/ 605118 w 1225036"/>
                <a:gd name="connsiteY4" fmla="*/ 354464 h 368293"/>
                <a:gd name="connsiteX5" fmla="*/ 1219073 w 1225036"/>
                <a:gd name="connsiteY5" fmla="*/ 0 h 368293"/>
                <a:gd name="connsiteX6" fmla="*/ 1225036 w 1225036"/>
                <a:gd name="connsiteY6" fmla="*/ 10345 h 368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5036" h="368293">
                  <a:moveTo>
                    <a:pt x="1225036" y="10345"/>
                  </a:moveTo>
                  <a:lnTo>
                    <a:pt x="605118" y="368294"/>
                  </a:lnTo>
                  <a:lnTo>
                    <a:pt x="0" y="18930"/>
                  </a:lnTo>
                  <a:lnTo>
                    <a:pt x="5963" y="8549"/>
                  </a:lnTo>
                  <a:lnTo>
                    <a:pt x="605118" y="354464"/>
                  </a:lnTo>
                  <a:lnTo>
                    <a:pt x="1219073" y="0"/>
                  </a:lnTo>
                  <a:lnTo>
                    <a:pt x="1225036" y="10345"/>
                  </a:lnTo>
                  <a:close/>
                </a:path>
              </a:pathLst>
            </a:custGeom>
            <a:grpFill/>
            <a:ln w="359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92164292-BA3C-3EE6-A6F0-62FDAE7966BD}"/>
                </a:ext>
              </a:extLst>
            </p:cNvPr>
            <p:cNvSpPr/>
            <p:nvPr/>
          </p:nvSpPr>
          <p:spPr>
            <a:xfrm>
              <a:off x="2589289" y="2282585"/>
              <a:ext cx="63097" cy="63085"/>
            </a:xfrm>
            <a:custGeom>
              <a:avLst/>
              <a:gdLst>
                <a:gd name="connsiteX0" fmla="*/ 12249 w 63097"/>
                <a:gd name="connsiteY0" fmla="*/ 3969 h 63085"/>
                <a:gd name="connsiteX1" fmla="*/ 55319 w 63097"/>
                <a:gd name="connsiteY1" fmla="*/ 15553 h 63085"/>
                <a:gd name="connsiteX2" fmla="*/ 43752 w 63097"/>
                <a:gd name="connsiteY2" fmla="*/ 58626 h 63085"/>
                <a:gd name="connsiteX3" fmla="*/ 682 w 63097"/>
                <a:gd name="connsiteY3" fmla="*/ 47074 h 63085"/>
                <a:gd name="connsiteX4" fmla="*/ 12214 w 63097"/>
                <a:gd name="connsiteY4" fmla="*/ 3987 h 63085"/>
                <a:gd name="connsiteX5" fmla="*/ 12249 w 63097"/>
                <a:gd name="connsiteY5" fmla="*/ 3969 h 6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097" h="63085">
                  <a:moveTo>
                    <a:pt x="12249" y="3969"/>
                  </a:moveTo>
                  <a:cubicBezTo>
                    <a:pt x="27337" y="-4724"/>
                    <a:pt x="46625" y="463"/>
                    <a:pt x="55319" y="15553"/>
                  </a:cubicBezTo>
                  <a:cubicBezTo>
                    <a:pt x="64012" y="30647"/>
                    <a:pt x="58839" y="49933"/>
                    <a:pt x="43752" y="58626"/>
                  </a:cubicBezTo>
                  <a:cubicBezTo>
                    <a:pt x="28665" y="67311"/>
                    <a:pt x="9377" y="62142"/>
                    <a:pt x="682" y="47074"/>
                  </a:cubicBezTo>
                  <a:cubicBezTo>
                    <a:pt x="-8045" y="31991"/>
                    <a:pt x="-2873" y="12701"/>
                    <a:pt x="12214" y="3987"/>
                  </a:cubicBezTo>
                  <a:cubicBezTo>
                    <a:pt x="12214" y="3983"/>
                    <a:pt x="12249" y="3976"/>
                    <a:pt x="12249" y="3969"/>
                  </a:cubicBezTo>
                  <a:close/>
                </a:path>
              </a:pathLst>
            </a:custGeom>
            <a:grpFill/>
            <a:ln w="359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38082F21-BA22-7E3F-7E86-1F2CAE1654F0}"/>
                </a:ext>
              </a:extLst>
            </p:cNvPr>
            <p:cNvSpPr/>
            <p:nvPr/>
          </p:nvSpPr>
          <p:spPr>
            <a:xfrm>
              <a:off x="1355490" y="2273509"/>
              <a:ext cx="99085" cy="99085"/>
            </a:xfrm>
            <a:custGeom>
              <a:avLst/>
              <a:gdLst>
                <a:gd name="connsiteX0" fmla="*/ 70871 w 99085"/>
                <a:gd name="connsiteY0" fmla="*/ 6471 h 99085"/>
                <a:gd name="connsiteX1" fmla="*/ 3160 w 99085"/>
                <a:gd name="connsiteY1" fmla="*/ 24406 h 99085"/>
                <a:gd name="connsiteX2" fmla="*/ 21084 w 99085"/>
                <a:gd name="connsiteY2" fmla="*/ 92124 h 99085"/>
                <a:gd name="connsiteX3" fmla="*/ 88795 w 99085"/>
                <a:gd name="connsiteY3" fmla="*/ 74189 h 99085"/>
                <a:gd name="connsiteX4" fmla="*/ 88831 w 99085"/>
                <a:gd name="connsiteY4" fmla="*/ 74145 h 99085"/>
                <a:gd name="connsiteX5" fmla="*/ 70871 w 99085"/>
                <a:gd name="connsiteY5" fmla="*/ 6471 h 9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85" h="99085">
                  <a:moveTo>
                    <a:pt x="70871" y="6471"/>
                  </a:moveTo>
                  <a:cubicBezTo>
                    <a:pt x="47235" y="-7276"/>
                    <a:pt x="16918" y="752"/>
                    <a:pt x="3160" y="24406"/>
                  </a:cubicBezTo>
                  <a:cubicBezTo>
                    <a:pt x="-10598" y="48060"/>
                    <a:pt x="-2552" y="78377"/>
                    <a:pt x="21084" y="92124"/>
                  </a:cubicBezTo>
                  <a:cubicBezTo>
                    <a:pt x="44756" y="105871"/>
                    <a:pt x="75073" y="97842"/>
                    <a:pt x="88795" y="74189"/>
                  </a:cubicBezTo>
                  <a:cubicBezTo>
                    <a:pt x="88831" y="74174"/>
                    <a:pt x="88831" y="74160"/>
                    <a:pt x="88831" y="74145"/>
                  </a:cubicBezTo>
                  <a:cubicBezTo>
                    <a:pt x="102552" y="50495"/>
                    <a:pt x="94506" y="20207"/>
                    <a:pt x="70871" y="6471"/>
                  </a:cubicBezTo>
                  <a:close/>
                </a:path>
              </a:pathLst>
            </a:custGeom>
            <a:grpFill/>
            <a:ln w="359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08AD0DA-DD06-514E-C6F3-39EEFBBB0784}"/>
                </a:ext>
              </a:extLst>
            </p:cNvPr>
            <p:cNvSpPr/>
            <p:nvPr/>
          </p:nvSpPr>
          <p:spPr>
            <a:xfrm>
              <a:off x="5329640" y="3295665"/>
              <a:ext cx="993851" cy="841404"/>
            </a:xfrm>
            <a:custGeom>
              <a:avLst/>
              <a:gdLst>
                <a:gd name="connsiteX0" fmla="*/ 993851 w 993851"/>
                <a:gd name="connsiteY0" fmla="*/ 277774 h 841404"/>
                <a:gd name="connsiteX1" fmla="*/ 989109 w 993851"/>
                <a:gd name="connsiteY1" fmla="*/ 285964 h 841404"/>
                <a:gd name="connsiteX2" fmla="*/ 512731 w 993851"/>
                <a:gd name="connsiteY2" fmla="*/ 10956 h 841404"/>
                <a:gd name="connsiteX3" fmla="*/ 9447 w 993851"/>
                <a:gd name="connsiteY3" fmla="*/ 301517 h 841404"/>
                <a:gd name="connsiteX4" fmla="*/ 9447 w 993851"/>
                <a:gd name="connsiteY4" fmla="*/ 841404 h 841404"/>
                <a:gd name="connsiteX5" fmla="*/ 0 w 993851"/>
                <a:gd name="connsiteY5" fmla="*/ 841404 h 841404"/>
                <a:gd name="connsiteX6" fmla="*/ 0 w 993851"/>
                <a:gd name="connsiteY6" fmla="*/ 296058 h 841404"/>
                <a:gd name="connsiteX7" fmla="*/ 512731 w 993851"/>
                <a:gd name="connsiteY7" fmla="*/ 0 h 841404"/>
                <a:gd name="connsiteX8" fmla="*/ 993851 w 993851"/>
                <a:gd name="connsiteY8" fmla="*/ 277774 h 841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851" h="841404">
                  <a:moveTo>
                    <a:pt x="993851" y="277774"/>
                  </a:moveTo>
                  <a:lnTo>
                    <a:pt x="989109" y="285964"/>
                  </a:lnTo>
                  <a:lnTo>
                    <a:pt x="512731" y="10956"/>
                  </a:lnTo>
                  <a:lnTo>
                    <a:pt x="9447" y="301517"/>
                  </a:lnTo>
                  <a:lnTo>
                    <a:pt x="9447" y="841404"/>
                  </a:lnTo>
                  <a:lnTo>
                    <a:pt x="0" y="841404"/>
                  </a:lnTo>
                  <a:lnTo>
                    <a:pt x="0" y="296058"/>
                  </a:lnTo>
                  <a:lnTo>
                    <a:pt x="512731" y="0"/>
                  </a:lnTo>
                  <a:lnTo>
                    <a:pt x="993851" y="277774"/>
                  </a:lnTo>
                  <a:close/>
                </a:path>
              </a:pathLst>
            </a:custGeom>
            <a:grpFill/>
            <a:ln w="359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A50344E2-2FBC-5811-7121-0BD1D587AEF1}"/>
                </a:ext>
              </a:extLst>
            </p:cNvPr>
            <p:cNvSpPr/>
            <p:nvPr/>
          </p:nvSpPr>
          <p:spPr>
            <a:xfrm>
              <a:off x="5288080" y="4088469"/>
              <a:ext cx="92532" cy="92531"/>
            </a:xfrm>
            <a:custGeom>
              <a:avLst/>
              <a:gdLst>
                <a:gd name="connsiteX0" fmla="*/ 88972 w 92532"/>
                <a:gd name="connsiteY0" fmla="*/ 46056 h 92531"/>
                <a:gd name="connsiteX1" fmla="*/ 42670 w 92532"/>
                <a:gd name="connsiteY1" fmla="*/ 92286 h 92531"/>
                <a:gd name="connsiteX2" fmla="*/ -3560 w 92532"/>
                <a:gd name="connsiteY2" fmla="*/ 45984 h 92531"/>
                <a:gd name="connsiteX3" fmla="*/ 42705 w 92532"/>
                <a:gd name="connsiteY3" fmla="*/ -245 h 92531"/>
                <a:gd name="connsiteX4" fmla="*/ 88972 w 92532"/>
                <a:gd name="connsiteY4" fmla="*/ 46020 h 92531"/>
                <a:gd name="connsiteX5" fmla="*/ 88972 w 92532"/>
                <a:gd name="connsiteY5" fmla="*/ 46056 h 9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532" h="92531">
                  <a:moveTo>
                    <a:pt x="88972" y="46056"/>
                  </a:moveTo>
                  <a:cubicBezTo>
                    <a:pt x="88935" y="71596"/>
                    <a:pt x="68209" y="92322"/>
                    <a:pt x="42670" y="92286"/>
                  </a:cubicBezTo>
                  <a:cubicBezTo>
                    <a:pt x="17131" y="92250"/>
                    <a:pt x="-3595" y="71524"/>
                    <a:pt x="-3560" y="45984"/>
                  </a:cubicBezTo>
                  <a:cubicBezTo>
                    <a:pt x="-3523" y="20444"/>
                    <a:pt x="17166" y="-245"/>
                    <a:pt x="42705" y="-245"/>
                  </a:cubicBezTo>
                  <a:cubicBezTo>
                    <a:pt x="68246" y="-245"/>
                    <a:pt x="88972" y="20480"/>
                    <a:pt x="88972" y="46020"/>
                  </a:cubicBezTo>
                  <a:cubicBezTo>
                    <a:pt x="88972" y="46020"/>
                    <a:pt x="88972" y="46056"/>
                    <a:pt x="88972" y="46056"/>
                  </a:cubicBezTo>
                  <a:close/>
                </a:path>
              </a:pathLst>
            </a:custGeom>
            <a:grpFill/>
            <a:ln w="359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12273DE9-353B-78B6-20D3-71FDE935CF85}"/>
                </a:ext>
              </a:extLst>
            </p:cNvPr>
            <p:cNvSpPr/>
            <p:nvPr/>
          </p:nvSpPr>
          <p:spPr>
            <a:xfrm>
              <a:off x="6283942" y="3541018"/>
              <a:ext cx="71207" cy="71200"/>
            </a:xfrm>
            <a:custGeom>
              <a:avLst/>
              <a:gdLst>
                <a:gd name="connsiteX0" fmla="*/ 14257 w 71207"/>
                <a:gd name="connsiteY0" fmla="*/ 66193 h 71200"/>
                <a:gd name="connsiteX1" fmla="*/ 62894 w 71207"/>
                <a:gd name="connsiteY1" fmla="*/ 53153 h 71200"/>
                <a:gd name="connsiteX2" fmla="*/ 49818 w 71207"/>
                <a:gd name="connsiteY2" fmla="*/ 4517 h 71200"/>
                <a:gd name="connsiteX3" fmla="*/ 1219 w 71207"/>
                <a:gd name="connsiteY3" fmla="*/ 17556 h 71200"/>
                <a:gd name="connsiteX4" fmla="*/ 14257 w 71207"/>
                <a:gd name="connsiteY4" fmla="*/ 66193 h 71200"/>
                <a:gd name="connsiteX5" fmla="*/ 14257 w 71207"/>
                <a:gd name="connsiteY5" fmla="*/ 66193 h 7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207" h="71200">
                  <a:moveTo>
                    <a:pt x="14257" y="66193"/>
                  </a:moveTo>
                  <a:cubicBezTo>
                    <a:pt x="31283" y="75999"/>
                    <a:pt x="53051" y="70180"/>
                    <a:pt x="62894" y="53153"/>
                  </a:cubicBezTo>
                  <a:cubicBezTo>
                    <a:pt x="72700" y="36127"/>
                    <a:pt x="66844" y="14359"/>
                    <a:pt x="49818" y="4517"/>
                  </a:cubicBezTo>
                  <a:cubicBezTo>
                    <a:pt x="32791" y="-5290"/>
                    <a:pt x="11060" y="530"/>
                    <a:pt x="1219" y="17556"/>
                  </a:cubicBezTo>
                  <a:cubicBezTo>
                    <a:pt x="-8624" y="34582"/>
                    <a:pt x="-2770" y="56350"/>
                    <a:pt x="14257" y="66193"/>
                  </a:cubicBezTo>
                  <a:cubicBezTo>
                    <a:pt x="14257" y="66193"/>
                    <a:pt x="14257" y="66193"/>
                    <a:pt x="14257" y="66193"/>
                  </a:cubicBezTo>
                  <a:close/>
                </a:path>
              </a:pathLst>
            </a:custGeom>
            <a:grpFill/>
            <a:ln w="359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FF956029-4F6E-8760-0E96-413EFAB57849}"/>
                </a:ext>
              </a:extLst>
            </p:cNvPr>
            <p:cNvSpPr/>
            <p:nvPr/>
          </p:nvSpPr>
          <p:spPr>
            <a:xfrm>
              <a:off x="5364195" y="4335423"/>
              <a:ext cx="968059" cy="291064"/>
            </a:xfrm>
            <a:custGeom>
              <a:avLst/>
              <a:gdLst>
                <a:gd name="connsiteX0" fmla="*/ 968060 w 968059"/>
                <a:gd name="connsiteY0" fmla="*/ 8226 h 291064"/>
                <a:gd name="connsiteX1" fmla="*/ 478175 w 968059"/>
                <a:gd name="connsiteY1" fmla="*/ 291065 h 291064"/>
                <a:gd name="connsiteX2" fmla="*/ 0 w 968059"/>
                <a:gd name="connsiteY2" fmla="*/ 14979 h 291064"/>
                <a:gd name="connsiteX3" fmla="*/ 4742 w 968059"/>
                <a:gd name="connsiteY3" fmla="*/ 6789 h 291064"/>
                <a:gd name="connsiteX4" fmla="*/ 478175 w 968059"/>
                <a:gd name="connsiteY4" fmla="*/ 280109 h 291064"/>
                <a:gd name="connsiteX5" fmla="*/ 963319 w 968059"/>
                <a:gd name="connsiteY5" fmla="*/ 0 h 291064"/>
                <a:gd name="connsiteX6" fmla="*/ 968060 w 968059"/>
                <a:gd name="connsiteY6" fmla="*/ 8226 h 29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059" h="291064">
                  <a:moveTo>
                    <a:pt x="968060" y="8226"/>
                  </a:moveTo>
                  <a:lnTo>
                    <a:pt x="478175" y="291065"/>
                  </a:lnTo>
                  <a:lnTo>
                    <a:pt x="0" y="14979"/>
                  </a:lnTo>
                  <a:lnTo>
                    <a:pt x="4742" y="6789"/>
                  </a:lnTo>
                  <a:lnTo>
                    <a:pt x="478175" y="280109"/>
                  </a:lnTo>
                  <a:lnTo>
                    <a:pt x="963319" y="0"/>
                  </a:lnTo>
                  <a:lnTo>
                    <a:pt x="968060" y="8226"/>
                  </a:lnTo>
                  <a:close/>
                </a:path>
              </a:pathLst>
            </a:custGeom>
            <a:grpFill/>
            <a:ln w="359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D972ECE5-9DC4-21C4-6AF2-FA217B5B7DFD}"/>
                </a:ext>
              </a:extLst>
            </p:cNvPr>
            <p:cNvSpPr/>
            <p:nvPr/>
          </p:nvSpPr>
          <p:spPr>
            <a:xfrm>
              <a:off x="6303869" y="4315226"/>
              <a:ext cx="49877" cy="49877"/>
            </a:xfrm>
            <a:custGeom>
              <a:avLst/>
              <a:gdLst>
                <a:gd name="connsiteX0" fmla="*/ 8914 w 49877"/>
                <a:gd name="connsiteY0" fmla="*/ 3105 h 49877"/>
                <a:gd name="connsiteX1" fmla="*/ 42967 w 49877"/>
                <a:gd name="connsiteY1" fmla="*/ 12229 h 49877"/>
                <a:gd name="connsiteX2" fmla="*/ 33843 w 49877"/>
                <a:gd name="connsiteY2" fmla="*/ 46282 h 49877"/>
                <a:gd name="connsiteX3" fmla="*/ -210 w 49877"/>
                <a:gd name="connsiteY3" fmla="*/ 37158 h 49877"/>
                <a:gd name="connsiteX4" fmla="*/ -210 w 49877"/>
                <a:gd name="connsiteY4" fmla="*/ 37158 h 49877"/>
                <a:gd name="connsiteX5" fmla="*/ 8914 w 49877"/>
                <a:gd name="connsiteY5" fmla="*/ 3105 h 4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77" h="49877">
                  <a:moveTo>
                    <a:pt x="8914" y="3105"/>
                  </a:moveTo>
                  <a:cubicBezTo>
                    <a:pt x="20839" y="-3792"/>
                    <a:pt x="36070" y="303"/>
                    <a:pt x="42967" y="12229"/>
                  </a:cubicBezTo>
                  <a:cubicBezTo>
                    <a:pt x="49863" y="24154"/>
                    <a:pt x="45768" y="39385"/>
                    <a:pt x="33843" y="46282"/>
                  </a:cubicBezTo>
                  <a:cubicBezTo>
                    <a:pt x="21916" y="53179"/>
                    <a:pt x="6687" y="49084"/>
                    <a:pt x="-210" y="37158"/>
                  </a:cubicBezTo>
                  <a:cubicBezTo>
                    <a:pt x="-210" y="37158"/>
                    <a:pt x="-210" y="37158"/>
                    <a:pt x="-210" y="37158"/>
                  </a:cubicBezTo>
                  <a:cubicBezTo>
                    <a:pt x="-7106" y="25232"/>
                    <a:pt x="-3012" y="10002"/>
                    <a:pt x="8914" y="3105"/>
                  </a:cubicBezTo>
                  <a:close/>
                </a:path>
              </a:pathLst>
            </a:custGeom>
            <a:grpFill/>
            <a:ln w="359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7E15A645-AF7E-55A4-DBEB-6CC29695470F}"/>
                </a:ext>
              </a:extLst>
            </p:cNvPr>
            <p:cNvSpPr/>
            <p:nvPr/>
          </p:nvSpPr>
          <p:spPr>
            <a:xfrm>
              <a:off x="5329122" y="4308127"/>
              <a:ext cx="78325" cy="78318"/>
            </a:xfrm>
            <a:custGeom>
              <a:avLst/>
              <a:gdLst>
                <a:gd name="connsiteX0" fmla="*/ 55149 w 78325"/>
                <a:gd name="connsiteY0" fmla="*/ 4995 h 78318"/>
                <a:gd name="connsiteX1" fmla="*/ 1663 w 78325"/>
                <a:gd name="connsiteY1" fmla="*/ 19363 h 78318"/>
                <a:gd name="connsiteX2" fmla="*/ 16068 w 78325"/>
                <a:gd name="connsiteY2" fmla="*/ 72849 h 78318"/>
                <a:gd name="connsiteX3" fmla="*/ 69517 w 78325"/>
                <a:gd name="connsiteY3" fmla="*/ 58481 h 78318"/>
                <a:gd name="connsiteX4" fmla="*/ 55149 w 78325"/>
                <a:gd name="connsiteY4" fmla="*/ 4995 h 78318"/>
                <a:gd name="connsiteX5" fmla="*/ 55149 w 78325"/>
                <a:gd name="connsiteY5" fmla="*/ 4995 h 7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325" h="78318">
                  <a:moveTo>
                    <a:pt x="55149" y="4995"/>
                  </a:moveTo>
                  <a:cubicBezTo>
                    <a:pt x="36399" y="-5817"/>
                    <a:pt x="12476" y="648"/>
                    <a:pt x="1663" y="19363"/>
                  </a:cubicBezTo>
                  <a:cubicBezTo>
                    <a:pt x="-9114" y="38113"/>
                    <a:pt x="-2684" y="62037"/>
                    <a:pt x="16068" y="72849"/>
                  </a:cubicBezTo>
                  <a:cubicBezTo>
                    <a:pt x="34782" y="83625"/>
                    <a:pt x="58706" y="77195"/>
                    <a:pt x="69517" y="58481"/>
                  </a:cubicBezTo>
                  <a:cubicBezTo>
                    <a:pt x="80330" y="39766"/>
                    <a:pt x="73900" y="15807"/>
                    <a:pt x="55149" y="4995"/>
                  </a:cubicBezTo>
                  <a:cubicBezTo>
                    <a:pt x="55149" y="4995"/>
                    <a:pt x="55149" y="4995"/>
                    <a:pt x="55149" y="4995"/>
                  </a:cubicBezTo>
                  <a:close/>
                </a:path>
              </a:pathLst>
            </a:custGeom>
            <a:grpFill/>
            <a:ln w="359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2E397F9C-A01E-6146-BB73-0DD18CEA7DD8}"/>
                </a:ext>
              </a:extLst>
            </p:cNvPr>
            <p:cNvSpPr/>
            <p:nvPr/>
          </p:nvSpPr>
          <p:spPr>
            <a:xfrm>
              <a:off x="6460708" y="3677034"/>
              <a:ext cx="9483" cy="508815"/>
            </a:xfrm>
            <a:custGeom>
              <a:avLst/>
              <a:gdLst>
                <a:gd name="connsiteX0" fmla="*/ 0 w 9483"/>
                <a:gd name="connsiteY0" fmla="*/ 0 h 508815"/>
                <a:gd name="connsiteX1" fmla="*/ 9483 w 9483"/>
                <a:gd name="connsiteY1" fmla="*/ 0 h 508815"/>
                <a:gd name="connsiteX2" fmla="*/ 9483 w 9483"/>
                <a:gd name="connsiteY2" fmla="*/ 508815 h 508815"/>
                <a:gd name="connsiteX3" fmla="*/ 0 w 9483"/>
                <a:gd name="connsiteY3" fmla="*/ 508815 h 508815"/>
              </a:gdLst>
              <a:ahLst/>
              <a:cxnLst>
                <a:cxn ang="0">
                  <a:pos x="connsiteX0" y="connsiteY0"/>
                </a:cxn>
                <a:cxn ang="0">
                  <a:pos x="connsiteX1" y="connsiteY1"/>
                </a:cxn>
                <a:cxn ang="0">
                  <a:pos x="connsiteX2" y="connsiteY2"/>
                </a:cxn>
                <a:cxn ang="0">
                  <a:pos x="connsiteX3" y="connsiteY3"/>
                </a:cxn>
              </a:cxnLst>
              <a:rect l="l" t="t" r="r" b="b"/>
              <a:pathLst>
                <a:path w="9483" h="508815">
                  <a:moveTo>
                    <a:pt x="0" y="0"/>
                  </a:moveTo>
                  <a:lnTo>
                    <a:pt x="9483" y="0"/>
                  </a:lnTo>
                  <a:lnTo>
                    <a:pt x="9483" y="508815"/>
                  </a:lnTo>
                  <a:lnTo>
                    <a:pt x="0" y="508815"/>
                  </a:lnTo>
                  <a:close/>
                </a:path>
              </a:pathLst>
            </a:custGeom>
            <a:grpFill/>
            <a:ln w="359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302A7635-8299-015A-9768-89A7C98F05A4}"/>
                </a:ext>
              </a:extLst>
            </p:cNvPr>
            <p:cNvSpPr/>
            <p:nvPr/>
          </p:nvSpPr>
          <p:spPr>
            <a:xfrm>
              <a:off x="6419147" y="3633032"/>
              <a:ext cx="92604" cy="92603"/>
            </a:xfrm>
            <a:custGeom>
              <a:avLst/>
              <a:gdLst>
                <a:gd name="connsiteX0" fmla="*/ -3560 w 92604"/>
                <a:gd name="connsiteY0" fmla="*/ 46056 h 92603"/>
                <a:gd name="connsiteX1" fmla="*/ 42742 w 92604"/>
                <a:gd name="connsiteY1" fmla="*/ -245 h 92603"/>
                <a:gd name="connsiteX2" fmla="*/ 89044 w 92604"/>
                <a:gd name="connsiteY2" fmla="*/ 46056 h 92603"/>
                <a:gd name="connsiteX3" fmla="*/ 42742 w 92604"/>
                <a:gd name="connsiteY3" fmla="*/ 92358 h 92603"/>
                <a:gd name="connsiteX4" fmla="*/ 42707 w 92604"/>
                <a:gd name="connsiteY4" fmla="*/ 92358 h 92603"/>
                <a:gd name="connsiteX5" fmla="*/ -3560 w 92604"/>
                <a:gd name="connsiteY5" fmla="*/ 46092 h 92603"/>
                <a:gd name="connsiteX6" fmla="*/ -3560 w 92604"/>
                <a:gd name="connsiteY6" fmla="*/ 46056 h 9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604" h="92603">
                  <a:moveTo>
                    <a:pt x="-3560" y="46056"/>
                  </a:moveTo>
                  <a:cubicBezTo>
                    <a:pt x="-3560" y="20481"/>
                    <a:pt x="17166" y="-245"/>
                    <a:pt x="42742" y="-245"/>
                  </a:cubicBezTo>
                  <a:cubicBezTo>
                    <a:pt x="68318" y="-245"/>
                    <a:pt x="89044" y="20481"/>
                    <a:pt x="89044" y="46056"/>
                  </a:cubicBezTo>
                  <a:cubicBezTo>
                    <a:pt x="89044" y="71632"/>
                    <a:pt x="68318" y="92358"/>
                    <a:pt x="42742" y="92358"/>
                  </a:cubicBezTo>
                  <a:cubicBezTo>
                    <a:pt x="42742" y="92358"/>
                    <a:pt x="42707" y="92358"/>
                    <a:pt x="42707" y="92358"/>
                  </a:cubicBezTo>
                  <a:cubicBezTo>
                    <a:pt x="17166" y="92358"/>
                    <a:pt x="-3560" y="71632"/>
                    <a:pt x="-3560" y="46092"/>
                  </a:cubicBezTo>
                  <a:cubicBezTo>
                    <a:pt x="-3560" y="46092"/>
                    <a:pt x="-3560" y="46056"/>
                    <a:pt x="-3560" y="46056"/>
                  </a:cubicBezTo>
                  <a:close/>
                </a:path>
              </a:pathLst>
            </a:custGeom>
            <a:grpFill/>
            <a:ln w="359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CB6F3A57-96F2-78DF-E008-C246CE59157B}"/>
                </a:ext>
              </a:extLst>
            </p:cNvPr>
            <p:cNvSpPr/>
            <p:nvPr/>
          </p:nvSpPr>
          <p:spPr>
            <a:xfrm>
              <a:off x="6429816" y="4148492"/>
              <a:ext cx="71193" cy="71194"/>
            </a:xfrm>
            <a:custGeom>
              <a:avLst/>
              <a:gdLst>
                <a:gd name="connsiteX0" fmla="*/ -3560 w 71193"/>
                <a:gd name="connsiteY0" fmla="*/ 35352 h 71194"/>
                <a:gd name="connsiteX1" fmla="*/ 32038 w 71193"/>
                <a:gd name="connsiteY1" fmla="*/ 70949 h 71194"/>
                <a:gd name="connsiteX2" fmla="*/ 67634 w 71193"/>
                <a:gd name="connsiteY2" fmla="*/ 35352 h 71194"/>
                <a:gd name="connsiteX3" fmla="*/ 32038 w 71193"/>
                <a:gd name="connsiteY3" fmla="*/ -245 h 71194"/>
                <a:gd name="connsiteX4" fmla="*/ -3560 w 71193"/>
                <a:gd name="connsiteY4" fmla="*/ 35352 h 71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93" h="71194">
                  <a:moveTo>
                    <a:pt x="-3560" y="35352"/>
                  </a:moveTo>
                  <a:cubicBezTo>
                    <a:pt x="-3560" y="55000"/>
                    <a:pt x="12388" y="70949"/>
                    <a:pt x="32038" y="70949"/>
                  </a:cubicBezTo>
                  <a:cubicBezTo>
                    <a:pt x="51685" y="70949"/>
                    <a:pt x="67634" y="55000"/>
                    <a:pt x="67634" y="35352"/>
                  </a:cubicBezTo>
                  <a:cubicBezTo>
                    <a:pt x="67634" y="15703"/>
                    <a:pt x="51685" y="-245"/>
                    <a:pt x="32038" y="-245"/>
                  </a:cubicBezTo>
                  <a:cubicBezTo>
                    <a:pt x="12388" y="-245"/>
                    <a:pt x="-3560" y="15703"/>
                    <a:pt x="-3560" y="35352"/>
                  </a:cubicBezTo>
                  <a:close/>
                </a:path>
              </a:pathLst>
            </a:custGeom>
            <a:grpFill/>
            <a:ln w="359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EA435B80-C88C-AA88-B5FC-6A2BFB16EE38}"/>
                </a:ext>
              </a:extLst>
            </p:cNvPr>
            <p:cNvSpPr/>
            <p:nvPr/>
          </p:nvSpPr>
          <p:spPr>
            <a:xfrm>
              <a:off x="5323857" y="1311807"/>
              <a:ext cx="525913" cy="916693"/>
            </a:xfrm>
            <a:custGeom>
              <a:avLst/>
              <a:gdLst>
                <a:gd name="connsiteX0" fmla="*/ 525914 w 525913"/>
                <a:gd name="connsiteY0" fmla="*/ 907821 h 916693"/>
                <a:gd name="connsiteX1" fmla="*/ 520813 w 525913"/>
                <a:gd name="connsiteY1" fmla="*/ 916694 h 916693"/>
                <a:gd name="connsiteX2" fmla="*/ 0 w 525913"/>
                <a:gd name="connsiteY2" fmla="*/ 616002 h 916693"/>
                <a:gd name="connsiteX3" fmla="*/ 0 w 525913"/>
                <a:gd name="connsiteY3" fmla="*/ 0 h 916693"/>
                <a:gd name="connsiteX4" fmla="*/ 10237 w 525913"/>
                <a:gd name="connsiteY4" fmla="*/ 0 h 916693"/>
                <a:gd name="connsiteX5" fmla="*/ 10237 w 525913"/>
                <a:gd name="connsiteY5" fmla="*/ 610111 h 916693"/>
                <a:gd name="connsiteX6" fmla="*/ 525914 w 525913"/>
                <a:gd name="connsiteY6" fmla="*/ 907821 h 91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913" h="916693">
                  <a:moveTo>
                    <a:pt x="525914" y="907821"/>
                  </a:moveTo>
                  <a:lnTo>
                    <a:pt x="520813" y="916694"/>
                  </a:lnTo>
                  <a:lnTo>
                    <a:pt x="0" y="616002"/>
                  </a:lnTo>
                  <a:lnTo>
                    <a:pt x="0" y="0"/>
                  </a:lnTo>
                  <a:lnTo>
                    <a:pt x="10237" y="0"/>
                  </a:lnTo>
                  <a:lnTo>
                    <a:pt x="10237" y="610111"/>
                  </a:lnTo>
                  <a:lnTo>
                    <a:pt x="525914" y="907821"/>
                  </a:lnTo>
                  <a:close/>
                </a:path>
              </a:pathLst>
            </a:custGeom>
            <a:grpFill/>
            <a:ln w="359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EAB1D02B-D6BE-0B64-4F73-462F3FFC91D1}"/>
                </a:ext>
              </a:extLst>
            </p:cNvPr>
            <p:cNvSpPr/>
            <p:nvPr/>
          </p:nvSpPr>
          <p:spPr>
            <a:xfrm>
              <a:off x="5807000" y="2184534"/>
              <a:ext cx="77099" cy="77098"/>
            </a:xfrm>
            <a:custGeom>
              <a:avLst/>
              <a:gdLst>
                <a:gd name="connsiteX0" fmla="*/ 54261 w 77099"/>
                <a:gd name="connsiteY0" fmla="*/ 4927 h 77098"/>
                <a:gd name="connsiteX1" fmla="*/ 68379 w 77099"/>
                <a:gd name="connsiteY1" fmla="*/ 57579 h 77098"/>
                <a:gd name="connsiteX2" fmla="*/ 15718 w 77099"/>
                <a:gd name="connsiteY2" fmla="*/ 71682 h 77098"/>
                <a:gd name="connsiteX3" fmla="*/ 1601 w 77099"/>
                <a:gd name="connsiteY3" fmla="*/ 19044 h 77098"/>
                <a:gd name="connsiteX4" fmla="*/ 54261 w 77099"/>
                <a:gd name="connsiteY4" fmla="*/ 4920 h 77098"/>
                <a:gd name="connsiteX5" fmla="*/ 54261 w 77099"/>
                <a:gd name="connsiteY5" fmla="*/ 4927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9" h="77098">
                  <a:moveTo>
                    <a:pt x="54261" y="4927"/>
                  </a:moveTo>
                  <a:cubicBezTo>
                    <a:pt x="72688" y="15570"/>
                    <a:pt x="79011" y="39145"/>
                    <a:pt x="68379" y="57579"/>
                  </a:cubicBezTo>
                  <a:cubicBezTo>
                    <a:pt x="57709" y="76014"/>
                    <a:pt x="34145" y="82325"/>
                    <a:pt x="15718" y="71682"/>
                  </a:cubicBezTo>
                  <a:cubicBezTo>
                    <a:pt x="-2708" y="61038"/>
                    <a:pt x="-9031" y="37478"/>
                    <a:pt x="1601" y="19044"/>
                  </a:cubicBezTo>
                  <a:cubicBezTo>
                    <a:pt x="12233" y="606"/>
                    <a:pt x="35797" y="-5720"/>
                    <a:pt x="54261" y="4920"/>
                  </a:cubicBezTo>
                  <a:cubicBezTo>
                    <a:pt x="54261" y="4923"/>
                    <a:pt x="54261" y="4923"/>
                    <a:pt x="54261" y="4927"/>
                  </a:cubicBezTo>
                  <a:close/>
                </a:path>
              </a:pathLst>
            </a:custGeom>
            <a:grpFill/>
            <a:ln w="359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6C878708-B43A-7C84-C941-6B8315A67447}"/>
                </a:ext>
              </a:extLst>
            </p:cNvPr>
            <p:cNvSpPr/>
            <p:nvPr/>
          </p:nvSpPr>
          <p:spPr>
            <a:xfrm>
              <a:off x="5305824" y="1289823"/>
              <a:ext cx="46267" cy="46265"/>
            </a:xfrm>
            <a:custGeom>
              <a:avLst/>
              <a:gdLst>
                <a:gd name="connsiteX0" fmla="*/ 42707 w 46267"/>
                <a:gd name="connsiteY0" fmla="*/ 22887 h 46265"/>
                <a:gd name="connsiteX1" fmla="*/ 19572 w 46267"/>
                <a:gd name="connsiteY1" fmla="*/ -245 h 46265"/>
                <a:gd name="connsiteX2" fmla="*/ -3560 w 46267"/>
                <a:gd name="connsiteY2" fmla="*/ 22887 h 46265"/>
                <a:gd name="connsiteX3" fmla="*/ 19572 w 46267"/>
                <a:gd name="connsiteY3" fmla="*/ 46020 h 46265"/>
                <a:gd name="connsiteX4" fmla="*/ 42707 w 46267"/>
                <a:gd name="connsiteY4" fmla="*/ 22887 h 4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67" h="46265">
                  <a:moveTo>
                    <a:pt x="42707" y="22887"/>
                  </a:moveTo>
                  <a:cubicBezTo>
                    <a:pt x="42707" y="10110"/>
                    <a:pt x="32360" y="-245"/>
                    <a:pt x="19572" y="-245"/>
                  </a:cubicBezTo>
                  <a:cubicBezTo>
                    <a:pt x="6786" y="-245"/>
                    <a:pt x="-3560" y="10110"/>
                    <a:pt x="-3560" y="22887"/>
                  </a:cubicBezTo>
                  <a:cubicBezTo>
                    <a:pt x="-3560" y="35664"/>
                    <a:pt x="6786" y="46020"/>
                    <a:pt x="19572" y="46020"/>
                  </a:cubicBezTo>
                  <a:cubicBezTo>
                    <a:pt x="32360" y="46020"/>
                    <a:pt x="42707" y="35664"/>
                    <a:pt x="42707" y="22887"/>
                  </a:cubicBezTo>
                  <a:close/>
                </a:path>
              </a:pathLst>
            </a:custGeom>
            <a:grpFill/>
            <a:ln w="359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BF84B432-E1CB-77C6-6548-F61B882C9307}"/>
                </a:ext>
              </a:extLst>
            </p:cNvPr>
            <p:cNvSpPr/>
            <p:nvPr/>
          </p:nvSpPr>
          <p:spPr>
            <a:xfrm>
              <a:off x="5598362" y="2361442"/>
              <a:ext cx="557667" cy="1120183"/>
            </a:xfrm>
            <a:custGeom>
              <a:avLst/>
              <a:gdLst>
                <a:gd name="connsiteX0" fmla="*/ 557667 w 557667"/>
                <a:gd name="connsiteY0" fmla="*/ 318975 h 1120183"/>
                <a:gd name="connsiteX1" fmla="*/ 557667 w 557667"/>
                <a:gd name="connsiteY1" fmla="*/ 959942 h 1120183"/>
                <a:gd name="connsiteX2" fmla="*/ 280109 w 557667"/>
                <a:gd name="connsiteY2" fmla="*/ 1120184 h 1120183"/>
                <a:gd name="connsiteX3" fmla="*/ 274972 w 557667"/>
                <a:gd name="connsiteY3" fmla="*/ 1111276 h 1120183"/>
                <a:gd name="connsiteX4" fmla="*/ 547394 w 557667"/>
                <a:gd name="connsiteY4" fmla="*/ 954015 h 1120183"/>
                <a:gd name="connsiteX5" fmla="*/ 547394 w 557667"/>
                <a:gd name="connsiteY5" fmla="*/ 324902 h 1120183"/>
                <a:gd name="connsiteX6" fmla="*/ 0 w 557667"/>
                <a:gd name="connsiteY6" fmla="*/ 8872 h 1120183"/>
                <a:gd name="connsiteX7" fmla="*/ 5136 w 557667"/>
                <a:gd name="connsiteY7" fmla="*/ 0 h 1120183"/>
                <a:gd name="connsiteX8" fmla="*/ 557667 w 557667"/>
                <a:gd name="connsiteY8" fmla="*/ 318975 h 112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67" h="1120183">
                  <a:moveTo>
                    <a:pt x="557667" y="318975"/>
                  </a:moveTo>
                  <a:lnTo>
                    <a:pt x="557667" y="959942"/>
                  </a:lnTo>
                  <a:lnTo>
                    <a:pt x="280109" y="1120184"/>
                  </a:lnTo>
                  <a:lnTo>
                    <a:pt x="274972" y="1111276"/>
                  </a:lnTo>
                  <a:lnTo>
                    <a:pt x="547394" y="954015"/>
                  </a:lnTo>
                  <a:lnTo>
                    <a:pt x="547394" y="324902"/>
                  </a:lnTo>
                  <a:lnTo>
                    <a:pt x="0" y="8872"/>
                  </a:lnTo>
                  <a:lnTo>
                    <a:pt x="5136" y="0"/>
                  </a:lnTo>
                  <a:lnTo>
                    <a:pt x="557667" y="318975"/>
                  </a:lnTo>
                  <a:close/>
                </a:path>
              </a:pathLst>
            </a:custGeom>
            <a:grpFill/>
            <a:ln w="359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86E4B5CB-4AB2-22E1-DECA-013D2219C05D}"/>
                </a:ext>
              </a:extLst>
            </p:cNvPr>
            <p:cNvSpPr/>
            <p:nvPr/>
          </p:nvSpPr>
          <p:spPr>
            <a:xfrm>
              <a:off x="1914669" y="201824"/>
              <a:ext cx="525949" cy="1236817"/>
            </a:xfrm>
            <a:custGeom>
              <a:avLst/>
              <a:gdLst>
                <a:gd name="connsiteX0" fmla="*/ 525949 w 525949"/>
                <a:gd name="connsiteY0" fmla="*/ 300691 h 1236817"/>
                <a:gd name="connsiteX1" fmla="*/ 525949 w 525949"/>
                <a:gd name="connsiteY1" fmla="*/ 941623 h 1236817"/>
                <a:gd name="connsiteX2" fmla="*/ 14656 w 525949"/>
                <a:gd name="connsiteY2" fmla="*/ 1236818 h 1236817"/>
                <a:gd name="connsiteX3" fmla="*/ 9519 w 525949"/>
                <a:gd name="connsiteY3" fmla="*/ 1227946 h 1236817"/>
                <a:gd name="connsiteX4" fmla="*/ 515676 w 525949"/>
                <a:gd name="connsiteY4" fmla="*/ 935696 h 1236817"/>
                <a:gd name="connsiteX5" fmla="*/ 515676 w 525949"/>
                <a:gd name="connsiteY5" fmla="*/ 306582 h 1236817"/>
                <a:gd name="connsiteX6" fmla="*/ 0 w 525949"/>
                <a:gd name="connsiteY6" fmla="*/ 8872 h 1236817"/>
                <a:gd name="connsiteX7" fmla="*/ 5137 w 525949"/>
                <a:gd name="connsiteY7" fmla="*/ 0 h 1236817"/>
                <a:gd name="connsiteX8" fmla="*/ 525949 w 525949"/>
                <a:gd name="connsiteY8" fmla="*/ 300691 h 123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949" h="1236817">
                  <a:moveTo>
                    <a:pt x="525949" y="300691"/>
                  </a:moveTo>
                  <a:lnTo>
                    <a:pt x="525949" y="941623"/>
                  </a:lnTo>
                  <a:lnTo>
                    <a:pt x="14656" y="1236818"/>
                  </a:lnTo>
                  <a:lnTo>
                    <a:pt x="9519" y="1227946"/>
                  </a:lnTo>
                  <a:lnTo>
                    <a:pt x="515676" y="935696"/>
                  </a:lnTo>
                  <a:lnTo>
                    <a:pt x="515676" y="306582"/>
                  </a:lnTo>
                  <a:lnTo>
                    <a:pt x="0" y="8872"/>
                  </a:lnTo>
                  <a:lnTo>
                    <a:pt x="5137" y="0"/>
                  </a:lnTo>
                  <a:lnTo>
                    <a:pt x="525949" y="300691"/>
                  </a:lnTo>
                  <a:close/>
                </a:path>
              </a:pathLst>
            </a:custGeom>
            <a:grpFill/>
            <a:ln w="359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E675746B-24BB-B918-CB33-00F2446F9058}"/>
                </a:ext>
              </a:extLst>
            </p:cNvPr>
            <p:cNvSpPr/>
            <p:nvPr/>
          </p:nvSpPr>
          <p:spPr>
            <a:xfrm>
              <a:off x="1880340" y="168656"/>
              <a:ext cx="77099" cy="77098"/>
            </a:xfrm>
            <a:custGeom>
              <a:avLst/>
              <a:gdLst>
                <a:gd name="connsiteX0" fmla="*/ 15719 w 77099"/>
                <a:gd name="connsiteY0" fmla="*/ 71681 h 77098"/>
                <a:gd name="connsiteX1" fmla="*/ 1601 w 77099"/>
                <a:gd name="connsiteY1" fmla="*/ 19028 h 77098"/>
                <a:gd name="connsiteX2" fmla="*/ 54261 w 77099"/>
                <a:gd name="connsiteY2" fmla="*/ 4926 h 77098"/>
                <a:gd name="connsiteX3" fmla="*/ 68378 w 77099"/>
                <a:gd name="connsiteY3" fmla="*/ 57564 h 77098"/>
                <a:gd name="connsiteX4" fmla="*/ 15719 w 77099"/>
                <a:gd name="connsiteY4" fmla="*/ 71688 h 77098"/>
                <a:gd name="connsiteX5" fmla="*/ 15719 w 77099"/>
                <a:gd name="connsiteY5" fmla="*/ 71681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9" h="77098">
                  <a:moveTo>
                    <a:pt x="15719" y="71681"/>
                  </a:moveTo>
                  <a:cubicBezTo>
                    <a:pt x="-2709" y="61038"/>
                    <a:pt x="-9031" y="37463"/>
                    <a:pt x="1601" y="19028"/>
                  </a:cubicBezTo>
                  <a:cubicBezTo>
                    <a:pt x="12269" y="594"/>
                    <a:pt x="35834" y="-5717"/>
                    <a:pt x="54261" y="4926"/>
                  </a:cubicBezTo>
                  <a:cubicBezTo>
                    <a:pt x="72688" y="15569"/>
                    <a:pt x="79010" y="39130"/>
                    <a:pt x="68378" y="57564"/>
                  </a:cubicBezTo>
                  <a:cubicBezTo>
                    <a:pt x="57746" y="76002"/>
                    <a:pt x="34181" y="82328"/>
                    <a:pt x="15719" y="71688"/>
                  </a:cubicBezTo>
                  <a:cubicBezTo>
                    <a:pt x="15719" y="71684"/>
                    <a:pt x="15719" y="71684"/>
                    <a:pt x="15719" y="71681"/>
                  </a:cubicBezTo>
                  <a:close/>
                </a:path>
              </a:pathLst>
            </a:custGeom>
            <a:grpFill/>
            <a:ln w="359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A65FBE39-6F8D-485C-6642-592E7BA2F0C2}"/>
                </a:ext>
              </a:extLst>
            </p:cNvPr>
            <p:cNvSpPr/>
            <p:nvPr/>
          </p:nvSpPr>
          <p:spPr>
            <a:xfrm rot="18067199">
              <a:off x="1878610" y="1382671"/>
              <a:ext cx="100218" cy="100218"/>
            </a:xfrm>
            <a:custGeom>
              <a:avLst/>
              <a:gdLst>
                <a:gd name="connsiteX0" fmla="*/ 96658 w 100218"/>
                <a:gd name="connsiteY0" fmla="*/ 49864 h 100218"/>
                <a:gd name="connsiteX1" fmla="*/ 46549 w 100218"/>
                <a:gd name="connsiteY1" fmla="*/ 99973 h 100218"/>
                <a:gd name="connsiteX2" fmla="*/ -3560 w 100218"/>
                <a:gd name="connsiteY2" fmla="*/ 49864 h 100218"/>
                <a:gd name="connsiteX3" fmla="*/ 46549 w 100218"/>
                <a:gd name="connsiteY3" fmla="*/ -245 h 100218"/>
                <a:gd name="connsiteX4" fmla="*/ 96658 w 100218"/>
                <a:gd name="connsiteY4" fmla="*/ 49864 h 100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8" h="100218">
                  <a:moveTo>
                    <a:pt x="96658" y="49864"/>
                  </a:moveTo>
                  <a:cubicBezTo>
                    <a:pt x="96658" y="77538"/>
                    <a:pt x="74223" y="99973"/>
                    <a:pt x="46549" y="99973"/>
                  </a:cubicBezTo>
                  <a:cubicBezTo>
                    <a:pt x="18875" y="99973"/>
                    <a:pt x="-3560" y="77539"/>
                    <a:pt x="-3560" y="49864"/>
                  </a:cubicBezTo>
                  <a:cubicBezTo>
                    <a:pt x="-3560" y="22189"/>
                    <a:pt x="18875" y="-245"/>
                    <a:pt x="46549" y="-245"/>
                  </a:cubicBezTo>
                  <a:cubicBezTo>
                    <a:pt x="74223" y="-245"/>
                    <a:pt x="96658" y="22189"/>
                    <a:pt x="96658" y="49864"/>
                  </a:cubicBezTo>
                  <a:close/>
                </a:path>
              </a:pathLst>
            </a:custGeom>
            <a:grpFill/>
            <a:ln w="359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00B05985-C6E5-7DF7-7C1E-5F10960DE0EE}"/>
                </a:ext>
              </a:extLst>
            </p:cNvPr>
            <p:cNvSpPr/>
            <p:nvPr/>
          </p:nvSpPr>
          <p:spPr>
            <a:xfrm rot="19799999">
              <a:off x="2117992" y="4193776"/>
              <a:ext cx="635039" cy="10237"/>
            </a:xfrm>
            <a:custGeom>
              <a:avLst/>
              <a:gdLst>
                <a:gd name="connsiteX0" fmla="*/ -3561 w 635039"/>
                <a:gd name="connsiteY0" fmla="*/ -245 h 10237"/>
                <a:gd name="connsiteX1" fmla="*/ 631479 w 635039"/>
                <a:gd name="connsiteY1" fmla="*/ -245 h 10237"/>
                <a:gd name="connsiteX2" fmla="*/ 631479 w 635039"/>
                <a:gd name="connsiteY2" fmla="*/ 9992 h 10237"/>
                <a:gd name="connsiteX3" fmla="*/ -3561 w 635039"/>
                <a:gd name="connsiteY3" fmla="*/ 9992 h 10237"/>
              </a:gdLst>
              <a:ahLst/>
              <a:cxnLst>
                <a:cxn ang="0">
                  <a:pos x="connsiteX0" y="connsiteY0"/>
                </a:cxn>
                <a:cxn ang="0">
                  <a:pos x="connsiteX1" y="connsiteY1"/>
                </a:cxn>
                <a:cxn ang="0">
                  <a:pos x="connsiteX2" y="connsiteY2"/>
                </a:cxn>
                <a:cxn ang="0">
                  <a:pos x="connsiteX3" y="connsiteY3"/>
                </a:cxn>
              </a:cxnLst>
              <a:rect l="l" t="t" r="r" b="b"/>
              <a:pathLst>
                <a:path w="635039" h="10237">
                  <a:moveTo>
                    <a:pt x="-3561" y="-245"/>
                  </a:moveTo>
                  <a:lnTo>
                    <a:pt x="631479" y="-245"/>
                  </a:lnTo>
                  <a:lnTo>
                    <a:pt x="631479" y="9992"/>
                  </a:lnTo>
                  <a:lnTo>
                    <a:pt x="-3561" y="9992"/>
                  </a:lnTo>
                  <a:close/>
                </a:path>
              </a:pathLst>
            </a:custGeom>
            <a:grpFill/>
            <a:ln w="359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3D03E616-1BC5-7B50-98D6-B1F8C8B57338}"/>
                </a:ext>
              </a:extLst>
            </p:cNvPr>
            <p:cNvSpPr/>
            <p:nvPr/>
          </p:nvSpPr>
          <p:spPr>
            <a:xfrm rot="19799999">
              <a:off x="5089898" y="4901722"/>
              <a:ext cx="635039" cy="10237"/>
            </a:xfrm>
            <a:custGeom>
              <a:avLst/>
              <a:gdLst>
                <a:gd name="connsiteX0" fmla="*/ -3560 w 635039"/>
                <a:gd name="connsiteY0" fmla="*/ -246 h 10237"/>
                <a:gd name="connsiteX1" fmla="*/ 631480 w 635039"/>
                <a:gd name="connsiteY1" fmla="*/ -246 h 10237"/>
                <a:gd name="connsiteX2" fmla="*/ 631480 w 635039"/>
                <a:gd name="connsiteY2" fmla="*/ 9992 h 10237"/>
                <a:gd name="connsiteX3" fmla="*/ -3560 w 635039"/>
                <a:gd name="connsiteY3" fmla="*/ 9992 h 10237"/>
              </a:gdLst>
              <a:ahLst/>
              <a:cxnLst>
                <a:cxn ang="0">
                  <a:pos x="connsiteX0" y="connsiteY0"/>
                </a:cxn>
                <a:cxn ang="0">
                  <a:pos x="connsiteX1" y="connsiteY1"/>
                </a:cxn>
                <a:cxn ang="0">
                  <a:pos x="connsiteX2" y="connsiteY2"/>
                </a:cxn>
                <a:cxn ang="0">
                  <a:pos x="connsiteX3" y="connsiteY3"/>
                </a:cxn>
              </a:cxnLst>
              <a:rect l="l" t="t" r="r" b="b"/>
              <a:pathLst>
                <a:path w="635039" h="10237">
                  <a:moveTo>
                    <a:pt x="-3560" y="-246"/>
                  </a:moveTo>
                  <a:lnTo>
                    <a:pt x="631480" y="-246"/>
                  </a:lnTo>
                  <a:lnTo>
                    <a:pt x="631480" y="9992"/>
                  </a:lnTo>
                  <a:lnTo>
                    <a:pt x="-3560" y="9992"/>
                  </a:lnTo>
                  <a:close/>
                </a:path>
              </a:pathLst>
            </a:custGeom>
            <a:grpFill/>
            <a:ln w="359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0D93A185-6207-5C84-AFE8-57132AE39959}"/>
                </a:ext>
              </a:extLst>
            </p:cNvPr>
            <p:cNvSpPr/>
            <p:nvPr/>
          </p:nvSpPr>
          <p:spPr>
            <a:xfrm rot="19799999">
              <a:off x="5756058" y="1312474"/>
              <a:ext cx="569125" cy="10237"/>
            </a:xfrm>
            <a:custGeom>
              <a:avLst/>
              <a:gdLst>
                <a:gd name="connsiteX0" fmla="*/ -3559 w 569125"/>
                <a:gd name="connsiteY0" fmla="*/ -245 h 10237"/>
                <a:gd name="connsiteX1" fmla="*/ 565566 w 569125"/>
                <a:gd name="connsiteY1" fmla="*/ -245 h 10237"/>
                <a:gd name="connsiteX2" fmla="*/ 565566 w 569125"/>
                <a:gd name="connsiteY2" fmla="*/ 9992 h 10237"/>
                <a:gd name="connsiteX3" fmla="*/ -3559 w 569125"/>
                <a:gd name="connsiteY3" fmla="*/ 9992 h 10237"/>
              </a:gdLst>
              <a:ahLst/>
              <a:cxnLst>
                <a:cxn ang="0">
                  <a:pos x="connsiteX0" y="connsiteY0"/>
                </a:cxn>
                <a:cxn ang="0">
                  <a:pos x="connsiteX1" y="connsiteY1"/>
                </a:cxn>
                <a:cxn ang="0">
                  <a:pos x="connsiteX2" y="connsiteY2"/>
                </a:cxn>
                <a:cxn ang="0">
                  <a:pos x="connsiteX3" y="connsiteY3"/>
                </a:cxn>
              </a:cxnLst>
              <a:rect l="l" t="t" r="r" b="b"/>
              <a:pathLst>
                <a:path w="569125" h="10237">
                  <a:moveTo>
                    <a:pt x="-3559" y="-245"/>
                  </a:moveTo>
                  <a:lnTo>
                    <a:pt x="565566" y="-245"/>
                  </a:lnTo>
                  <a:lnTo>
                    <a:pt x="565566" y="9992"/>
                  </a:lnTo>
                  <a:lnTo>
                    <a:pt x="-3559" y="9992"/>
                  </a:lnTo>
                  <a:close/>
                </a:path>
              </a:pathLst>
            </a:custGeom>
            <a:grpFill/>
            <a:ln w="359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511AF7E3-DAC9-5119-7B1D-38BE7CF8B96B}"/>
                </a:ext>
              </a:extLst>
            </p:cNvPr>
            <p:cNvSpPr/>
            <p:nvPr/>
          </p:nvSpPr>
          <p:spPr>
            <a:xfrm>
              <a:off x="5757287" y="1420338"/>
              <a:ext cx="77105" cy="77097"/>
            </a:xfrm>
            <a:custGeom>
              <a:avLst/>
              <a:gdLst>
                <a:gd name="connsiteX0" fmla="*/ 54260 w 77105"/>
                <a:gd name="connsiteY0" fmla="*/ 71689 h 77097"/>
                <a:gd name="connsiteX1" fmla="*/ 1600 w 77105"/>
                <a:gd name="connsiteY1" fmla="*/ 57565 h 77097"/>
                <a:gd name="connsiteX2" fmla="*/ 15753 w 77105"/>
                <a:gd name="connsiteY2" fmla="*/ 4919 h 77097"/>
                <a:gd name="connsiteX3" fmla="*/ 68376 w 77105"/>
                <a:gd name="connsiteY3" fmla="*/ 19029 h 77097"/>
                <a:gd name="connsiteX4" fmla="*/ 54260 w 77105"/>
                <a:gd name="connsiteY4" fmla="*/ 71682 h 77097"/>
                <a:gd name="connsiteX5" fmla="*/ 54260 w 77105"/>
                <a:gd name="connsiteY5" fmla="*/ 71689 h 77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05" h="77097">
                  <a:moveTo>
                    <a:pt x="54260" y="71689"/>
                  </a:moveTo>
                  <a:cubicBezTo>
                    <a:pt x="35832" y="82325"/>
                    <a:pt x="12269" y="76003"/>
                    <a:pt x="1600" y="57565"/>
                  </a:cubicBezTo>
                  <a:cubicBezTo>
                    <a:pt x="-9032" y="39127"/>
                    <a:pt x="-2711" y="15556"/>
                    <a:pt x="15753" y="4919"/>
                  </a:cubicBezTo>
                  <a:cubicBezTo>
                    <a:pt x="34179" y="-5717"/>
                    <a:pt x="57744" y="602"/>
                    <a:pt x="68376" y="19029"/>
                  </a:cubicBezTo>
                  <a:cubicBezTo>
                    <a:pt x="79008" y="37464"/>
                    <a:pt x="72722" y="61035"/>
                    <a:pt x="54260" y="71682"/>
                  </a:cubicBezTo>
                  <a:cubicBezTo>
                    <a:pt x="54260" y="71685"/>
                    <a:pt x="54260" y="71685"/>
                    <a:pt x="54260" y="71689"/>
                  </a:cubicBezTo>
                  <a:close/>
                </a:path>
              </a:pathLst>
            </a:custGeom>
            <a:grpFill/>
            <a:ln w="359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E20CFEAC-BE91-C05E-F99C-10E0052C881D}"/>
                </a:ext>
              </a:extLst>
            </p:cNvPr>
            <p:cNvSpPr/>
            <p:nvPr/>
          </p:nvSpPr>
          <p:spPr>
            <a:xfrm>
              <a:off x="6255077" y="1145251"/>
              <a:ext cx="61636" cy="61649"/>
            </a:xfrm>
            <a:custGeom>
              <a:avLst/>
              <a:gdLst>
                <a:gd name="connsiteX0" fmla="*/ 42691 w 61636"/>
                <a:gd name="connsiteY0" fmla="*/ 57255 h 61649"/>
                <a:gd name="connsiteX1" fmla="*/ 53934 w 61636"/>
                <a:gd name="connsiteY1" fmla="*/ 15142 h 61649"/>
                <a:gd name="connsiteX2" fmla="*/ 11836 w 61636"/>
                <a:gd name="connsiteY2" fmla="*/ 3906 h 61649"/>
                <a:gd name="connsiteX3" fmla="*/ 556 w 61636"/>
                <a:gd name="connsiteY3" fmla="*/ 45976 h 61649"/>
                <a:gd name="connsiteX4" fmla="*/ 42656 w 61636"/>
                <a:gd name="connsiteY4" fmla="*/ 57276 h 61649"/>
                <a:gd name="connsiteX5" fmla="*/ 42691 w 61636"/>
                <a:gd name="connsiteY5" fmla="*/ 57255 h 6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36" h="61649">
                  <a:moveTo>
                    <a:pt x="42691" y="57255"/>
                  </a:moveTo>
                  <a:cubicBezTo>
                    <a:pt x="57419" y="48731"/>
                    <a:pt x="62448" y="29876"/>
                    <a:pt x="53934" y="15142"/>
                  </a:cubicBezTo>
                  <a:cubicBezTo>
                    <a:pt x="45420" y="410"/>
                    <a:pt x="26562" y="-4622"/>
                    <a:pt x="11836" y="3906"/>
                  </a:cubicBezTo>
                  <a:cubicBezTo>
                    <a:pt x="-2892" y="12419"/>
                    <a:pt x="-7920" y="31245"/>
                    <a:pt x="556" y="45976"/>
                  </a:cubicBezTo>
                  <a:cubicBezTo>
                    <a:pt x="9070" y="60721"/>
                    <a:pt x="27892" y="65782"/>
                    <a:pt x="42656" y="57276"/>
                  </a:cubicBezTo>
                  <a:cubicBezTo>
                    <a:pt x="42656" y="57269"/>
                    <a:pt x="42691" y="57262"/>
                    <a:pt x="42691" y="57255"/>
                  </a:cubicBezTo>
                  <a:close/>
                </a:path>
              </a:pathLst>
            </a:custGeom>
            <a:grpFill/>
            <a:ln w="359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48AB096F-6640-DC29-818A-628FF3535CA3}"/>
                </a:ext>
              </a:extLst>
            </p:cNvPr>
            <p:cNvSpPr/>
            <p:nvPr/>
          </p:nvSpPr>
          <p:spPr>
            <a:xfrm>
              <a:off x="2128900" y="1002063"/>
              <a:ext cx="525913" cy="916693"/>
            </a:xfrm>
            <a:custGeom>
              <a:avLst/>
              <a:gdLst>
                <a:gd name="connsiteX0" fmla="*/ 525913 w 525913"/>
                <a:gd name="connsiteY0" fmla="*/ 907821 h 916693"/>
                <a:gd name="connsiteX1" fmla="*/ 520813 w 525913"/>
                <a:gd name="connsiteY1" fmla="*/ 916694 h 916693"/>
                <a:gd name="connsiteX2" fmla="*/ 0 w 525913"/>
                <a:gd name="connsiteY2" fmla="*/ 616038 h 916693"/>
                <a:gd name="connsiteX3" fmla="*/ 0 w 525913"/>
                <a:gd name="connsiteY3" fmla="*/ 0 h 916693"/>
                <a:gd name="connsiteX4" fmla="*/ 10273 w 525913"/>
                <a:gd name="connsiteY4" fmla="*/ 0 h 916693"/>
                <a:gd name="connsiteX5" fmla="*/ 10273 w 525913"/>
                <a:gd name="connsiteY5" fmla="*/ 610111 h 916693"/>
                <a:gd name="connsiteX6" fmla="*/ 525913 w 525913"/>
                <a:gd name="connsiteY6" fmla="*/ 907821 h 91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913" h="916693">
                  <a:moveTo>
                    <a:pt x="525913" y="907821"/>
                  </a:moveTo>
                  <a:lnTo>
                    <a:pt x="520813" y="916694"/>
                  </a:lnTo>
                  <a:lnTo>
                    <a:pt x="0" y="616038"/>
                  </a:lnTo>
                  <a:lnTo>
                    <a:pt x="0" y="0"/>
                  </a:lnTo>
                  <a:lnTo>
                    <a:pt x="10273" y="0"/>
                  </a:lnTo>
                  <a:lnTo>
                    <a:pt x="10273" y="610111"/>
                  </a:lnTo>
                  <a:lnTo>
                    <a:pt x="525913" y="907821"/>
                  </a:lnTo>
                  <a:close/>
                </a:path>
              </a:pathLst>
            </a:custGeom>
            <a:grpFill/>
            <a:ln w="359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33E4E143-47DF-2DC0-6E85-7F48346B0E57}"/>
                </a:ext>
              </a:extLst>
            </p:cNvPr>
            <p:cNvSpPr/>
            <p:nvPr/>
          </p:nvSpPr>
          <p:spPr>
            <a:xfrm>
              <a:off x="2611910" y="1874791"/>
              <a:ext cx="77113" cy="77125"/>
            </a:xfrm>
            <a:custGeom>
              <a:avLst/>
              <a:gdLst>
                <a:gd name="connsiteX0" fmla="*/ 54286 w 77113"/>
                <a:gd name="connsiteY0" fmla="*/ 4962 h 77125"/>
                <a:gd name="connsiteX1" fmla="*/ 68367 w 77113"/>
                <a:gd name="connsiteY1" fmla="*/ 57622 h 77125"/>
                <a:gd name="connsiteX2" fmla="*/ 15706 w 77113"/>
                <a:gd name="connsiteY2" fmla="*/ 71699 h 77125"/>
                <a:gd name="connsiteX3" fmla="*/ 1626 w 77113"/>
                <a:gd name="connsiteY3" fmla="*/ 19043 h 77125"/>
                <a:gd name="connsiteX4" fmla="*/ 54142 w 77113"/>
                <a:gd name="connsiteY4" fmla="*/ 4890 h 77125"/>
                <a:gd name="connsiteX5" fmla="*/ 54286 w 77113"/>
                <a:gd name="connsiteY5" fmla="*/ 4962 h 7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13" h="77125">
                  <a:moveTo>
                    <a:pt x="54286" y="4962"/>
                  </a:moveTo>
                  <a:cubicBezTo>
                    <a:pt x="72713" y="15616"/>
                    <a:pt x="79036" y="39191"/>
                    <a:pt x="68367" y="57622"/>
                  </a:cubicBezTo>
                  <a:cubicBezTo>
                    <a:pt x="57699" y="76049"/>
                    <a:pt x="34135" y="82353"/>
                    <a:pt x="15706" y="71699"/>
                  </a:cubicBezTo>
                  <a:cubicBezTo>
                    <a:pt x="-2720" y="61045"/>
                    <a:pt x="-9042" y="37470"/>
                    <a:pt x="1626" y="19043"/>
                  </a:cubicBezTo>
                  <a:cubicBezTo>
                    <a:pt x="12223" y="626"/>
                    <a:pt x="35750" y="-5710"/>
                    <a:pt x="54142" y="4890"/>
                  </a:cubicBezTo>
                  <a:cubicBezTo>
                    <a:pt x="54214" y="4912"/>
                    <a:pt x="54251" y="4937"/>
                    <a:pt x="54286" y="4962"/>
                  </a:cubicBezTo>
                  <a:close/>
                </a:path>
              </a:pathLst>
            </a:custGeom>
            <a:grpFill/>
            <a:ln w="359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8B1FBD18-1C84-E8DA-3224-07CCB10EF659}"/>
                </a:ext>
              </a:extLst>
            </p:cNvPr>
            <p:cNvSpPr/>
            <p:nvPr/>
          </p:nvSpPr>
          <p:spPr>
            <a:xfrm>
              <a:off x="2110867" y="980080"/>
              <a:ext cx="46266" cy="46265"/>
            </a:xfrm>
            <a:custGeom>
              <a:avLst/>
              <a:gdLst>
                <a:gd name="connsiteX0" fmla="*/ 42706 w 46266"/>
                <a:gd name="connsiteY0" fmla="*/ 22887 h 46265"/>
                <a:gd name="connsiteX1" fmla="*/ 19573 w 46266"/>
                <a:gd name="connsiteY1" fmla="*/ -245 h 46265"/>
                <a:gd name="connsiteX2" fmla="*/ -3560 w 46266"/>
                <a:gd name="connsiteY2" fmla="*/ 22887 h 46265"/>
                <a:gd name="connsiteX3" fmla="*/ 19573 w 46266"/>
                <a:gd name="connsiteY3" fmla="*/ 46020 h 46265"/>
                <a:gd name="connsiteX4" fmla="*/ 42706 w 46266"/>
                <a:gd name="connsiteY4" fmla="*/ 22887 h 4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66" h="46265">
                  <a:moveTo>
                    <a:pt x="42706" y="22887"/>
                  </a:moveTo>
                  <a:cubicBezTo>
                    <a:pt x="42706" y="10111"/>
                    <a:pt x="32360" y="-245"/>
                    <a:pt x="19573" y="-245"/>
                  </a:cubicBezTo>
                  <a:cubicBezTo>
                    <a:pt x="6785" y="-245"/>
                    <a:pt x="-3560" y="10111"/>
                    <a:pt x="-3560" y="22887"/>
                  </a:cubicBezTo>
                  <a:cubicBezTo>
                    <a:pt x="-3560" y="35664"/>
                    <a:pt x="6785" y="46020"/>
                    <a:pt x="19573" y="46020"/>
                  </a:cubicBezTo>
                  <a:cubicBezTo>
                    <a:pt x="32360" y="46020"/>
                    <a:pt x="42706" y="35664"/>
                    <a:pt x="42706" y="22887"/>
                  </a:cubicBezTo>
                  <a:close/>
                </a:path>
              </a:pathLst>
            </a:custGeom>
            <a:grpFill/>
            <a:ln w="359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F8AE71DA-A7F3-3C6B-8615-8EAD9715EFF4}"/>
                </a:ext>
              </a:extLst>
            </p:cNvPr>
            <p:cNvSpPr/>
            <p:nvPr/>
          </p:nvSpPr>
          <p:spPr>
            <a:xfrm>
              <a:off x="2937724" y="676479"/>
              <a:ext cx="525949" cy="1236818"/>
            </a:xfrm>
            <a:custGeom>
              <a:avLst/>
              <a:gdLst>
                <a:gd name="connsiteX0" fmla="*/ 525949 w 525949"/>
                <a:gd name="connsiteY0" fmla="*/ 300655 h 1236818"/>
                <a:gd name="connsiteX1" fmla="*/ 525949 w 525949"/>
                <a:gd name="connsiteY1" fmla="*/ 941623 h 1236818"/>
                <a:gd name="connsiteX2" fmla="*/ 14656 w 525949"/>
                <a:gd name="connsiteY2" fmla="*/ 1236818 h 1236818"/>
                <a:gd name="connsiteX3" fmla="*/ 9519 w 525949"/>
                <a:gd name="connsiteY3" fmla="*/ 1227910 h 1236818"/>
                <a:gd name="connsiteX4" fmla="*/ 515676 w 525949"/>
                <a:gd name="connsiteY4" fmla="*/ 935696 h 1236818"/>
                <a:gd name="connsiteX5" fmla="*/ 515676 w 525949"/>
                <a:gd name="connsiteY5" fmla="*/ 306582 h 1236818"/>
                <a:gd name="connsiteX6" fmla="*/ 0 w 525949"/>
                <a:gd name="connsiteY6" fmla="*/ 8872 h 1236818"/>
                <a:gd name="connsiteX7" fmla="*/ 5137 w 525949"/>
                <a:gd name="connsiteY7" fmla="*/ 0 h 1236818"/>
                <a:gd name="connsiteX8" fmla="*/ 525949 w 525949"/>
                <a:gd name="connsiteY8" fmla="*/ 300655 h 123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949" h="1236818">
                  <a:moveTo>
                    <a:pt x="525949" y="300655"/>
                  </a:moveTo>
                  <a:lnTo>
                    <a:pt x="525949" y="941623"/>
                  </a:lnTo>
                  <a:lnTo>
                    <a:pt x="14656" y="1236818"/>
                  </a:lnTo>
                  <a:lnTo>
                    <a:pt x="9519" y="1227910"/>
                  </a:lnTo>
                  <a:lnTo>
                    <a:pt x="515676" y="935696"/>
                  </a:lnTo>
                  <a:lnTo>
                    <a:pt x="515676" y="306582"/>
                  </a:lnTo>
                  <a:lnTo>
                    <a:pt x="0" y="8872"/>
                  </a:lnTo>
                  <a:lnTo>
                    <a:pt x="5137" y="0"/>
                  </a:lnTo>
                  <a:lnTo>
                    <a:pt x="525949" y="300655"/>
                  </a:lnTo>
                  <a:close/>
                </a:path>
              </a:pathLst>
            </a:custGeom>
            <a:grpFill/>
            <a:ln w="359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48BDA1E6-E4E4-59E1-06AB-B4223F9DD7E7}"/>
                </a:ext>
              </a:extLst>
            </p:cNvPr>
            <p:cNvSpPr/>
            <p:nvPr/>
          </p:nvSpPr>
          <p:spPr>
            <a:xfrm>
              <a:off x="2903395" y="643311"/>
              <a:ext cx="77098" cy="77098"/>
            </a:xfrm>
            <a:custGeom>
              <a:avLst/>
              <a:gdLst>
                <a:gd name="connsiteX0" fmla="*/ 15719 w 77098"/>
                <a:gd name="connsiteY0" fmla="*/ 71681 h 77098"/>
                <a:gd name="connsiteX1" fmla="*/ 1601 w 77098"/>
                <a:gd name="connsiteY1" fmla="*/ 19028 h 77098"/>
                <a:gd name="connsiteX2" fmla="*/ 54261 w 77098"/>
                <a:gd name="connsiteY2" fmla="*/ 4926 h 77098"/>
                <a:gd name="connsiteX3" fmla="*/ 68377 w 77098"/>
                <a:gd name="connsiteY3" fmla="*/ 57564 h 77098"/>
                <a:gd name="connsiteX4" fmla="*/ 15719 w 77098"/>
                <a:gd name="connsiteY4" fmla="*/ 71688 h 77098"/>
                <a:gd name="connsiteX5" fmla="*/ 15719 w 77098"/>
                <a:gd name="connsiteY5" fmla="*/ 71681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8" h="77098">
                  <a:moveTo>
                    <a:pt x="15719" y="71681"/>
                  </a:moveTo>
                  <a:cubicBezTo>
                    <a:pt x="-2710" y="61038"/>
                    <a:pt x="-9031" y="37463"/>
                    <a:pt x="1601" y="19028"/>
                  </a:cubicBezTo>
                  <a:cubicBezTo>
                    <a:pt x="12271" y="594"/>
                    <a:pt x="35833" y="-5717"/>
                    <a:pt x="54261" y="4926"/>
                  </a:cubicBezTo>
                  <a:cubicBezTo>
                    <a:pt x="72688" y="15569"/>
                    <a:pt x="79010" y="39130"/>
                    <a:pt x="68377" y="57564"/>
                  </a:cubicBezTo>
                  <a:cubicBezTo>
                    <a:pt x="57745" y="76002"/>
                    <a:pt x="34181" y="82328"/>
                    <a:pt x="15719" y="71688"/>
                  </a:cubicBezTo>
                  <a:cubicBezTo>
                    <a:pt x="15719" y="71684"/>
                    <a:pt x="15719" y="71684"/>
                    <a:pt x="15719" y="71681"/>
                  </a:cubicBezTo>
                  <a:close/>
                </a:path>
              </a:pathLst>
            </a:custGeom>
            <a:grpFill/>
            <a:ln w="359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D6CD496C-D52D-C320-A061-13D3EA4DFC4D}"/>
                </a:ext>
              </a:extLst>
            </p:cNvPr>
            <p:cNvSpPr/>
            <p:nvPr/>
          </p:nvSpPr>
          <p:spPr>
            <a:xfrm>
              <a:off x="2901817" y="1857471"/>
              <a:ext cx="100237" cy="100248"/>
            </a:xfrm>
            <a:custGeom>
              <a:avLst/>
              <a:gdLst>
                <a:gd name="connsiteX0" fmla="*/ 21534 w 100237"/>
                <a:gd name="connsiteY0" fmla="*/ 6477 h 100248"/>
                <a:gd name="connsiteX1" fmla="*/ 3144 w 100237"/>
                <a:gd name="connsiteY1" fmla="*/ 74916 h 100248"/>
                <a:gd name="connsiteX2" fmla="*/ 71607 w 100237"/>
                <a:gd name="connsiteY2" fmla="*/ 93293 h 100248"/>
                <a:gd name="connsiteX3" fmla="*/ 89964 w 100237"/>
                <a:gd name="connsiteY3" fmla="*/ 24854 h 100248"/>
                <a:gd name="connsiteX4" fmla="*/ 89964 w 100237"/>
                <a:gd name="connsiteY4" fmla="*/ 24832 h 100248"/>
                <a:gd name="connsiteX5" fmla="*/ 21571 w 100237"/>
                <a:gd name="connsiteY5" fmla="*/ 6452 h 100248"/>
                <a:gd name="connsiteX6" fmla="*/ 21534 w 100237"/>
                <a:gd name="connsiteY6" fmla="*/ 6477 h 100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237" h="100248">
                  <a:moveTo>
                    <a:pt x="21534" y="6477"/>
                  </a:moveTo>
                  <a:cubicBezTo>
                    <a:pt x="-2425" y="20303"/>
                    <a:pt x="-10686" y="50943"/>
                    <a:pt x="3144" y="74916"/>
                  </a:cubicBezTo>
                  <a:cubicBezTo>
                    <a:pt x="16972" y="98893"/>
                    <a:pt x="47613" y="107119"/>
                    <a:pt x="71607" y="93293"/>
                  </a:cubicBezTo>
                  <a:cubicBezTo>
                    <a:pt x="95568" y="79471"/>
                    <a:pt x="103794" y="48827"/>
                    <a:pt x="89964" y="24854"/>
                  </a:cubicBezTo>
                  <a:cubicBezTo>
                    <a:pt x="89964" y="24846"/>
                    <a:pt x="89964" y="24839"/>
                    <a:pt x="89964" y="24832"/>
                  </a:cubicBezTo>
                  <a:cubicBezTo>
                    <a:pt x="76169" y="873"/>
                    <a:pt x="45530" y="-7356"/>
                    <a:pt x="21571" y="6452"/>
                  </a:cubicBezTo>
                  <a:cubicBezTo>
                    <a:pt x="21571" y="6462"/>
                    <a:pt x="21534" y="6470"/>
                    <a:pt x="21534" y="6477"/>
                  </a:cubicBezTo>
                  <a:close/>
                </a:path>
              </a:pathLst>
            </a:custGeom>
            <a:grpFill/>
            <a:ln w="359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85327947-3E48-2C0F-B0FD-C421B810B3F6}"/>
                </a:ext>
              </a:extLst>
            </p:cNvPr>
            <p:cNvSpPr/>
            <p:nvPr/>
          </p:nvSpPr>
          <p:spPr>
            <a:xfrm rot="19799999">
              <a:off x="2227667" y="717950"/>
              <a:ext cx="569125" cy="10237"/>
            </a:xfrm>
            <a:custGeom>
              <a:avLst/>
              <a:gdLst>
                <a:gd name="connsiteX0" fmla="*/ -3560 w 569125"/>
                <a:gd name="connsiteY0" fmla="*/ -245 h 10237"/>
                <a:gd name="connsiteX1" fmla="*/ 565566 w 569125"/>
                <a:gd name="connsiteY1" fmla="*/ -245 h 10237"/>
                <a:gd name="connsiteX2" fmla="*/ 565566 w 569125"/>
                <a:gd name="connsiteY2" fmla="*/ 9992 h 10237"/>
                <a:gd name="connsiteX3" fmla="*/ -3560 w 569125"/>
                <a:gd name="connsiteY3" fmla="*/ 9992 h 10237"/>
              </a:gdLst>
              <a:ahLst/>
              <a:cxnLst>
                <a:cxn ang="0">
                  <a:pos x="connsiteX0" y="connsiteY0"/>
                </a:cxn>
                <a:cxn ang="0">
                  <a:pos x="connsiteX1" y="connsiteY1"/>
                </a:cxn>
                <a:cxn ang="0">
                  <a:pos x="connsiteX2" y="connsiteY2"/>
                </a:cxn>
                <a:cxn ang="0">
                  <a:pos x="connsiteX3" y="connsiteY3"/>
                </a:cxn>
              </a:cxnLst>
              <a:rect l="l" t="t" r="r" b="b"/>
              <a:pathLst>
                <a:path w="569125" h="10237">
                  <a:moveTo>
                    <a:pt x="-3560" y="-245"/>
                  </a:moveTo>
                  <a:lnTo>
                    <a:pt x="565566" y="-245"/>
                  </a:lnTo>
                  <a:lnTo>
                    <a:pt x="565566" y="9992"/>
                  </a:lnTo>
                  <a:lnTo>
                    <a:pt x="-3560" y="9992"/>
                  </a:lnTo>
                  <a:close/>
                </a:path>
              </a:pathLst>
            </a:custGeom>
            <a:grpFill/>
            <a:ln w="359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6D01428C-A927-1138-5125-73A300438648}"/>
                </a:ext>
              </a:extLst>
            </p:cNvPr>
            <p:cNvSpPr/>
            <p:nvPr/>
          </p:nvSpPr>
          <p:spPr>
            <a:xfrm>
              <a:off x="2228914" y="825825"/>
              <a:ext cx="77098" cy="77098"/>
            </a:xfrm>
            <a:custGeom>
              <a:avLst/>
              <a:gdLst>
                <a:gd name="connsiteX0" fmla="*/ 54261 w 77098"/>
                <a:gd name="connsiteY0" fmla="*/ 71680 h 77098"/>
                <a:gd name="connsiteX1" fmla="*/ 1601 w 77098"/>
                <a:gd name="connsiteY1" fmla="*/ 57581 h 77098"/>
                <a:gd name="connsiteX2" fmla="*/ 15719 w 77098"/>
                <a:gd name="connsiteY2" fmla="*/ 4928 h 77098"/>
                <a:gd name="connsiteX3" fmla="*/ 68377 w 77098"/>
                <a:gd name="connsiteY3" fmla="*/ 19027 h 77098"/>
                <a:gd name="connsiteX4" fmla="*/ 68377 w 77098"/>
                <a:gd name="connsiteY4" fmla="*/ 19056 h 77098"/>
                <a:gd name="connsiteX5" fmla="*/ 54261 w 77098"/>
                <a:gd name="connsiteY5" fmla="*/ 71680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8" h="77098">
                  <a:moveTo>
                    <a:pt x="54261" y="71680"/>
                  </a:moveTo>
                  <a:cubicBezTo>
                    <a:pt x="35835" y="82327"/>
                    <a:pt x="12271" y="76012"/>
                    <a:pt x="1601" y="57581"/>
                  </a:cubicBezTo>
                  <a:cubicBezTo>
                    <a:pt x="-9031" y="39146"/>
                    <a:pt x="-2710" y="15572"/>
                    <a:pt x="15719" y="4928"/>
                  </a:cubicBezTo>
                  <a:cubicBezTo>
                    <a:pt x="34146" y="-5718"/>
                    <a:pt x="57710" y="593"/>
                    <a:pt x="68377" y="19027"/>
                  </a:cubicBezTo>
                  <a:cubicBezTo>
                    <a:pt x="68377" y="19038"/>
                    <a:pt x="68377" y="19045"/>
                    <a:pt x="68377" y="19056"/>
                  </a:cubicBezTo>
                  <a:cubicBezTo>
                    <a:pt x="79010" y="37487"/>
                    <a:pt x="72688" y="61040"/>
                    <a:pt x="54261" y="71680"/>
                  </a:cubicBezTo>
                  <a:close/>
                </a:path>
              </a:pathLst>
            </a:custGeom>
            <a:grpFill/>
            <a:ln w="359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77895303-6DB8-FB23-BD5D-37584C525448}"/>
                </a:ext>
              </a:extLst>
            </p:cNvPr>
            <p:cNvSpPr/>
            <p:nvPr/>
          </p:nvSpPr>
          <p:spPr>
            <a:xfrm>
              <a:off x="2726509" y="550751"/>
              <a:ext cx="61643" cy="61635"/>
            </a:xfrm>
            <a:custGeom>
              <a:avLst/>
              <a:gdLst>
                <a:gd name="connsiteX0" fmla="*/ 42671 w 61643"/>
                <a:gd name="connsiteY0" fmla="*/ 57270 h 61635"/>
                <a:gd name="connsiteX1" fmla="*/ 53950 w 61643"/>
                <a:gd name="connsiteY1" fmla="*/ 15171 h 61635"/>
                <a:gd name="connsiteX2" fmla="*/ 11851 w 61643"/>
                <a:gd name="connsiteY2" fmla="*/ 3888 h 61635"/>
                <a:gd name="connsiteX3" fmla="*/ 573 w 61643"/>
                <a:gd name="connsiteY3" fmla="*/ 45987 h 61635"/>
                <a:gd name="connsiteX4" fmla="*/ 573 w 61643"/>
                <a:gd name="connsiteY4" fmla="*/ 45991 h 61635"/>
                <a:gd name="connsiteX5" fmla="*/ 42671 w 61643"/>
                <a:gd name="connsiteY5" fmla="*/ 57270 h 61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43" h="61635">
                  <a:moveTo>
                    <a:pt x="42671" y="57270"/>
                  </a:moveTo>
                  <a:cubicBezTo>
                    <a:pt x="57399" y="48760"/>
                    <a:pt x="62464" y="29909"/>
                    <a:pt x="53950" y="15171"/>
                  </a:cubicBezTo>
                  <a:cubicBezTo>
                    <a:pt x="45437" y="429"/>
                    <a:pt x="26578" y="-4622"/>
                    <a:pt x="11851" y="3888"/>
                  </a:cubicBezTo>
                  <a:cubicBezTo>
                    <a:pt x="-2875" y="12398"/>
                    <a:pt x="-7941" y="31245"/>
                    <a:pt x="573" y="45987"/>
                  </a:cubicBezTo>
                  <a:cubicBezTo>
                    <a:pt x="573" y="45991"/>
                    <a:pt x="573" y="45991"/>
                    <a:pt x="573" y="45991"/>
                  </a:cubicBezTo>
                  <a:cubicBezTo>
                    <a:pt x="9085" y="60714"/>
                    <a:pt x="27943" y="65758"/>
                    <a:pt x="42671" y="57270"/>
                  </a:cubicBezTo>
                  <a:close/>
                </a:path>
              </a:pathLst>
            </a:custGeom>
            <a:grpFill/>
            <a:ln w="359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D2B5D572-1F1B-D001-9F70-903EC97FC881}"/>
                </a:ext>
              </a:extLst>
            </p:cNvPr>
            <p:cNvSpPr/>
            <p:nvPr/>
          </p:nvSpPr>
          <p:spPr>
            <a:xfrm>
              <a:off x="1712400" y="2957509"/>
              <a:ext cx="1110161" cy="958433"/>
            </a:xfrm>
            <a:custGeom>
              <a:avLst/>
              <a:gdLst>
                <a:gd name="connsiteX0" fmla="*/ 1110162 w 1110161"/>
                <a:gd name="connsiteY0" fmla="*/ 255755 h 958433"/>
                <a:gd name="connsiteX1" fmla="*/ 1110162 w 1110161"/>
                <a:gd name="connsiteY1" fmla="*/ 637986 h 958433"/>
                <a:gd name="connsiteX2" fmla="*/ 555081 w 1110161"/>
                <a:gd name="connsiteY2" fmla="*/ 958433 h 958433"/>
                <a:gd name="connsiteX3" fmla="*/ 0 w 1110161"/>
                <a:gd name="connsiteY3" fmla="*/ 637986 h 958433"/>
                <a:gd name="connsiteX4" fmla="*/ 0 w 1110161"/>
                <a:gd name="connsiteY4" fmla="*/ 0 h 958433"/>
                <a:gd name="connsiteX5" fmla="*/ 10273 w 1110161"/>
                <a:gd name="connsiteY5" fmla="*/ 0 h 958433"/>
                <a:gd name="connsiteX6" fmla="*/ 10273 w 1110161"/>
                <a:gd name="connsiteY6" fmla="*/ 632059 h 958433"/>
                <a:gd name="connsiteX7" fmla="*/ 555081 w 1110161"/>
                <a:gd name="connsiteY7" fmla="*/ 946616 h 958433"/>
                <a:gd name="connsiteX8" fmla="*/ 1099889 w 1110161"/>
                <a:gd name="connsiteY8" fmla="*/ 632059 h 958433"/>
                <a:gd name="connsiteX9" fmla="*/ 1099889 w 1110161"/>
                <a:gd name="connsiteY9" fmla="*/ 255755 h 958433"/>
                <a:gd name="connsiteX10" fmla="*/ 1110162 w 1110161"/>
                <a:gd name="connsiteY10" fmla="*/ 255755 h 958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61" h="958433">
                  <a:moveTo>
                    <a:pt x="1110162" y="255755"/>
                  </a:moveTo>
                  <a:lnTo>
                    <a:pt x="1110162" y="637986"/>
                  </a:lnTo>
                  <a:lnTo>
                    <a:pt x="555081" y="958433"/>
                  </a:lnTo>
                  <a:lnTo>
                    <a:pt x="0" y="637986"/>
                  </a:lnTo>
                  <a:lnTo>
                    <a:pt x="0" y="0"/>
                  </a:lnTo>
                  <a:lnTo>
                    <a:pt x="10273" y="0"/>
                  </a:lnTo>
                  <a:lnTo>
                    <a:pt x="10273" y="632059"/>
                  </a:lnTo>
                  <a:lnTo>
                    <a:pt x="555081" y="946616"/>
                  </a:lnTo>
                  <a:lnTo>
                    <a:pt x="1099889" y="632059"/>
                  </a:lnTo>
                  <a:lnTo>
                    <a:pt x="1099889" y="255755"/>
                  </a:lnTo>
                  <a:lnTo>
                    <a:pt x="1110162" y="255755"/>
                  </a:lnTo>
                  <a:close/>
                </a:path>
              </a:pathLst>
            </a:custGeom>
            <a:grpFill/>
            <a:ln w="359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D12BC6EF-2083-2D56-9BE0-E1075C91E2B2}"/>
                </a:ext>
              </a:extLst>
            </p:cNvPr>
            <p:cNvSpPr/>
            <p:nvPr/>
          </p:nvSpPr>
          <p:spPr>
            <a:xfrm>
              <a:off x="6346875" y="2037475"/>
              <a:ext cx="1794664" cy="1549434"/>
            </a:xfrm>
            <a:custGeom>
              <a:avLst/>
              <a:gdLst>
                <a:gd name="connsiteX0" fmla="*/ 1794664 w 1794664"/>
                <a:gd name="connsiteY0" fmla="*/ 502242 h 1549434"/>
                <a:gd name="connsiteX1" fmla="*/ 1794664 w 1794664"/>
                <a:gd name="connsiteY1" fmla="*/ 1031352 h 1549434"/>
                <a:gd name="connsiteX2" fmla="*/ 1790498 w 1794664"/>
                <a:gd name="connsiteY2" fmla="*/ 1033723 h 1549434"/>
                <a:gd name="connsiteX3" fmla="*/ 897332 w 1794664"/>
                <a:gd name="connsiteY3" fmla="*/ 1549435 h 1549434"/>
                <a:gd name="connsiteX4" fmla="*/ 893202 w 1794664"/>
                <a:gd name="connsiteY4" fmla="*/ 1547028 h 1549434"/>
                <a:gd name="connsiteX5" fmla="*/ 0 w 1794664"/>
                <a:gd name="connsiteY5" fmla="*/ 1031352 h 1549434"/>
                <a:gd name="connsiteX6" fmla="*/ 0 w 1794664"/>
                <a:gd name="connsiteY6" fmla="*/ 0 h 1549434"/>
                <a:gd name="connsiteX7" fmla="*/ 16595 w 1794664"/>
                <a:gd name="connsiteY7" fmla="*/ 0 h 1549434"/>
                <a:gd name="connsiteX8" fmla="*/ 16595 w 1794664"/>
                <a:gd name="connsiteY8" fmla="*/ 1021797 h 1549434"/>
                <a:gd name="connsiteX9" fmla="*/ 897332 w 1794664"/>
                <a:gd name="connsiteY9" fmla="*/ 1530289 h 1549434"/>
                <a:gd name="connsiteX10" fmla="*/ 1778069 w 1794664"/>
                <a:gd name="connsiteY10" fmla="*/ 1021797 h 1549434"/>
                <a:gd name="connsiteX11" fmla="*/ 1778069 w 1794664"/>
                <a:gd name="connsiteY11" fmla="*/ 502242 h 1549434"/>
                <a:gd name="connsiteX12" fmla="*/ 1794664 w 1794664"/>
                <a:gd name="connsiteY12" fmla="*/ 502242 h 154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4664" h="1549434">
                  <a:moveTo>
                    <a:pt x="1794664" y="502242"/>
                  </a:moveTo>
                  <a:lnTo>
                    <a:pt x="1794664" y="1031352"/>
                  </a:lnTo>
                  <a:lnTo>
                    <a:pt x="1790498" y="1033723"/>
                  </a:lnTo>
                  <a:lnTo>
                    <a:pt x="897332" y="1549435"/>
                  </a:lnTo>
                  <a:lnTo>
                    <a:pt x="893202" y="1547028"/>
                  </a:lnTo>
                  <a:lnTo>
                    <a:pt x="0" y="1031352"/>
                  </a:lnTo>
                  <a:lnTo>
                    <a:pt x="0" y="0"/>
                  </a:lnTo>
                  <a:lnTo>
                    <a:pt x="16595" y="0"/>
                  </a:lnTo>
                  <a:lnTo>
                    <a:pt x="16595" y="1021797"/>
                  </a:lnTo>
                  <a:lnTo>
                    <a:pt x="897332" y="1530289"/>
                  </a:lnTo>
                  <a:lnTo>
                    <a:pt x="1778069" y="1021797"/>
                  </a:lnTo>
                  <a:lnTo>
                    <a:pt x="1778069" y="502242"/>
                  </a:lnTo>
                  <a:lnTo>
                    <a:pt x="1794664" y="502242"/>
                  </a:lnTo>
                  <a:close/>
                </a:path>
              </a:pathLst>
            </a:custGeom>
            <a:grpFill/>
            <a:ln w="359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5B5407E8-83A5-05D3-6A71-CCEE29E1074F}"/>
                </a:ext>
              </a:extLst>
            </p:cNvPr>
            <p:cNvSpPr/>
            <p:nvPr/>
          </p:nvSpPr>
          <p:spPr>
            <a:xfrm>
              <a:off x="8039885" y="2450992"/>
              <a:ext cx="186787" cy="186787"/>
            </a:xfrm>
            <a:custGeom>
              <a:avLst/>
              <a:gdLst>
                <a:gd name="connsiteX0" fmla="*/ -3560 w 186787"/>
                <a:gd name="connsiteY0" fmla="*/ 93148 h 186787"/>
                <a:gd name="connsiteX1" fmla="*/ 89833 w 186787"/>
                <a:gd name="connsiteY1" fmla="*/ -245 h 186787"/>
                <a:gd name="connsiteX2" fmla="*/ 183227 w 186787"/>
                <a:gd name="connsiteY2" fmla="*/ 93148 h 186787"/>
                <a:gd name="connsiteX3" fmla="*/ 89833 w 186787"/>
                <a:gd name="connsiteY3" fmla="*/ 186542 h 186787"/>
                <a:gd name="connsiteX4" fmla="*/ -3560 w 186787"/>
                <a:gd name="connsiteY4" fmla="*/ 93148 h 186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787" h="186787">
                  <a:moveTo>
                    <a:pt x="-3560" y="93148"/>
                  </a:moveTo>
                  <a:cubicBezTo>
                    <a:pt x="-3560" y="41570"/>
                    <a:pt x="38252" y="-245"/>
                    <a:pt x="89833" y="-245"/>
                  </a:cubicBezTo>
                  <a:cubicBezTo>
                    <a:pt x="141415" y="-245"/>
                    <a:pt x="183227" y="41570"/>
                    <a:pt x="183227" y="93148"/>
                  </a:cubicBezTo>
                  <a:cubicBezTo>
                    <a:pt x="183227" y="144727"/>
                    <a:pt x="141415" y="186542"/>
                    <a:pt x="89833" y="186542"/>
                  </a:cubicBezTo>
                  <a:cubicBezTo>
                    <a:pt x="38252" y="186542"/>
                    <a:pt x="-3560" y="144727"/>
                    <a:pt x="-3560" y="93148"/>
                  </a:cubicBezTo>
                  <a:close/>
                </a:path>
              </a:pathLst>
            </a:custGeom>
            <a:grpFill/>
            <a:ln w="359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3E4C88CE-55BE-E0D9-9C38-1DAE1E533E11}"/>
                </a:ext>
              </a:extLst>
            </p:cNvPr>
            <p:cNvSpPr/>
            <p:nvPr/>
          </p:nvSpPr>
          <p:spPr>
            <a:xfrm>
              <a:off x="4418658" y="3728904"/>
              <a:ext cx="1281898" cy="1047552"/>
            </a:xfrm>
            <a:custGeom>
              <a:avLst/>
              <a:gdLst>
                <a:gd name="connsiteX0" fmla="*/ 1281898 w 1281898"/>
                <a:gd name="connsiteY0" fmla="*/ 0 h 1047552"/>
                <a:gd name="connsiteX1" fmla="*/ 1281898 w 1281898"/>
                <a:gd name="connsiteY1" fmla="*/ 677498 h 1047552"/>
                <a:gd name="connsiteX2" fmla="*/ 1278917 w 1281898"/>
                <a:gd name="connsiteY2" fmla="*/ 679222 h 1047552"/>
                <a:gd name="connsiteX3" fmla="*/ 640967 w 1281898"/>
                <a:gd name="connsiteY3" fmla="*/ 1047552 h 1047552"/>
                <a:gd name="connsiteX4" fmla="*/ 637986 w 1281898"/>
                <a:gd name="connsiteY4" fmla="*/ 1045864 h 1047552"/>
                <a:gd name="connsiteX5" fmla="*/ 0 w 1281898"/>
                <a:gd name="connsiteY5" fmla="*/ 677498 h 1047552"/>
                <a:gd name="connsiteX6" fmla="*/ 0 w 1281898"/>
                <a:gd name="connsiteY6" fmla="*/ 278421 h 1047552"/>
                <a:gd name="connsiteX7" fmla="*/ 11854 w 1281898"/>
                <a:gd name="connsiteY7" fmla="*/ 278421 h 1047552"/>
                <a:gd name="connsiteX8" fmla="*/ 11854 w 1281898"/>
                <a:gd name="connsiteY8" fmla="*/ 670673 h 1047552"/>
                <a:gd name="connsiteX9" fmla="*/ 640967 w 1281898"/>
                <a:gd name="connsiteY9" fmla="*/ 1033902 h 1047552"/>
                <a:gd name="connsiteX10" fmla="*/ 1270045 w 1281898"/>
                <a:gd name="connsiteY10" fmla="*/ 670673 h 1047552"/>
                <a:gd name="connsiteX11" fmla="*/ 1270045 w 1281898"/>
                <a:gd name="connsiteY11" fmla="*/ 0 h 1047552"/>
                <a:gd name="connsiteX12" fmla="*/ 1281898 w 1281898"/>
                <a:gd name="connsiteY12" fmla="*/ 0 h 1047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1898" h="1047552">
                  <a:moveTo>
                    <a:pt x="1281898" y="0"/>
                  </a:moveTo>
                  <a:lnTo>
                    <a:pt x="1281898" y="677498"/>
                  </a:lnTo>
                  <a:lnTo>
                    <a:pt x="1278917" y="679222"/>
                  </a:lnTo>
                  <a:lnTo>
                    <a:pt x="640967" y="1047552"/>
                  </a:lnTo>
                  <a:lnTo>
                    <a:pt x="637986" y="1045864"/>
                  </a:lnTo>
                  <a:lnTo>
                    <a:pt x="0" y="677498"/>
                  </a:lnTo>
                  <a:lnTo>
                    <a:pt x="0" y="278421"/>
                  </a:lnTo>
                  <a:lnTo>
                    <a:pt x="11854" y="278421"/>
                  </a:lnTo>
                  <a:lnTo>
                    <a:pt x="11854" y="670673"/>
                  </a:lnTo>
                  <a:lnTo>
                    <a:pt x="640967" y="1033902"/>
                  </a:lnTo>
                  <a:lnTo>
                    <a:pt x="1270045" y="670673"/>
                  </a:lnTo>
                  <a:lnTo>
                    <a:pt x="1270045" y="0"/>
                  </a:lnTo>
                  <a:lnTo>
                    <a:pt x="1281898" y="0"/>
                  </a:lnTo>
                  <a:close/>
                </a:path>
              </a:pathLst>
            </a:custGeom>
            <a:grpFill/>
            <a:ln w="359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E2127DE8-1475-0016-82F6-D43064BBA16D}"/>
                </a:ext>
              </a:extLst>
            </p:cNvPr>
            <p:cNvSpPr/>
            <p:nvPr/>
          </p:nvSpPr>
          <p:spPr>
            <a:xfrm>
              <a:off x="4380043" y="3965045"/>
              <a:ext cx="89012" cy="89011"/>
            </a:xfrm>
            <a:custGeom>
              <a:avLst/>
              <a:gdLst>
                <a:gd name="connsiteX0" fmla="*/ 85452 w 89012"/>
                <a:gd name="connsiteY0" fmla="*/ 44260 h 89011"/>
                <a:gd name="connsiteX1" fmla="*/ 40946 w 89012"/>
                <a:gd name="connsiteY1" fmla="*/ -245 h 89011"/>
                <a:gd name="connsiteX2" fmla="*/ -3560 w 89012"/>
                <a:gd name="connsiteY2" fmla="*/ 44260 h 89011"/>
                <a:gd name="connsiteX3" fmla="*/ 40946 w 89012"/>
                <a:gd name="connsiteY3" fmla="*/ 88766 h 89011"/>
                <a:gd name="connsiteX4" fmla="*/ 40981 w 89012"/>
                <a:gd name="connsiteY4" fmla="*/ 88766 h 89011"/>
                <a:gd name="connsiteX5" fmla="*/ 85452 w 89012"/>
                <a:gd name="connsiteY5" fmla="*/ 44260 h 8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012" h="89011">
                  <a:moveTo>
                    <a:pt x="85452" y="44260"/>
                  </a:moveTo>
                  <a:cubicBezTo>
                    <a:pt x="85452" y="19691"/>
                    <a:pt x="65515" y="-245"/>
                    <a:pt x="40946" y="-245"/>
                  </a:cubicBezTo>
                  <a:cubicBezTo>
                    <a:pt x="16377" y="-245"/>
                    <a:pt x="-3560" y="19691"/>
                    <a:pt x="-3560" y="44260"/>
                  </a:cubicBezTo>
                  <a:cubicBezTo>
                    <a:pt x="-3560" y="68830"/>
                    <a:pt x="16377" y="88766"/>
                    <a:pt x="40946" y="88766"/>
                  </a:cubicBezTo>
                  <a:cubicBezTo>
                    <a:pt x="40946" y="88766"/>
                    <a:pt x="40981" y="88766"/>
                    <a:pt x="40981" y="88766"/>
                  </a:cubicBezTo>
                  <a:cubicBezTo>
                    <a:pt x="65552" y="88730"/>
                    <a:pt x="85452" y="68830"/>
                    <a:pt x="85452" y="44260"/>
                  </a:cubicBezTo>
                  <a:close/>
                </a:path>
              </a:pathLst>
            </a:custGeom>
            <a:grpFill/>
            <a:ln w="359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7DF42EB6-2896-C81A-0C90-7E6AB43C7C23}"/>
                </a:ext>
              </a:extLst>
            </p:cNvPr>
            <p:cNvSpPr/>
            <p:nvPr/>
          </p:nvSpPr>
          <p:spPr>
            <a:xfrm rot="21261000">
              <a:off x="5632136" y="3671367"/>
              <a:ext cx="124572" cy="124572"/>
            </a:xfrm>
            <a:custGeom>
              <a:avLst/>
              <a:gdLst>
                <a:gd name="connsiteX0" fmla="*/ 121012 w 124572"/>
                <a:gd name="connsiteY0" fmla="*/ 62041 h 124572"/>
                <a:gd name="connsiteX1" fmla="*/ 58726 w 124572"/>
                <a:gd name="connsiteY1" fmla="*/ 124327 h 124572"/>
                <a:gd name="connsiteX2" fmla="*/ -3559 w 124572"/>
                <a:gd name="connsiteY2" fmla="*/ 62041 h 124572"/>
                <a:gd name="connsiteX3" fmla="*/ 58726 w 124572"/>
                <a:gd name="connsiteY3" fmla="*/ -245 h 124572"/>
                <a:gd name="connsiteX4" fmla="*/ 121012 w 124572"/>
                <a:gd name="connsiteY4" fmla="*/ 62041 h 124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72" h="124572">
                  <a:moveTo>
                    <a:pt x="121012" y="62041"/>
                  </a:moveTo>
                  <a:cubicBezTo>
                    <a:pt x="121012" y="96441"/>
                    <a:pt x="93126" y="124327"/>
                    <a:pt x="58726" y="124327"/>
                  </a:cubicBezTo>
                  <a:cubicBezTo>
                    <a:pt x="24327" y="124327"/>
                    <a:pt x="-3559" y="96441"/>
                    <a:pt x="-3559" y="62041"/>
                  </a:cubicBezTo>
                  <a:cubicBezTo>
                    <a:pt x="-3559" y="27641"/>
                    <a:pt x="24327" y="-245"/>
                    <a:pt x="58726" y="-245"/>
                  </a:cubicBezTo>
                  <a:cubicBezTo>
                    <a:pt x="93126" y="-245"/>
                    <a:pt x="121012" y="27642"/>
                    <a:pt x="121012" y="62041"/>
                  </a:cubicBezTo>
                  <a:close/>
                </a:path>
              </a:pathLst>
            </a:custGeom>
            <a:grpFill/>
            <a:ln w="359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CB24FC0C-9D93-C607-5BBB-2916123CBE52}"/>
                </a:ext>
              </a:extLst>
            </p:cNvPr>
            <p:cNvSpPr/>
            <p:nvPr/>
          </p:nvSpPr>
          <p:spPr>
            <a:xfrm>
              <a:off x="2917393" y="661177"/>
              <a:ext cx="786050" cy="327883"/>
            </a:xfrm>
            <a:custGeom>
              <a:avLst/>
              <a:gdLst>
                <a:gd name="connsiteX0" fmla="*/ 786050 w 786050"/>
                <a:gd name="connsiteY0" fmla="*/ 134846 h 327883"/>
                <a:gd name="connsiteX1" fmla="*/ 780914 w 786050"/>
                <a:gd name="connsiteY1" fmla="*/ 143718 h 327883"/>
                <a:gd name="connsiteX2" fmla="*/ 552530 w 786050"/>
                <a:gd name="connsiteY2" fmla="*/ 11854 h 327883"/>
                <a:gd name="connsiteX3" fmla="*/ 5137 w 786050"/>
                <a:gd name="connsiteY3" fmla="*/ 327883 h 327883"/>
                <a:gd name="connsiteX4" fmla="*/ 0 w 786050"/>
                <a:gd name="connsiteY4" fmla="*/ 319011 h 327883"/>
                <a:gd name="connsiteX5" fmla="*/ 552530 w 786050"/>
                <a:gd name="connsiteY5" fmla="*/ 0 h 327883"/>
                <a:gd name="connsiteX6" fmla="*/ 786050 w 786050"/>
                <a:gd name="connsiteY6" fmla="*/ 134846 h 32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050" h="327883">
                  <a:moveTo>
                    <a:pt x="786050" y="134846"/>
                  </a:moveTo>
                  <a:lnTo>
                    <a:pt x="780914" y="143718"/>
                  </a:lnTo>
                  <a:lnTo>
                    <a:pt x="552530" y="11854"/>
                  </a:lnTo>
                  <a:lnTo>
                    <a:pt x="5137" y="327883"/>
                  </a:lnTo>
                  <a:lnTo>
                    <a:pt x="0" y="319011"/>
                  </a:lnTo>
                  <a:lnTo>
                    <a:pt x="552530" y="0"/>
                  </a:lnTo>
                  <a:lnTo>
                    <a:pt x="786050" y="134846"/>
                  </a:lnTo>
                  <a:close/>
                </a:path>
              </a:pathLst>
            </a:custGeom>
            <a:grpFill/>
            <a:ln w="359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905881D0-4996-8814-A5C9-CADA51760F34}"/>
                </a:ext>
              </a:extLst>
            </p:cNvPr>
            <p:cNvSpPr/>
            <p:nvPr/>
          </p:nvSpPr>
          <p:spPr>
            <a:xfrm>
              <a:off x="3580271" y="2013192"/>
              <a:ext cx="1110125" cy="910838"/>
            </a:xfrm>
            <a:custGeom>
              <a:avLst/>
              <a:gdLst>
                <a:gd name="connsiteX0" fmla="*/ 1110126 w 1110125"/>
                <a:gd name="connsiteY0" fmla="*/ 320448 h 910838"/>
                <a:gd name="connsiteX1" fmla="*/ 1110126 w 1110125"/>
                <a:gd name="connsiteY1" fmla="*/ 910839 h 910838"/>
                <a:gd name="connsiteX2" fmla="*/ 1099889 w 1110125"/>
                <a:gd name="connsiteY2" fmla="*/ 910839 h 910838"/>
                <a:gd name="connsiteX3" fmla="*/ 1099889 w 1110125"/>
                <a:gd name="connsiteY3" fmla="*/ 326375 h 910838"/>
                <a:gd name="connsiteX4" fmla="*/ 555081 w 1110125"/>
                <a:gd name="connsiteY4" fmla="*/ 11818 h 910838"/>
                <a:gd name="connsiteX5" fmla="*/ 10237 w 1110125"/>
                <a:gd name="connsiteY5" fmla="*/ 326375 h 910838"/>
                <a:gd name="connsiteX6" fmla="*/ 10237 w 1110125"/>
                <a:gd name="connsiteY6" fmla="*/ 611620 h 910838"/>
                <a:gd name="connsiteX7" fmla="*/ 0 w 1110125"/>
                <a:gd name="connsiteY7" fmla="*/ 611620 h 910838"/>
                <a:gd name="connsiteX8" fmla="*/ 0 w 1110125"/>
                <a:gd name="connsiteY8" fmla="*/ 320448 h 910838"/>
                <a:gd name="connsiteX9" fmla="*/ 555081 w 1110125"/>
                <a:gd name="connsiteY9" fmla="*/ 0 h 910838"/>
                <a:gd name="connsiteX10" fmla="*/ 1110126 w 1110125"/>
                <a:gd name="connsiteY10" fmla="*/ 320448 h 9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25" h="910838">
                  <a:moveTo>
                    <a:pt x="1110126" y="320448"/>
                  </a:moveTo>
                  <a:lnTo>
                    <a:pt x="1110126" y="910839"/>
                  </a:lnTo>
                  <a:lnTo>
                    <a:pt x="1099889" y="910839"/>
                  </a:lnTo>
                  <a:lnTo>
                    <a:pt x="1099889" y="326375"/>
                  </a:lnTo>
                  <a:lnTo>
                    <a:pt x="555081" y="11818"/>
                  </a:lnTo>
                  <a:lnTo>
                    <a:pt x="10237" y="326375"/>
                  </a:lnTo>
                  <a:lnTo>
                    <a:pt x="10237" y="611620"/>
                  </a:lnTo>
                  <a:lnTo>
                    <a:pt x="0" y="611620"/>
                  </a:lnTo>
                  <a:lnTo>
                    <a:pt x="0" y="320448"/>
                  </a:lnTo>
                  <a:lnTo>
                    <a:pt x="555081" y="0"/>
                  </a:lnTo>
                  <a:lnTo>
                    <a:pt x="1110126" y="320448"/>
                  </a:lnTo>
                  <a:close/>
                </a:path>
              </a:pathLst>
            </a:custGeom>
            <a:grpFill/>
            <a:ln w="359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D6456B00-872E-C961-A811-B75B718A4DCF}"/>
                </a:ext>
              </a:extLst>
            </p:cNvPr>
            <p:cNvSpPr/>
            <p:nvPr/>
          </p:nvSpPr>
          <p:spPr>
            <a:xfrm>
              <a:off x="3554551" y="2592448"/>
              <a:ext cx="61640" cy="61639"/>
            </a:xfrm>
            <a:custGeom>
              <a:avLst/>
              <a:gdLst>
                <a:gd name="connsiteX0" fmla="*/ 58080 w 61640"/>
                <a:gd name="connsiteY0" fmla="*/ 30574 h 61639"/>
                <a:gd name="connsiteX1" fmla="*/ 27260 w 61640"/>
                <a:gd name="connsiteY1" fmla="*/ 61394 h 61639"/>
                <a:gd name="connsiteX2" fmla="*/ -3560 w 61640"/>
                <a:gd name="connsiteY2" fmla="*/ 30574 h 61639"/>
                <a:gd name="connsiteX3" fmla="*/ 27260 w 61640"/>
                <a:gd name="connsiteY3" fmla="*/ -245 h 61639"/>
                <a:gd name="connsiteX4" fmla="*/ 58080 w 61640"/>
                <a:gd name="connsiteY4" fmla="*/ 30574 h 6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40" h="61639">
                  <a:moveTo>
                    <a:pt x="58080" y="30574"/>
                  </a:moveTo>
                  <a:cubicBezTo>
                    <a:pt x="58080" y="47597"/>
                    <a:pt x="44287" y="61394"/>
                    <a:pt x="27260" y="61394"/>
                  </a:cubicBezTo>
                  <a:cubicBezTo>
                    <a:pt x="10235" y="61394"/>
                    <a:pt x="-3560" y="47597"/>
                    <a:pt x="-3560" y="30574"/>
                  </a:cubicBezTo>
                  <a:cubicBezTo>
                    <a:pt x="-3560" y="13552"/>
                    <a:pt x="10235" y="-245"/>
                    <a:pt x="27260" y="-245"/>
                  </a:cubicBezTo>
                  <a:cubicBezTo>
                    <a:pt x="44287" y="-224"/>
                    <a:pt x="58045" y="13562"/>
                    <a:pt x="58080" y="30574"/>
                  </a:cubicBezTo>
                  <a:close/>
                </a:path>
              </a:pathLst>
            </a:custGeom>
            <a:grpFill/>
            <a:ln w="359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51BF3F89-82C4-A2C6-FDEC-C5086894F3AC}"/>
                </a:ext>
              </a:extLst>
            </p:cNvPr>
            <p:cNvSpPr/>
            <p:nvPr/>
          </p:nvSpPr>
          <p:spPr>
            <a:xfrm>
              <a:off x="4635151" y="2871407"/>
              <a:ext cx="100578" cy="100578"/>
            </a:xfrm>
            <a:custGeom>
              <a:avLst/>
              <a:gdLst>
                <a:gd name="connsiteX0" fmla="*/ -3560 w 100578"/>
                <a:gd name="connsiteY0" fmla="*/ 49864 h 100578"/>
                <a:gd name="connsiteX1" fmla="*/ 46550 w 100578"/>
                <a:gd name="connsiteY1" fmla="*/ 100332 h 100578"/>
                <a:gd name="connsiteX2" fmla="*/ 97018 w 100578"/>
                <a:gd name="connsiteY2" fmla="*/ 50223 h 100578"/>
                <a:gd name="connsiteX3" fmla="*/ 46910 w 100578"/>
                <a:gd name="connsiteY3" fmla="*/ -245 h 100578"/>
                <a:gd name="connsiteX4" fmla="*/ 46729 w 100578"/>
                <a:gd name="connsiteY4" fmla="*/ -245 h 100578"/>
                <a:gd name="connsiteX5" fmla="*/ -3560 w 100578"/>
                <a:gd name="connsiteY5" fmla="*/ 49864 h 10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78" h="100578">
                  <a:moveTo>
                    <a:pt x="-3560" y="49864"/>
                  </a:moveTo>
                  <a:cubicBezTo>
                    <a:pt x="-3667" y="77630"/>
                    <a:pt x="18784" y="100224"/>
                    <a:pt x="46550" y="100332"/>
                  </a:cubicBezTo>
                  <a:cubicBezTo>
                    <a:pt x="74317" y="100440"/>
                    <a:pt x="96911" y="77990"/>
                    <a:pt x="97018" y="50223"/>
                  </a:cubicBezTo>
                  <a:cubicBezTo>
                    <a:pt x="97127" y="22456"/>
                    <a:pt x="74676" y="-145"/>
                    <a:pt x="46910" y="-245"/>
                  </a:cubicBezTo>
                  <a:cubicBezTo>
                    <a:pt x="46838" y="-245"/>
                    <a:pt x="46801" y="-245"/>
                    <a:pt x="46729" y="-245"/>
                  </a:cubicBezTo>
                  <a:cubicBezTo>
                    <a:pt x="19034" y="-245"/>
                    <a:pt x="-3451" y="22169"/>
                    <a:pt x="-3560" y="49864"/>
                  </a:cubicBezTo>
                  <a:close/>
                </a:path>
              </a:pathLst>
            </a:custGeom>
            <a:grpFill/>
            <a:ln w="359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B5F0F70E-144D-B40E-727C-8CF6FA77445B}"/>
                </a:ext>
              </a:extLst>
            </p:cNvPr>
            <p:cNvSpPr/>
            <p:nvPr/>
          </p:nvSpPr>
          <p:spPr>
            <a:xfrm>
              <a:off x="3514896" y="2867815"/>
              <a:ext cx="738491" cy="300403"/>
            </a:xfrm>
            <a:custGeom>
              <a:avLst/>
              <a:gdLst>
                <a:gd name="connsiteX0" fmla="*/ 738491 w 738491"/>
                <a:gd name="connsiteY0" fmla="*/ 134846 h 300403"/>
                <a:gd name="connsiteX1" fmla="*/ 733355 w 738491"/>
                <a:gd name="connsiteY1" fmla="*/ 143718 h 300403"/>
                <a:gd name="connsiteX2" fmla="*/ 504936 w 738491"/>
                <a:gd name="connsiteY2" fmla="*/ 11818 h 300403"/>
                <a:gd name="connsiteX3" fmla="*/ 5137 w 738491"/>
                <a:gd name="connsiteY3" fmla="*/ 300404 h 300403"/>
                <a:gd name="connsiteX4" fmla="*/ 0 w 738491"/>
                <a:gd name="connsiteY4" fmla="*/ 291532 h 300403"/>
                <a:gd name="connsiteX5" fmla="*/ 504936 w 738491"/>
                <a:gd name="connsiteY5" fmla="*/ 0 h 300403"/>
                <a:gd name="connsiteX6" fmla="*/ 738491 w 738491"/>
                <a:gd name="connsiteY6" fmla="*/ 134846 h 30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491" h="300403">
                  <a:moveTo>
                    <a:pt x="738491" y="134846"/>
                  </a:moveTo>
                  <a:lnTo>
                    <a:pt x="733355" y="143718"/>
                  </a:lnTo>
                  <a:lnTo>
                    <a:pt x="504936" y="11818"/>
                  </a:lnTo>
                  <a:lnTo>
                    <a:pt x="5137" y="300404"/>
                  </a:lnTo>
                  <a:lnTo>
                    <a:pt x="0" y="291532"/>
                  </a:lnTo>
                  <a:lnTo>
                    <a:pt x="504936" y="0"/>
                  </a:lnTo>
                  <a:lnTo>
                    <a:pt x="738491" y="134846"/>
                  </a:lnTo>
                  <a:close/>
                </a:path>
              </a:pathLst>
            </a:custGeom>
            <a:grpFill/>
            <a:ln w="359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B96C76A5-90A1-2DB9-4943-FD2E4669F36C}"/>
                </a:ext>
              </a:extLst>
            </p:cNvPr>
            <p:cNvSpPr/>
            <p:nvPr/>
          </p:nvSpPr>
          <p:spPr>
            <a:xfrm>
              <a:off x="3462171" y="3104527"/>
              <a:ext cx="115603" cy="115608"/>
            </a:xfrm>
            <a:custGeom>
              <a:avLst/>
              <a:gdLst>
                <a:gd name="connsiteX0" fmla="*/ 83110 w 115603"/>
                <a:gd name="connsiteY0" fmla="*/ 107629 h 115608"/>
                <a:gd name="connsiteX1" fmla="*/ 4157 w 115603"/>
                <a:gd name="connsiteY1" fmla="*/ 86436 h 115608"/>
                <a:gd name="connsiteX2" fmla="*/ 25386 w 115603"/>
                <a:gd name="connsiteY2" fmla="*/ 7483 h 115608"/>
                <a:gd name="connsiteX3" fmla="*/ 104268 w 115603"/>
                <a:gd name="connsiteY3" fmla="*/ 28604 h 115608"/>
                <a:gd name="connsiteX4" fmla="*/ 83147 w 115603"/>
                <a:gd name="connsiteY4" fmla="*/ 107629 h 115608"/>
                <a:gd name="connsiteX5" fmla="*/ 83110 w 115603"/>
                <a:gd name="connsiteY5" fmla="*/ 107629 h 11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603" h="115608">
                  <a:moveTo>
                    <a:pt x="83110" y="107629"/>
                  </a:moveTo>
                  <a:cubicBezTo>
                    <a:pt x="55450" y="123578"/>
                    <a:pt x="20105" y="114059"/>
                    <a:pt x="4157" y="86436"/>
                  </a:cubicBezTo>
                  <a:cubicBezTo>
                    <a:pt x="-11757" y="58777"/>
                    <a:pt x="-2273" y="23431"/>
                    <a:pt x="25386" y="7483"/>
                  </a:cubicBezTo>
                  <a:cubicBezTo>
                    <a:pt x="53009" y="-8430"/>
                    <a:pt x="88282" y="1017"/>
                    <a:pt x="104268" y="28604"/>
                  </a:cubicBezTo>
                  <a:cubicBezTo>
                    <a:pt x="120251" y="56263"/>
                    <a:pt x="110805" y="91645"/>
                    <a:pt x="83147" y="107629"/>
                  </a:cubicBezTo>
                  <a:cubicBezTo>
                    <a:pt x="83110" y="107629"/>
                    <a:pt x="83110" y="107629"/>
                    <a:pt x="83110" y="107629"/>
                  </a:cubicBezTo>
                  <a:close/>
                </a:path>
              </a:pathLst>
            </a:custGeom>
            <a:grpFill/>
            <a:ln w="359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528F324B-0362-3186-B3B6-6F1683ED7255}"/>
                </a:ext>
              </a:extLst>
            </p:cNvPr>
            <p:cNvSpPr/>
            <p:nvPr/>
          </p:nvSpPr>
          <p:spPr>
            <a:xfrm>
              <a:off x="5461577" y="2364747"/>
              <a:ext cx="1368969" cy="409171"/>
            </a:xfrm>
            <a:custGeom>
              <a:avLst/>
              <a:gdLst>
                <a:gd name="connsiteX0" fmla="*/ 1368970 w 1368969"/>
                <a:gd name="connsiteY0" fmla="*/ 392792 h 409171"/>
                <a:gd name="connsiteX1" fmla="*/ 1362289 w 1368969"/>
                <a:gd name="connsiteY1" fmla="*/ 404394 h 409171"/>
                <a:gd name="connsiteX2" fmla="*/ 688634 w 1368969"/>
                <a:gd name="connsiteY2" fmla="*/ 15446 h 409171"/>
                <a:gd name="connsiteX3" fmla="*/ 6717 w 1368969"/>
                <a:gd name="connsiteY3" fmla="*/ 409172 h 409171"/>
                <a:gd name="connsiteX4" fmla="*/ 0 w 1368969"/>
                <a:gd name="connsiteY4" fmla="*/ 397569 h 409171"/>
                <a:gd name="connsiteX5" fmla="*/ 688634 w 1368969"/>
                <a:gd name="connsiteY5" fmla="*/ 0 h 409171"/>
                <a:gd name="connsiteX6" fmla="*/ 1368970 w 1368969"/>
                <a:gd name="connsiteY6" fmla="*/ 392792 h 409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8969" h="409171">
                  <a:moveTo>
                    <a:pt x="1368970" y="392792"/>
                  </a:moveTo>
                  <a:lnTo>
                    <a:pt x="1362289" y="404394"/>
                  </a:lnTo>
                  <a:lnTo>
                    <a:pt x="688634" y="15446"/>
                  </a:lnTo>
                  <a:lnTo>
                    <a:pt x="6717" y="409172"/>
                  </a:lnTo>
                  <a:lnTo>
                    <a:pt x="0" y="397569"/>
                  </a:lnTo>
                  <a:lnTo>
                    <a:pt x="688634" y="0"/>
                  </a:lnTo>
                  <a:lnTo>
                    <a:pt x="1368970" y="392792"/>
                  </a:lnTo>
                  <a:close/>
                </a:path>
              </a:pathLst>
            </a:custGeom>
            <a:grpFill/>
            <a:ln w="359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0FE12EA3-0557-9E90-EEA2-97C4CA8C3EA0}"/>
                </a:ext>
              </a:extLst>
            </p:cNvPr>
            <p:cNvSpPr/>
            <p:nvPr/>
          </p:nvSpPr>
          <p:spPr>
            <a:xfrm>
              <a:off x="5426379" y="2726834"/>
              <a:ext cx="80559" cy="80548"/>
            </a:xfrm>
            <a:custGeom>
              <a:avLst/>
              <a:gdLst>
                <a:gd name="connsiteX0" fmla="*/ 56854 w 80559"/>
                <a:gd name="connsiteY0" fmla="*/ 74893 h 80548"/>
                <a:gd name="connsiteX1" fmla="*/ 1859 w 80559"/>
                <a:gd name="connsiteY1" fmla="*/ 60177 h 80548"/>
                <a:gd name="connsiteX2" fmla="*/ 16550 w 80559"/>
                <a:gd name="connsiteY2" fmla="*/ 5164 h 80548"/>
                <a:gd name="connsiteX3" fmla="*/ 71580 w 80559"/>
                <a:gd name="connsiteY3" fmla="*/ 19881 h 80548"/>
                <a:gd name="connsiteX4" fmla="*/ 71580 w 80559"/>
                <a:gd name="connsiteY4" fmla="*/ 19899 h 80548"/>
                <a:gd name="connsiteX5" fmla="*/ 56889 w 80559"/>
                <a:gd name="connsiteY5" fmla="*/ 74868 h 80548"/>
                <a:gd name="connsiteX6" fmla="*/ 56854 w 80559"/>
                <a:gd name="connsiteY6" fmla="*/ 74893 h 8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559" h="80548">
                  <a:moveTo>
                    <a:pt x="56854" y="74893"/>
                  </a:moveTo>
                  <a:cubicBezTo>
                    <a:pt x="37599" y="86021"/>
                    <a:pt x="12958" y="79430"/>
                    <a:pt x="1859" y="60177"/>
                  </a:cubicBezTo>
                  <a:cubicBezTo>
                    <a:pt x="-9276" y="40920"/>
                    <a:pt x="-2703" y="16292"/>
                    <a:pt x="16550" y="5164"/>
                  </a:cubicBezTo>
                  <a:cubicBezTo>
                    <a:pt x="35803" y="-5964"/>
                    <a:pt x="60446" y="627"/>
                    <a:pt x="71580" y="19881"/>
                  </a:cubicBezTo>
                  <a:cubicBezTo>
                    <a:pt x="71580" y="19888"/>
                    <a:pt x="71580" y="19895"/>
                    <a:pt x="71580" y="19899"/>
                  </a:cubicBezTo>
                  <a:cubicBezTo>
                    <a:pt x="82716" y="39131"/>
                    <a:pt x="76142" y="63744"/>
                    <a:pt x="56889" y="74868"/>
                  </a:cubicBezTo>
                  <a:cubicBezTo>
                    <a:pt x="56889" y="74875"/>
                    <a:pt x="56854" y="74886"/>
                    <a:pt x="56854" y="74893"/>
                  </a:cubicBezTo>
                  <a:close/>
                </a:path>
              </a:pathLst>
            </a:custGeom>
            <a:grpFill/>
            <a:ln w="359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781EA5F6-7A6C-4C10-7AC1-EA28ED178419}"/>
                </a:ext>
              </a:extLst>
            </p:cNvPr>
            <p:cNvSpPr/>
            <p:nvPr/>
          </p:nvSpPr>
          <p:spPr>
            <a:xfrm>
              <a:off x="6774646" y="2711801"/>
              <a:ext cx="100593" cy="100594"/>
            </a:xfrm>
            <a:custGeom>
              <a:avLst/>
              <a:gdLst>
                <a:gd name="connsiteX0" fmla="*/ 21627 w 100593"/>
                <a:gd name="connsiteY0" fmla="*/ 93626 h 100594"/>
                <a:gd name="connsiteX1" fmla="*/ 90308 w 100593"/>
                <a:gd name="connsiteY1" fmla="*/ 75156 h 100594"/>
                <a:gd name="connsiteX2" fmla="*/ 71844 w 100593"/>
                <a:gd name="connsiteY2" fmla="*/ 6479 h 100594"/>
                <a:gd name="connsiteX3" fmla="*/ 3201 w 100593"/>
                <a:gd name="connsiteY3" fmla="*/ 24874 h 100594"/>
                <a:gd name="connsiteX4" fmla="*/ 21556 w 100593"/>
                <a:gd name="connsiteY4" fmla="*/ 93583 h 100594"/>
                <a:gd name="connsiteX5" fmla="*/ 21627 w 100593"/>
                <a:gd name="connsiteY5" fmla="*/ 93626 h 10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93" h="100594">
                  <a:moveTo>
                    <a:pt x="21627" y="93626"/>
                  </a:moveTo>
                  <a:cubicBezTo>
                    <a:pt x="45695" y="107491"/>
                    <a:pt x="76443" y="99222"/>
                    <a:pt x="90308" y="75156"/>
                  </a:cubicBezTo>
                  <a:cubicBezTo>
                    <a:pt x="104173" y="51092"/>
                    <a:pt x="95912" y="20344"/>
                    <a:pt x="71844" y="6479"/>
                  </a:cubicBezTo>
                  <a:cubicBezTo>
                    <a:pt x="47814" y="-7372"/>
                    <a:pt x="17102" y="861"/>
                    <a:pt x="3201" y="24874"/>
                  </a:cubicBezTo>
                  <a:cubicBezTo>
                    <a:pt x="-10701" y="48915"/>
                    <a:pt x="-2475" y="79678"/>
                    <a:pt x="21556" y="93583"/>
                  </a:cubicBezTo>
                  <a:cubicBezTo>
                    <a:pt x="21592" y="93597"/>
                    <a:pt x="21592" y="93612"/>
                    <a:pt x="21627" y="93626"/>
                  </a:cubicBezTo>
                  <a:close/>
                </a:path>
              </a:pathLst>
            </a:custGeom>
            <a:grpFill/>
            <a:ln w="359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266E3EC5-3FDA-CC9E-B09D-5C0FD8BDFCB0}"/>
                </a:ext>
              </a:extLst>
            </p:cNvPr>
            <p:cNvSpPr/>
            <p:nvPr/>
          </p:nvSpPr>
          <p:spPr>
            <a:xfrm>
              <a:off x="709569" y="1251999"/>
              <a:ext cx="516430" cy="1096368"/>
            </a:xfrm>
            <a:custGeom>
              <a:avLst/>
              <a:gdLst>
                <a:gd name="connsiteX0" fmla="*/ 516430 w 516430"/>
                <a:gd name="connsiteY0" fmla="*/ 295195 h 1096368"/>
                <a:gd name="connsiteX1" fmla="*/ 516430 w 516430"/>
                <a:gd name="connsiteY1" fmla="*/ 936127 h 1096368"/>
                <a:gd name="connsiteX2" fmla="*/ 238872 w 516430"/>
                <a:gd name="connsiteY2" fmla="*/ 1096369 h 1096368"/>
                <a:gd name="connsiteX3" fmla="*/ 233771 w 516430"/>
                <a:gd name="connsiteY3" fmla="*/ 1087496 h 1096368"/>
                <a:gd name="connsiteX4" fmla="*/ 506157 w 516430"/>
                <a:gd name="connsiteY4" fmla="*/ 930200 h 1096368"/>
                <a:gd name="connsiteX5" fmla="*/ 506157 w 516430"/>
                <a:gd name="connsiteY5" fmla="*/ 301086 h 1096368"/>
                <a:gd name="connsiteX6" fmla="*/ 0 w 516430"/>
                <a:gd name="connsiteY6" fmla="*/ 8872 h 1096368"/>
                <a:gd name="connsiteX7" fmla="*/ 5137 w 516430"/>
                <a:gd name="connsiteY7" fmla="*/ 0 h 1096368"/>
                <a:gd name="connsiteX8" fmla="*/ 516430 w 516430"/>
                <a:gd name="connsiteY8" fmla="*/ 295195 h 109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430" h="1096368">
                  <a:moveTo>
                    <a:pt x="516430" y="295195"/>
                  </a:moveTo>
                  <a:lnTo>
                    <a:pt x="516430" y="936127"/>
                  </a:lnTo>
                  <a:lnTo>
                    <a:pt x="238872" y="1096369"/>
                  </a:lnTo>
                  <a:lnTo>
                    <a:pt x="233771" y="1087496"/>
                  </a:lnTo>
                  <a:lnTo>
                    <a:pt x="506157" y="930200"/>
                  </a:lnTo>
                  <a:lnTo>
                    <a:pt x="506157" y="301086"/>
                  </a:lnTo>
                  <a:lnTo>
                    <a:pt x="0" y="8872"/>
                  </a:lnTo>
                  <a:lnTo>
                    <a:pt x="5137" y="0"/>
                  </a:lnTo>
                  <a:lnTo>
                    <a:pt x="516430" y="295195"/>
                  </a:lnTo>
                  <a:close/>
                </a:path>
              </a:pathLst>
            </a:custGeom>
            <a:grpFill/>
            <a:ln w="359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FF36B575-3D9C-02AA-5AF5-E49CBDC4BF30}"/>
                </a:ext>
              </a:extLst>
            </p:cNvPr>
            <p:cNvSpPr/>
            <p:nvPr/>
          </p:nvSpPr>
          <p:spPr>
            <a:xfrm>
              <a:off x="664159" y="1207540"/>
              <a:ext cx="100221" cy="100169"/>
            </a:xfrm>
            <a:custGeom>
              <a:avLst/>
              <a:gdLst>
                <a:gd name="connsiteX0" fmla="*/ 21519 w 100221"/>
                <a:gd name="connsiteY0" fmla="*/ 93281 h 100169"/>
                <a:gd name="connsiteX1" fmla="*/ 3128 w 100221"/>
                <a:gd name="connsiteY1" fmla="*/ 24841 h 100169"/>
                <a:gd name="connsiteX2" fmla="*/ 71593 w 100221"/>
                <a:gd name="connsiteY2" fmla="*/ 6464 h 100169"/>
                <a:gd name="connsiteX3" fmla="*/ 89948 w 100221"/>
                <a:gd name="connsiteY3" fmla="*/ 74904 h 100169"/>
                <a:gd name="connsiteX4" fmla="*/ 89948 w 100221"/>
                <a:gd name="connsiteY4" fmla="*/ 74926 h 100169"/>
                <a:gd name="connsiteX5" fmla="*/ 21519 w 100221"/>
                <a:gd name="connsiteY5" fmla="*/ 93281 h 10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21" h="100169">
                  <a:moveTo>
                    <a:pt x="21519" y="93281"/>
                  </a:moveTo>
                  <a:cubicBezTo>
                    <a:pt x="-2440" y="79455"/>
                    <a:pt x="-10666" y="48815"/>
                    <a:pt x="3128" y="24841"/>
                  </a:cubicBezTo>
                  <a:cubicBezTo>
                    <a:pt x="16958" y="864"/>
                    <a:pt x="47597" y="-7361"/>
                    <a:pt x="71593" y="6464"/>
                  </a:cubicBezTo>
                  <a:cubicBezTo>
                    <a:pt x="95552" y="20287"/>
                    <a:pt x="103777" y="50931"/>
                    <a:pt x="89948" y="74904"/>
                  </a:cubicBezTo>
                  <a:cubicBezTo>
                    <a:pt x="89948" y="74911"/>
                    <a:pt x="89948" y="74918"/>
                    <a:pt x="89948" y="74926"/>
                  </a:cubicBezTo>
                  <a:cubicBezTo>
                    <a:pt x="76047" y="98798"/>
                    <a:pt x="45514" y="106995"/>
                    <a:pt x="21519" y="93281"/>
                  </a:cubicBezTo>
                  <a:close/>
                </a:path>
              </a:pathLst>
            </a:custGeom>
            <a:grpFill/>
            <a:ln w="359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5A47EB15-5D1C-EF62-754E-23A5CFF09B5B}"/>
                </a:ext>
              </a:extLst>
            </p:cNvPr>
            <p:cNvSpPr/>
            <p:nvPr/>
          </p:nvSpPr>
          <p:spPr>
            <a:xfrm>
              <a:off x="3119733" y="2943679"/>
              <a:ext cx="1953433" cy="1077330"/>
            </a:xfrm>
            <a:custGeom>
              <a:avLst/>
              <a:gdLst>
                <a:gd name="connsiteX0" fmla="*/ 1953434 w 1953433"/>
                <a:gd name="connsiteY0" fmla="*/ 531373 h 1077330"/>
                <a:gd name="connsiteX1" fmla="*/ 1007824 w 1953433"/>
                <a:gd name="connsiteY1" fmla="*/ 1077331 h 1077330"/>
                <a:gd name="connsiteX2" fmla="*/ 1003154 w 1953433"/>
                <a:gd name="connsiteY2" fmla="*/ 1074636 h 1077330"/>
                <a:gd name="connsiteX3" fmla="*/ 0 w 1953433"/>
                <a:gd name="connsiteY3" fmla="*/ 495453 h 1077330"/>
                <a:gd name="connsiteX4" fmla="*/ 0 w 1953433"/>
                <a:gd name="connsiteY4" fmla="*/ 0 h 1077330"/>
                <a:gd name="connsiteX5" fmla="*/ 18607 w 1953433"/>
                <a:gd name="connsiteY5" fmla="*/ 0 h 1077330"/>
                <a:gd name="connsiteX6" fmla="*/ 18607 w 1953433"/>
                <a:gd name="connsiteY6" fmla="*/ 484713 h 1077330"/>
                <a:gd name="connsiteX7" fmla="*/ 1007824 w 1953433"/>
                <a:gd name="connsiteY7" fmla="*/ 1055850 h 1077330"/>
                <a:gd name="connsiteX8" fmla="*/ 1944130 w 1953433"/>
                <a:gd name="connsiteY8" fmla="*/ 515281 h 1077330"/>
                <a:gd name="connsiteX9" fmla="*/ 1953434 w 1953433"/>
                <a:gd name="connsiteY9" fmla="*/ 531373 h 107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3433" h="1077330">
                  <a:moveTo>
                    <a:pt x="1953434" y="531373"/>
                  </a:moveTo>
                  <a:lnTo>
                    <a:pt x="1007824" y="1077331"/>
                  </a:lnTo>
                  <a:lnTo>
                    <a:pt x="1003154" y="1074636"/>
                  </a:lnTo>
                  <a:lnTo>
                    <a:pt x="0" y="495453"/>
                  </a:lnTo>
                  <a:lnTo>
                    <a:pt x="0" y="0"/>
                  </a:lnTo>
                  <a:lnTo>
                    <a:pt x="18607" y="0"/>
                  </a:lnTo>
                  <a:lnTo>
                    <a:pt x="18607" y="484713"/>
                  </a:lnTo>
                  <a:lnTo>
                    <a:pt x="1007824" y="1055850"/>
                  </a:lnTo>
                  <a:lnTo>
                    <a:pt x="1944130" y="515281"/>
                  </a:lnTo>
                  <a:lnTo>
                    <a:pt x="1953434" y="531373"/>
                  </a:lnTo>
                  <a:close/>
                </a:path>
              </a:pathLst>
            </a:custGeom>
            <a:grpFill/>
            <a:ln w="359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1823DCC1-DFD7-3791-CFAC-183970B98440}"/>
                </a:ext>
              </a:extLst>
            </p:cNvPr>
            <p:cNvSpPr/>
            <p:nvPr/>
          </p:nvSpPr>
          <p:spPr>
            <a:xfrm>
              <a:off x="4995516" y="3398743"/>
              <a:ext cx="139952" cy="139975"/>
            </a:xfrm>
            <a:custGeom>
              <a:avLst/>
              <a:gdLst>
                <a:gd name="connsiteX0" fmla="*/ 31417 w 139952"/>
                <a:gd name="connsiteY0" fmla="*/ 9145 h 139975"/>
                <a:gd name="connsiteX1" fmla="*/ 127001 w 139952"/>
                <a:gd name="connsiteY1" fmla="*/ 34756 h 139975"/>
                <a:gd name="connsiteX2" fmla="*/ 101391 w 139952"/>
                <a:gd name="connsiteY2" fmla="*/ 130341 h 139975"/>
                <a:gd name="connsiteX3" fmla="*/ 5806 w 139952"/>
                <a:gd name="connsiteY3" fmla="*/ 104729 h 139975"/>
                <a:gd name="connsiteX4" fmla="*/ 5806 w 139952"/>
                <a:gd name="connsiteY4" fmla="*/ 104729 h 139975"/>
                <a:gd name="connsiteX5" fmla="*/ 31417 w 139952"/>
                <a:gd name="connsiteY5" fmla="*/ 9145 h 13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952" h="139975">
                  <a:moveTo>
                    <a:pt x="31417" y="9145"/>
                  </a:moveTo>
                  <a:cubicBezTo>
                    <a:pt x="64895" y="-10181"/>
                    <a:pt x="107677" y="1278"/>
                    <a:pt x="127001" y="34756"/>
                  </a:cubicBezTo>
                  <a:cubicBezTo>
                    <a:pt x="146328" y="68234"/>
                    <a:pt x="134868" y="111015"/>
                    <a:pt x="101391" y="130341"/>
                  </a:cubicBezTo>
                  <a:cubicBezTo>
                    <a:pt x="67913" y="149666"/>
                    <a:pt x="25131" y="138207"/>
                    <a:pt x="5806" y="104729"/>
                  </a:cubicBezTo>
                  <a:cubicBezTo>
                    <a:pt x="5806" y="104729"/>
                    <a:pt x="5806" y="104729"/>
                    <a:pt x="5806" y="104729"/>
                  </a:cubicBezTo>
                  <a:cubicBezTo>
                    <a:pt x="-13483" y="71251"/>
                    <a:pt x="-2025" y="28506"/>
                    <a:pt x="31417" y="9145"/>
                  </a:cubicBezTo>
                  <a:close/>
                </a:path>
              </a:pathLst>
            </a:custGeom>
            <a:grpFill/>
            <a:ln w="359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7A12C4D2-0396-F6CC-17CD-D9064B8676F1}"/>
                </a:ext>
              </a:extLst>
            </p:cNvPr>
            <p:cNvSpPr/>
            <p:nvPr/>
          </p:nvSpPr>
          <p:spPr>
            <a:xfrm>
              <a:off x="3038014" y="2857218"/>
              <a:ext cx="181974" cy="181973"/>
            </a:xfrm>
            <a:custGeom>
              <a:avLst/>
              <a:gdLst>
                <a:gd name="connsiteX0" fmla="*/ 178414 w 181974"/>
                <a:gd name="connsiteY0" fmla="*/ 90741 h 181973"/>
                <a:gd name="connsiteX1" fmla="*/ 87427 w 181974"/>
                <a:gd name="connsiteY1" fmla="*/ -245 h 181973"/>
                <a:gd name="connsiteX2" fmla="*/ -3560 w 181974"/>
                <a:gd name="connsiteY2" fmla="*/ 90741 h 181973"/>
                <a:gd name="connsiteX3" fmla="*/ 87427 w 181974"/>
                <a:gd name="connsiteY3" fmla="*/ 181728 h 181973"/>
                <a:gd name="connsiteX4" fmla="*/ 178414 w 181974"/>
                <a:gd name="connsiteY4" fmla="*/ 90741 h 1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974" h="181973">
                  <a:moveTo>
                    <a:pt x="178414" y="90741"/>
                  </a:moveTo>
                  <a:cubicBezTo>
                    <a:pt x="178414" y="40489"/>
                    <a:pt x="137679" y="-245"/>
                    <a:pt x="87427" y="-245"/>
                  </a:cubicBezTo>
                  <a:cubicBezTo>
                    <a:pt x="37173" y="-245"/>
                    <a:pt x="-3560" y="40489"/>
                    <a:pt x="-3560" y="90741"/>
                  </a:cubicBezTo>
                  <a:cubicBezTo>
                    <a:pt x="-3560" y="140994"/>
                    <a:pt x="37173" y="181728"/>
                    <a:pt x="87427" y="181728"/>
                  </a:cubicBezTo>
                  <a:cubicBezTo>
                    <a:pt x="137679" y="181728"/>
                    <a:pt x="178414" y="140994"/>
                    <a:pt x="178414" y="90741"/>
                  </a:cubicBezTo>
                  <a:close/>
                </a:path>
              </a:pathLst>
            </a:custGeom>
            <a:grpFill/>
            <a:ln w="359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76D37891-CF0B-61EC-0FEB-6683B3100E9A}"/>
                </a:ext>
              </a:extLst>
            </p:cNvPr>
            <p:cNvSpPr/>
            <p:nvPr/>
          </p:nvSpPr>
          <p:spPr>
            <a:xfrm rot="19799999">
              <a:off x="3133368" y="1967587"/>
              <a:ext cx="450192" cy="18606"/>
            </a:xfrm>
            <a:custGeom>
              <a:avLst/>
              <a:gdLst>
                <a:gd name="connsiteX0" fmla="*/ -3561 w 450192"/>
                <a:gd name="connsiteY0" fmla="*/ -245 h 18606"/>
                <a:gd name="connsiteX1" fmla="*/ 446632 w 450192"/>
                <a:gd name="connsiteY1" fmla="*/ -245 h 18606"/>
                <a:gd name="connsiteX2" fmla="*/ 446632 w 450192"/>
                <a:gd name="connsiteY2" fmla="*/ 18361 h 18606"/>
                <a:gd name="connsiteX3" fmla="*/ -3561 w 450192"/>
                <a:gd name="connsiteY3" fmla="*/ 18361 h 18606"/>
              </a:gdLst>
              <a:ahLst/>
              <a:cxnLst>
                <a:cxn ang="0">
                  <a:pos x="connsiteX0" y="connsiteY0"/>
                </a:cxn>
                <a:cxn ang="0">
                  <a:pos x="connsiteX1" y="connsiteY1"/>
                </a:cxn>
                <a:cxn ang="0">
                  <a:pos x="connsiteX2" y="connsiteY2"/>
                </a:cxn>
                <a:cxn ang="0">
                  <a:pos x="connsiteX3" y="connsiteY3"/>
                </a:cxn>
              </a:cxnLst>
              <a:rect l="l" t="t" r="r" b="b"/>
              <a:pathLst>
                <a:path w="450192" h="18606">
                  <a:moveTo>
                    <a:pt x="-3561" y="-245"/>
                  </a:moveTo>
                  <a:lnTo>
                    <a:pt x="446632" y="-245"/>
                  </a:lnTo>
                  <a:lnTo>
                    <a:pt x="446632" y="18361"/>
                  </a:lnTo>
                  <a:lnTo>
                    <a:pt x="-3561" y="18361"/>
                  </a:lnTo>
                  <a:close/>
                </a:path>
              </a:pathLst>
            </a:custGeom>
            <a:grpFill/>
            <a:ln w="359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178A9465-D035-72B0-1500-E0CD8A32373D}"/>
                </a:ext>
              </a:extLst>
            </p:cNvPr>
            <p:cNvSpPr/>
            <p:nvPr/>
          </p:nvSpPr>
          <p:spPr>
            <a:xfrm>
              <a:off x="3458519" y="1775740"/>
              <a:ext cx="181935" cy="181931"/>
            </a:xfrm>
            <a:custGeom>
              <a:avLst/>
              <a:gdLst>
                <a:gd name="connsiteX0" fmla="*/ 41933 w 181935"/>
                <a:gd name="connsiteY0" fmla="*/ 11948 h 181931"/>
                <a:gd name="connsiteX1" fmla="*/ 166181 w 181935"/>
                <a:gd name="connsiteY1" fmla="*/ 45254 h 181931"/>
                <a:gd name="connsiteX2" fmla="*/ 132848 w 181935"/>
                <a:gd name="connsiteY2" fmla="*/ 169493 h 181931"/>
                <a:gd name="connsiteX3" fmla="*/ 8634 w 181935"/>
                <a:gd name="connsiteY3" fmla="*/ 136198 h 181931"/>
                <a:gd name="connsiteX4" fmla="*/ 41933 w 181935"/>
                <a:gd name="connsiteY4" fmla="*/ 11956 h 181931"/>
                <a:gd name="connsiteX5" fmla="*/ 41933 w 181935"/>
                <a:gd name="connsiteY5" fmla="*/ 11948 h 18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35" h="181931">
                  <a:moveTo>
                    <a:pt x="41933" y="11948"/>
                  </a:moveTo>
                  <a:cubicBezTo>
                    <a:pt x="85432" y="-13160"/>
                    <a:pt x="141074" y="1751"/>
                    <a:pt x="166181" y="45254"/>
                  </a:cubicBezTo>
                  <a:cubicBezTo>
                    <a:pt x="191291" y="88757"/>
                    <a:pt x="176384" y="144381"/>
                    <a:pt x="132848" y="169493"/>
                  </a:cubicBezTo>
                  <a:cubicBezTo>
                    <a:pt x="89349" y="194598"/>
                    <a:pt x="33744" y="179694"/>
                    <a:pt x="8634" y="136198"/>
                  </a:cubicBezTo>
                  <a:cubicBezTo>
                    <a:pt x="-16473" y="92698"/>
                    <a:pt x="-1567" y="37071"/>
                    <a:pt x="41933" y="11956"/>
                  </a:cubicBezTo>
                  <a:cubicBezTo>
                    <a:pt x="41933" y="11952"/>
                    <a:pt x="41933" y="11952"/>
                    <a:pt x="41933" y="11948"/>
                  </a:cubicBezTo>
                  <a:close/>
                </a:path>
              </a:pathLst>
            </a:custGeom>
            <a:grpFill/>
            <a:ln w="359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7E40C073-75B7-01C5-BE40-E7BC3667E04C}"/>
                </a:ext>
              </a:extLst>
            </p:cNvPr>
            <p:cNvSpPr/>
            <p:nvPr/>
          </p:nvSpPr>
          <p:spPr>
            <a:xfrm>
              <a:off x="3123466" y="2046449"/>
              <a:ext cx="83985" cy="83996"/>
            </a:xfrm>
            <a:custGeom>
              <a:avLst/>
              <a:gdLst>
                <a:gd name="connsiteX0" fmla="*/ 17348 w 83985"/>
                <a:gd name="connsiteY0" fmla="*/ 5436 h 83996"/>
                <a:gd name="connsiteX1" fmla="*/ 2119 w 83985"/>
                <a:gd name="connsiteY1" fmla="*/ 62830 h 83996"/>
                <a:gd name="connsiteX2" fmla="*/ 59520 w 83985"/>
                <a:gd name="connsiteY2" fmla="*/ 78071 h 83996"/>
                <a:gd name="connsiteX3" fmla="*/ 74821 w 83985"/>
                <a:gd name="connsiteY3" fmla="*/ 20810 h 83996"/>
                <a:gd name="connsiteX4" fmla="*/ 17492 w 83985"/>
                <a:gd name="connsiteY4" fmla="*/ 5357 h 83996"/>
                <a:gd name="connsiteX5" fmla="*/ 17348 w 83985"/>
                <a:gd name="connsiteY5" fmla="*/ 5436 h 83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985" h="83996">
                  <a:moveTo>
                    <a:pt x="17348" y="5436"/>
                  </a:moveTo>
                  <a:cubicBezTo>
                    <a:pt x="-2696" y="17078"/>
                    <a:pt x="-9520" y="42775"/>
                    <a:pt x="2119" y="62830"/>
                  </a:cubicBezTo>
                  <a:cubicBezTo>
                    <a:pt x="13756" y="82888"/>
                    <a:pt x="39439" y="89713"/>
                    <a:pt x="59520" y="78071"/>
                  </a:cubicBezTo>
                  <a:cubicBezTo>
                    <a:pt x="79527" y="66461"/>
                    <a:pt x="86352" y="40857"/>
                    <a:pt x="74821" y="20810"/>
                  </a:cubicBezTo>
                  <a:cubicBezTo>
                    <a:pt x="63256" y="709"/>
                    <a:pt x="37571" y="-6209"/>
                    <a:pt x="17492" y="5357"/>
                  </a:cubicBezTo>
                  <a:cubicBezTo>
                    <a:pt x="17420" y="5386"/>
                    <a:pt x="17385" y="5411"/>
                    <a:pt x="17348" y="5436"/>
                  </a:cubicBezTo>
                  <a:close/>
                </a:path>
              </a:pathLst>
            </a:custGeom>
            <a:grpFill/>
            <a:ln w="359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E1E12819-7B30-53D2-CDA9-D45B3AC5A0CE}"/>
                </a:ext>
              </a:extLst>
            </p:cNvPr>
            <p:cNvSpPr/>
            <p:nvPr/>
          </p:nvSpPr>
          <p:spPr>
            <a:xfrm>
              <a:off x="4197746" y="1451179"/>
              <a:ext cx="937635" cy="1990647"/>
            </a:xfrm>
            <a:custGeom>
              <a:avLst/>
              <a:gdLst>
                <a:gd name="connsiteX0" fmla="*/ 937635 w 937635"/>
                <a:gd name="connsiteY0" fmla="*/ 535971 h 1990647"/>
                <a:gd name="connsiteX1" fmla="*/ 937635 w 937635"/>
                <a:gd name="connsiteY1" fmla="*/ 1699727 h 1990647"/>
                <a:gd name="connsiteX2" fmla="*/ 433705 w 937635"/>
                <a:gd name="connsiteY2" fmla="*/ 1990648 h 1990647"/>
                <a:gd name="connsiteX3" fmla="*/ 424402 w 937635"/>
                <a:gd name="connsiteY3" fmla="*/ 1974519 h 1990647"/>
                <a:gd name="connsiteX4" fmla="*/ 919028 w 937635"/>
                <a:gd name="connsiteY4" fmla="*/ 1688986 h 1990647"/>
                <a:gd name="connsiteX5" fmla="*/ 919028 w 937635"/>
                <a:gd name="connsiteY5" fmla="*/ 546711 h 1990647"/>
                <a:gd name="connsiteX6" fmla="*/ 0 w 937635"/>
                <a:gd name="connsiteY6" fmla="*/ 16092 h 1990647"/>
                <a:gd name="connsiteX7" fmla="*/ 9304 w 937635"/>
                <a:gd name="connsiteY7" fmla="*/ 0 h 1990647"/>
                <a:gd name="connsiteX8" fmla="*/ 937635 w 937635"/>
                <a:gd name="connsiteY8" fmla="*/ 535971 h 199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7635" h="1990647">
                  <a:moveTo>
                    <a:pt x="937635" y="535971"/>
                  </a:moveTo>
                  <a:lnTo>
                    <a:pt x="937635" y="1699727"/>
                  </a:lnTo>
                  <a:lnTo>
                    <a:pt x="433705" y="1990648"/>
                  </a:lnTo>
                  <a:lnTo>
                    <a:pt x="424402" y="1974519"/>
                  </a:lnTo>
                  <a:lnTo>
                    <a:pt x="919028" y="1688986"/>
                  </a:lnTo>
                  <a:lnTo>
                    <a:pt x="919028" y="546711"/>
                  </a:lnTo>
                  <a:lnTo>
                    <a:pt x="0" y="16092"/>
                  </a:lnTo>
                  <a:lnTo>
                    <a:pt x="9304" y="0"/>
                  </a:lnTo>
                  <a:lnTo>
                    <a:pt x="937635" y="535971"/>
                  </a:lnTo>
                  <a:close/>
                </a:path>
              </a:pathLst>
            </a:custGeom>
            <a:grpFill/>
            <a:ln w="359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FD2808B7-4987-69E8-8E63-48206CC42515}"/>
                </a:ext>
              </a:extLst>
            </p:cNvPr>
            <p:cNvSpPr/>
            <p:nvPr/>
          </p:nvSpPr>
          <p:spPr>
            <a:xfrm>
              <a:off x="4115365" y="1370548"/>
              <a:ext cx="181921" cy="181932"/>
            </a:xfrm>
            <a:custGeom>
              <a:avLst/>
              <a:gdLst>
                <a:gd name="connsiteX0" fmla="*/ 41895 w 181921"/>
                <a:gd name="connsiteY0" fmla="*/ 169469 h 181932"/>
                <a:gd name="connsiteX1" fmla="*/ 8669 w 181921"/>
                <a:gd name="connsiteY1" fmla="*/ 45216 h 181932"/>
                <a:gd name="connsiteX2" fmla="*/ 132918 w 181921"/>
                <a:gd name="connsiteY2" fmla="*/ 11971 h 181932"/>
                <a:gd name="connsiteX3" fmla="*/ 166181 w 181921"/>
                <a:gd name="connsiteY3" fmla="*/ 136170 h 181932"/>
                <a:gd name="connsiteX4" fmla="*/ 41967 w 181921"/>
                <a:gd name="connsiteY4" fmla="*/ 169501 h 181932"/>
                <a:gd name="connsiteX5" fmla="*/ 41895 w 181921"/>
                <a:gd name="connsiteY5" fmla="*/ 169469 h 18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21" h="181932">
                  <a:moveTo>
                    <a:pt x="41895" y="169469"/>
                  </a:moveTo>
                  <a:cubicBezTo>
                    <a:pt x="-1604" y="144339"/>
                    <a:pt x="-16476" y="88708"/>
                    <a:pt x="8669" y="45216"/>
                  </a:cubicBezTo>
                  <a:cubicBezTo>
                    <a:pt x="33776" y="1723"/>
                    <a:pt x="89418" y="-13159"/>
                    <a:pt x="132918" y="11971"/>
                  </a:cubicBezTo>
                  <a:cubicBezTo>
                    <a:pt x="176382" y="37090"/>
                    <a:pt x="191254" y="92681"/>
                    <a:pt x="166181" y="136170"/>
                  </a:cubicBezTo>
                  <a:cubicBezTo>
                    <a:pt x="141072" y="179681"/>
                    <a:pt x="85467" y="194602"/>
                    <a:pt x="41967" y="169501"/>
                  </a:cubicBezTo>
                  <a:cubicBezTo>
                    <a:pt x="41930" y="169490"/>
                    <a:pt x="41895" y="169479"/>
                    <a:pt x="41895" y="169469"/>
                  </a:cubicBezTo>
                  <a:close/>
                </a:path>
              </a:pathLst>
            </a:custGeom>
            <a:grpFill/>
            <a:ln w="359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074EE7E6-11F1-A965-10EE-45744A60D177}"/>
                </a:ext>
              </a:extLst>
            </p:cNvPr>
            <p:cNvSpPr/>
            <p:nvPr/>
          </p:nvSpPr>
          <p:spPr>
            <a:xfrm>
              <a:off x="315018" y="325319"/>
              <a:ext cx="1131965" cy="928762"/>
            </a:xfrm>
            <a:custGeom>
              <a:avLst/>
              <a:gdLst>
                <a:gd name="connsiteX0" fmla="*/ 1131966 w 1131965"/>
                <a:gd name="connsiteY0" fmla="*/ 326770 h 928762"/>
                <a:gd name="connsiteX1" fmla="*/ 1131966 w 1131965"/>
                <a:gd name="connsiteY1" fmla="*/ 928763 h 928762"/>
                <a:gd name="connsiteX2" fmla="*/ 1121513 w 1131965"/>
                <a:gd name="connsiteY2" fmla="*/ 928763 h 928762"/>
                <a:gd name="connsiteX3" fmla="*/ 1121513 w 1131965"/>
                <a:gd name="connsiteY3" fmla="*/ 332804 h 928762"/>
                <a:gd name="connsiteX4" fmla="*/ 565965 w 1131965"/>
                <a:gd name="connsiteY4" fmla="*/ 12069 h 928762"/>
                <a:gd name="connsiteX5" fmla="*/ 10453 w 1131965"/>
                <a:gd name="connsiteY5" fmla="*/ 332804 h 928762"/>
                <a:gd name="connsiteX6" fmla="*/ 10453 w 1131965"/>
                <a:gd name="connsiteY6" fmla="*/ 623689 h 928762"/>
                <a:gd name="connsiteX7" fmla="*/ 0 w 1131965"/>
                <a:gd name="connsiteY7" fmla="*/ 623689 h 928762"/>
                <a:gd name="connsiteX8" fmla="*/ 0 w 1131965"/>
                <a:gd name="connsiteY8" fmla="*/ 326770 h 928762"/>
                <a:gd name="connsiteX9" fmla="*/ 565965 w 1131965"/>
                <a:gd name="connsiteY9" fmla="*/ 0 h 928762"/>
                <a:gd name="connsiteX10" fmla="*/ 1131966 w 1131965"/>
                <a:gd name="connsiteY10" fmla="*/ 326770 h 92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1965" h="928762">
                  <a:moveTo>
                    <a:pt x="1131966" y="326770"/>
                  </a:moveTo>
                  <a:lnTo>
                    <a:pt x="1131966" y="928763"/>
                  </a:lnTo>
                  <a:lnTo>
                    <a:pt x="1121513" y="928763"/>
                  </a:lnTo>
                  <a:lnTo>
                    <a:pt x="1121513" y="332804"/>
                  </a:lnTo>
                  <a:lnTo>
                    <a:pt x="565965" y="12069"/>
                  </a:lnTo>
                  <a:lnTo>
                    <a:pt x="10453" y="332804"/>
                  </a:lnTo>
                  <a:lnTo>
                    <a:pt x="10453" y="623689"/>
                  </a:lnTo>
                  <a:lnTo>
                    <a:pt x="0" y="623689"/>
                  </a:lnTo>
                  <a:lnTo>
                    <a:pt x="0" y="326770"/>
                  </a:lnTo>
                  <a:lnTo>
                    <a:pt x="565965" y="0"/>
                  </a:lnTo>
                  <a:lnTo>
                    <a:pt x="1131966" y="326770"/>
                  </a:lnTo>
                  <a:close/>
                </a:path>
              </a:pathLst>
            </a:custGeom>
            <a:grpFill/>
            <a:ln w="359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4FC6A8EA-93AB-F8AB-0E3F-1798FA490208}"/>
                </a:ext>
              </a:extLst>
            </p:cNvPr>
            <p:cNvSpPr/>
            <p:nvPr/>
          </p:nvSpPr>
          <p:spPr>
            <a:xfrm>
              <a:off x="288795" y="915997"/>
              <a:ext cx="62861" cy="62861"/>
            </a:xfrm>
            <a:custGeom>
              <a:avLst/>
              <a:gdLst>
                <a:gd name="connsiteX0" fmla="*/ 59301 w 62861"/>
                <a:gd name="connsiteY0" fmla="*/ 31185 h 62861"/>
                <a:gd name="connsiteX1" fmla="*/ 27870 w 62861"/>
                <a:gd name="connsiteY1" fmla="*/ 62616 h 62861"/>
                <a:gd name="connsiteX2" fmla="*/ -3560 w 62861"/>
                <a:gd name="connsiteY2" fmla="*/ 31185 h 62861"/>
                <a:gd name="connsiteX3" fmla="*/ 27870 w 62861"/>
                <a:gd name="connsiteY3" fmla="*/ -245 h 62861"/>
                <a:gd name="connsiteX4" fmla="*/ 59301 w 62861"/>
                <a:gd name="connsiteY4" fmla="*/ 31185 h 6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61" h="62861">
                  <a:moveTo>
                    <a:pt x="59301" y="31185"/>
                  </a:moveTo>
                  <a:cubicBezTo>
                    <a:pt x="59301" y="48542"/>
                    <a:pt x="45220" y="62616"/>
                    <a:pt x="27870" y="62616"/>
                  </a:cubicBezTo>
                  <a:cubicBezTo>
                    <a:pt x="10521" y="62616"/>
                    <a:pt x="-3560" y="48542"/>
                    <a:pt x="-3560" y="31185"/>
                  </a:cubicBezTo>
                  <a:cubicBezTo>
                    <a:pt x="-3560" y="13828"/>
                    <a:pt x="10521" y="-245"/>
                    <a:pt x="27870" y="-245"/>
                  </a:cubicBezTo>
                  <a:cubicBezTo>
                    <a:pt x="45220" y="-245"/>
                    <a:pt x="59301" y="13828"/>
                    <a:pt x="59301" y="31185"/>
                  </a:cubicBezTo>
                  <a:close/>
                </a:path>
              </a:pathLst>
            </a:custGeom>
            <a:grpFill/>
            <a:ln w="359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A681CB5C-6C66-D589-D2A4-D14E1B1CE805}"/>
                </a:ext>
              </a:extLst>
            </p:cNvPr>
            <p:cNvSpPr/>
            <p:nvPr/>
          </p:nvSpPr>
          <p:spPr>
            <a:xfrm>
              <a:off x="1390659" y="1200453"/>
              <a:ext cx="102158" cy="102158"/>
            </a:xfrm>
            <a:custGeom>
              <a:avLst/>
              <a:gdLst>
                <a:gd name="connsiteX0" fmla="*/ -3560 w 102158"/>
                <a:gd name="connsiteY0" fmla="*/ 50834 h 102158"/>
                <a:gd name="connsiteX1" fmla="*/ 47519 w 102158"/>
                <a:gd name="connsiteY1" fmla="*/ 101913 h 102158"/>
                <a:gd name="connsiteX2" fmla="*/ 98599 w 102158"/>
                <a:gd name="connsiteY2" fmla="*/ 50834 h 102158"/>
                <a:gd name="connsiteX3" fmla="*/ 47519 w 102158"/>
                <a:gd name="connsiteY3" fmla="*/ -245 h 102158"/>
                <a:gd name="connsiteX4" fmla="*/ -3560 w 102158"/>
                <a:gd name="connsiteY4" fmla="*/ 50834 h 10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58" h="102158">
                  <a:moveTo>
                    <a:pt x="-3560" y="50834"/>
                  </a:moveTo>
                  <a:cubicBezTo>
                    <a:pt x="-3560" y="79046"/>
                    <a:pt x="19322" y="101913"/>
                    <a:pt x="47519" y="101913"/>
                  </a:cubicBezTo>
                  <a:cubicBezTo>
                    <a:pt x="75717" y="101913"/>
                    <a:pt x="98599" y="79042"/>
                    <a:pt x="98599" y="50834"/>
                  </a:cubicBezTo>
                  <a:cubicBezTo>
                    <a:pt x="98599" y="22625"/>
                    <a:pt x="75717" y="-245"/>
                    <a:pt x="47519" y="-245"/>
                  </a:cubicBezTo>
                  <a:cubicBezTo>
                    <a:pt x="19322" y="-245"/>
                    <a:pt x="-3560" y="22625"/>
                    <a:pt x="-3560" y="50834"/>
                  </a:cubicBezTo>
                  <a:close/>
                </a:path>
              </a:pathLst>
            </a:custGeom>
            <a:grpFill/>
            <a:ln w="359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CB2120B7-1956-6085-E3B0-F6EA33E35BA4}"/>
                </a:ext>
              </a:extLst>
            </p:cNvPr>
            <p:cNvSpPr/>
            <p:nvPr/>
          </p:nvSpPr>
          <p:spPr>
            <a:xfrm>
              <a:off x="6758274" y="4546564"/>
              <a:ext cx="880736" cy="556984"/>
            </a:xfrm>
            <a:custGeom>
              <a:avLst/>
              <a:gdLst>
                <a:gd name="connsiteX0" fmla="*/ 880737 w 880736"/>
                <a:gd name="connsiteY0" fmla="*/ 326770 h 556984"/>
                <a:gd name="connsiteX1" fmla="*/ 880737 w 880736"/>
                <a:gd name="connsiteY1" fmla="*/ 556985 h 556984"/>
                <a:gd name="connsiteX2" fmla="*/ 870284 w 880736"/>
                <a:gd name="connsiteY2" fmla="*/ 556985 h 556984"/>
                <a:gd name="connsiteX3" fmla="*/ 870284 w 880736"/>
                <a:gd name="connsiteY3" fmla="*/ 332804 h 556984"/>
                <a:gd name="connsiteX4" fmla="*/ 314736 w 880736"/>
                <a:gd name="connsiteY4" fmla="*/ 12069 h 556984"/>
                <a:gd name="connsiteX5" fmla="*/ 5208 w 880736"/>
                <a:gd name="connsiteY5" fmla="*/ 190774 h 556984"/>
                <a:gd name="connsiteX6" fmla="*/ 0 w 880736"/>
                <a:gd name="connsiteY6" fmla="*/ 181722 h 556984"/>
                <a:gd name="connsiteX7" fmla="*/ 314736 w 880736"/>
                <a:gd name="connsiteY7" fmla="*/ 0 h 556984"/>
                <a:gd name="connsiteX8" fmla="*/ 880737 w 880736"/>
                <a:gd name="connsiteY8" fmla="*/ 326770 h 556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0736" h="556984">
                  <a:moveTo>
                    <a:pt x="880737" y="326770"/>
                  </a:moveTo>
                  <a:lnTo>
                    <a:pt x="880737" y="556985"/>
                  </a:lnTo>
                  <a:lnTo>
                    <a:pt x="870284" y="556985"/>
                  </a:lnTo>
                  <a:lnTo>
                    <a:pt x="870284" y="332804"/>
                  </a:lnTo>
                  <a:lnTo>
                    <a:pt x="314736" y="12069"/>
                  </a:lnTo>
                  <a:lnTo>
                    <a:pt x="5208" y="190774"/>
                  </a:lnTo>
                  <a:lnTo>
                    <a:pt x="0" y="181722"/>
                  </a:lnTo>
                  <a:lnTo>
                    <a:pt x="314736" y="0"/>
                  </a:lnTo>
                  <a:lnTo>
                    <a:pt x="880737" y="326770"/>
                  </a:lnTo>
                  <a:close/>
                </a:path>
              </a:pathLst>
            </a:custGeom>
            <a:grpFill/>
            <a:ln w="359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013144C5-A34F-C381-3E1B-F9B0E3CCCFFF}"/>
                </a:ext>
              </a:extLst>
            </p:cNvPr>
            <p:cNvSpPr/>
            <p:nvPr/>
          </p:nvSpPr>
          <p:spPr>
            <a:xfrm>
              <a:off x="6715798" y="4684459"/>
              <a:ext cx="94275" cy="94277"/>
            </a:xfrm>
            <a:custGeom>
              <a:avLst/>
              <a:gdLst>
                <a:gd name="connsiteX0" fmla="*/ 67114 w 94275"/>
                <a:gd name="connsiteY0" fmla="*/ 87728 h 94277"/>
                <a:gd name="connsiteX1" fmla="*/ 2745 w 94275"/>
                <a:gd name="connsiteY1" fmla="*/ 70414 h 94277"/>
                <a:gd name="connsiteX2" fmla="*/ 20058 w 94275"/>
                <a:gd name="connsiteY2" fmla="*/ 6044 h 94277"/>
                <a:gd name="connsiteX3" fmla="*/ 84392 w 94275"/>
                <a:gd name="connsiteY3" fmla="*/ 23322 h 94277"/>
                <a:gd name="connsiteX4" fmla="*/ 67149 w 94275"/>
                <a:gd name="connsiteY4" fmla="*/ 87692 h 94277"/>
                <a:gd name="connsiteX5" fmla="*/ 67114 w 94275"/>
                <a:gd name="connsiteY5" fmla="*/ 87728 h 9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275" h="94277">
                  <a:moveTo>
                    <a:pt x="67114" y="87728"/>
                  </a:moveTo>
                  <a:cubicBezTo>
                    <a:pt x="44555" y="100731"/>
                    <a:pt x="15747" y="92973"/>
                    <a:pt x="2745" y="70414"/>
                  </a:cubicBezTo>
                  <a:cubicBezTo>
                    <a:pt x="-10259" y="47892"/>
                    <a:pt x="-2500" y="19048"/>
                    <a:pt x="20058" y="6044"/>
                  </a:cubicBezTo>
                  <a:cubicBezTo>
                    <a:pt x="42580" y="-6923"/>
                    <a:pt x="71388" y="800"/>
                    <a:pt x="84392" y="23322"/>
                  </a:cubicBezTo>
                  <a:cubicBezTo>
                    <a:pt x="97396" y="45845"/>
                    <a:pt x="89708" y="74689"/>
                    <a:pt x="67149" y="87692"/>
                  </a:cubicBezTo>
                  <a:cubicBezTo>
                    <a:pt x="67149" y="87728"/>
                    <a:pt x="67114" y="87728"/>
                    <a:pt x="67114" y="87728"/>
                  </a:cubicBezTo>
                  <a:close/>
                </a:path>
              </a:pathLst>
            </a:custGeom>
            <a:grpFill/>
            <a:ln w="359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93B2ACB2-30FF-C27F-7DCF-FF51F34AD42D}"/>
                </a:ext>
              </a:extLst>
            </p:cNvPr>
            <p:cNvSpPr/>
            <p:nvPr/>
          </p:nvSpPr>
          <p:spPr>
            <a:xfrm>
              <a:off x="7598421" y="5066407"/>
              <a:ext cx="70762" cy="70763"/>
            </a:xfrm>
            <a:custGeom>
              <a:avLst/>
              <a:gdLst>
                <a:gd name="connsiteX0" fmla="*/ -3560 w 70762"/>
                <a:gd name="connsiteY0" fmla="*/ 35100 h 70763"/>
                <a:gd name="connsiteX1" fmla="*/ 31785 w 70762"/>
                <a:gd name="connsiteY1" fmla="*/ 70518 h 70763"/>
                <a:gd name="connsiteX2" fmla="*/ 67202 w 70762"/>
                <a:gd name="connsiteY2" fmla="*/ 35172 h 70763"/>
                <a:gd name="connsiteX3" fmla="*/ 31857 w 70762"/>
                <a:gd name="connsiteY3" fmla="*/ -245 h 70763"/>
                <a:gd name="connsiteX4" fmla="*/ 31785 w 70762"/>
                <a:gd name="connsiteY4" fmla="*/ -245 h 70763"/>
                <a:gd name="connsiteX5" fmla="*/ -3560 w 70762"/>
                <a:gd name="connsiteY5" fmla="*/ 35100 h 7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762" h="70763">
                  <a:moveTo>
                    <a:pt x="-3560" y="35100"/>
                  </a:moveTo>
                  <a:cubicBezTo>
                    <a:pt x="-3597" y="54641"/>
                    <a:pt x="12245" y="70482"/>
                    <a:pt x="31785" y="70518"/>
                  </a:cubicBezTo>
                  <a:cubicBezTo>
                    <a:pt x="51326" y="70554"/>
                    <a:pt x="67167" y="54713"/>
                    <a:pt x="67202" y="35172"/>
                  </a:cubicBezTo>
                  <a:cubicBezTo>
                    <a:pt x="67239" y="15631"/>
                    <a:pt x="51398" y="-210"/>
                    <a:pt x="31857" y="-245"/>
                  </a:cubicBezTo>
                  <a:cubicBezTo>
                    <a:pt x="31822" y="-245"/>
                    <a:pt x="31822" y="-245"/>
                    <a:pt x="31785" y="-245"/>
                  </a:cubicBezTo>
                  <a:cubicBezTo>
                    <a:pt x="12280" y="-210"/>
                    <a:pt x="-3525" y="15595"/>
                    <a:pt x="-3560" y="35100"/>
                  </a:cubicBezTo>
                  <a:close/>
                </a:path>
              </a:pathLst>
            </a:custGeom>
            <a:grpFill/>
            <a:ln w="359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0B17EBFF-C8A9-150B-DB10-AC751F1DBA76}"/>
                </a:ext>
              </a:extLst>
            </p:cNvPr>
            <p:cNvSpPr/>
            <p:nvPr/>
          </p:nvSpPr>
          <p:spPr>
            <a:xfrm>
              <a:off x="7055265" y="3600416"/>
              <a:ext cx="568623" cy="975783"/>
            </a:xfrm>
            <a:custGeom>
              <a:avLst/>
              <a:gdLst>
                <a:gd name="connsiteX0" fmla="*/ 568623 w 568623"/>
                <a:gd name="connsiteY0" fmla="*/ 966767 h 975783"/>
                <a:gd name="connsiteX1" fmla="*/ 563378 w 568623"/>
                <a:gd name="connsiteY1" fmla="*/ 975783 h 975783"/>
                <a:gd name="connsiteX2" fmla="*/ 0 w 568623"/>
                <a:gd name="connsiteY2" fmla="*/ 650522 h 975783"/>
                <a:gd name="connsiteX3" fmla="*/ 0 w 568623"/>
                <a:gd name="connsiteY3" fmla="*/ 0 h 975783"/>
                <a:gd name="connsiteX4" fmla="*/ 10453 w 568623"/>
                <a:gd name="connsiteY4" fmla="*/ 0 h 975783"/>
                <a:gd name="connsiteX5" fmla="*/ 10453 w 568623"/>
                <a:gd name="connsiteY5" fmla="*/ 644488 h 975783"/>
                <a:gd name="connsiteX6" fmla="*/ 568623 w 568623"/>
                <a:gd name="connsiteY6" fmla="*/ 966767 h 975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623" h="975783">
                  <a:moveTo>
                    <a:pt x="568623" y="966767"/>
                  </a:moveTo>
                  <a:lnTo>
                    <a:pt x="563378" y="975783"/>
                  </a:lnTo>
                  <a:lnTo>
                    <a:pt x="0" y="650522"/>
                  </a:lnTo>
                  <a:lnTo>
                    <a:pt x="0" y="0"/>
                  </a:lnTo>
                  <a:lnTo>
                    <a:pt x="10453" y="0"/>
                  </a:lnTo>
                  <a:lnTo>
                    <a:pt x="10453" y="644488"/>
                  </a:lnTo>
                  <a:lnTo>
                    <a:pt x="568623" y="966767"/>
                  </a:lnTo>
                  <a:close/>
                </a:path>
              </a:pathLst>
            </a:custGeom>
            <a:grpFill/>
            <a:ln w="359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CEB39C5E-9859-8C3B-3611-4682C3A92F4A}"/>
                </a:ext>
              </a:extLst>
            </p:cNvPr>
            <p:cNvSpPr/>
            <p:nvPr/>
          </p:nvSpPr>
          <p:spPr>
            <a:xfrm>
              <a:off x="6626481" y="1365256"/>
              <a:ext cx="1131965" cy="928798"/>
            </a:xfrm>
            <a:custGeom>
              <a:avLst/>
              <a:gdLst>
                <a:gd name="connsiteX0" fmla="*/ 1131966 w 1131965"/>
                <a:gd name="connsiteY0" fmla="*/ 326770 h 928798"/>
                <a:gd name="connsiteX1" fmla="*/ 1131966 w 1131965"/>
                <a:gd name="connsiteY1" fmla="*/ 928799 h 928798"/>
                <a:gd name="connsiteX2" fmla="*/ 1121513 w 1131965"/>
                <a:gd name="connsiteY2" fmla="*/ 928799 h 928798"/>
                <a:gd name="connsiteX3" fmla="*/ 1121513 w 1131965"/>
                <a:gd name="connsiteY3" fmla="*/ 332804 h 928798"/>
                <a:gd name="connsiteX4" fmla="*/ 565965 w 1131965"/>
                <a:gd name="connsiteY4" fmla="*/ 12069 h 928798"/>
                <a:gd name="connsiteX5" fmla="*/ 10453 w 1131965"/>
                <a:gd name="connsiteY5" fmla="*/ 332804 h 928798"/>
                <a:gd name="connsiteX6" fmla="*/ 10453 w 1131965"/>
                <a:gd name="connsiteY6" fmla="*/ 623689 h 928798"/>
                <a:gd name="connsiteX7" fmla="*/ 0 w 1131965"/>
                <a:gd name="connsiteY7" fmla="*/ 623689 h 928798"/>
                <a:gd name="connsiteX8" fmla="*/ 0 w 1131965"/>
                <a:gd name="connsiteY8" fmla="*/ 326770 h 928798"/>
                <a:gd name="connsiteX9" fmla="*/ 2586 w 1131965"/>
                <a:gd name="connsiteY9" fmla="*/ 325261 h 928798"/>
                <a:gd name="connsiteX10" fmla="*/ 565965 w 1131965"/>
                <a:gd name="connsiteY10" fmla="*/ 0 h 928798"/>
                <a:gd name="connsiteX11" fmla="*/ 1131966 w 1131965"/>
                <a:gd name="connsiteY11" fmla="*/ 326770 h 92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1965" h="928798">
                  <a:moveTo>
                    <a:pt x="1131966" y="326770"/>
                  </a:moveTo>
                  <a:lnTo>
                    <a:pt x="1131966" y="928799"/>
                  </a:lnTo>
                  <a:lnTo>
                    <a:pt x="1121513" y="928799"/>
                  </a:lnTo>
                  <a:lnTo>
                    <a:pt x="1121513" y="332804"/>
                  </a:lnTo>
                  <a:lnTo>
                    <a:pt x="565965" y="12069"/>
                  </a:lnTo>
                  <a:lnTo>
                    <a:pt x="10453" y="332804"/>
                  </a:lnTo>
                  <a:lnTo>
                    <a:pt x="10453" y="623689"/>
                  </a:lnTo>
                  <a:lnTo>
                    <a:pt x="0" y="623689"/>
                  </a:lnTo>
                  <a:lnTo>
                    <a:pt x="0" y="326770"/>
                  </a:lnTo>
                  <a:lnTo>
                    <a:pt x="2586" y="325261"/>
                  </a:lnTo>
                  <a:lnTo>
                    <a:pt x="565965" y="0"/>
                  </a:lnTo>
                  <a:lnTo>
                    <a:pt x="1131966" y="326770"/>
                  </a:lnTo>
                  <a:close/>
                </a:path>
              </a:pathLst>
            </a:custGeom>
            <a:grpFill/>
            <a:ln w="359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8AEE2219-4FB4-3909-E514-3DF7B08580FE}"/>
                </a:ext>
              </a:extLst>
            </p:cNvPr>
            <p:cNvSpPr/>
            <p:nvPr/>
          </p:nvSpPr>
          <p:spPr>
            <a:xfrm>
              <a:off x="6600260" y="1955935"/>
              <a:ext cx="62861" cy="62861"/>
            </a:xfrm>
            <a:custGeom>
              <a:avLst/>
              <a:gdLst>
                <a:gd name="connsiteX0" fmla="*/ 59301 w 62861"/>
                <a:gd name="connsiteY0" fmla="*/ 31185 h 62861"/>
                <a:gd name="connsiteX1" fmla="*/ 27870 w 62861"/>
                <a:gd name="connsiteY1" fmla="*/ 62616 h 62861"/>
                <a:gd name="connsiteX2" fmla="*/ -3560 w 62861"/>
                <a:gd name="connsiteY2" fmla="*/ 31185 h 62861"/>
                <a:gd name="connsiteX3" fmla="*/ 27870 w 62861"/>
                <a:gd name="connsiteY3" fmla="*/ -245 h 62861"/>
                <a:gd name="connsiteX4" fmla="*/ 27977 w 62861"/>
                <a:gd name="connsiteY4" fmla="*/ -245 h 62861"/>
                <a:gd name="connsiteX5" fmla="*/ 59301 w 62861"/>
                <a:gd name="connsiteY5" fmla="*/ 31185 h 6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61" h="62861">
                  <a:moveTo>
                    <a:pt x="59301" y="31185"/>
                  </a:moveTo>
                  <a:cubicBezTo>
                    <a:pt x="59301" y="48546"/>
                    <a:pt x="45219" y="62616"/>
                    <a:pt x="27870" y="62616"/>
                  </a:cubicBezTo>
                  <a:cubicBezTo>
                    <a:pt x="10520" y="62616"/>
                    <a:pt x="-3560" y="48542"/>
                    <a:pt x="-3560" y="31185"/>
                  </a:cubicBezTo>
                  <a:cubicBezTo>
                    <a:pt x="-3560" y="13825"/>
                    <a:pt x="10520" y="-245"/>
                    <a:pt x="27870" y="-245"/>
                  </a:cubicBezTo>
                  <a:cubicBezTo>
                    <a:pt x="27905" y="-245"/>
                    <a:pt x="27942" y="-245"/>
                    <a:pt x="27977" y="-245"/>
                  </a:cubicBezTo>
                  <a:cubicBezTo>
                    <a:pt x="45290" y="-184"/>
                    <a:pt x="59301" y="13868"/>
                    <a:pt x="59301" y="31185"/>
                  </a:cubicBezTo>
                  <a:close/>
                </a:path>
              </a:pathLst>
            </a:custGeom>
            <a:grpFill/>
            <a:ln w="359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F4C4EB2E-2E0D-CFBC-890C-6DDBD4676B5B}"/>
                </a:ext>
              </a:extLst>
            </p:cNvPr>
            <p:cNvSpPr/>
            <p:nvPr/>
          </p:nvSpPr>
          <p:spPr>
            <a:xfrm>
              <a:off x="7702231" y="2240390"/>
              <a:ext cx="102157" cy="102158"/>
            </a:xfrm>
            <a:custGeom>
              <a:avLst/>
              <a:gdLst>
                <a:gd name="connsiteX0" fmla="*/ -3560 w 102157"/>
                <a:gd name="connsiteY0" fmla="*/ 50834 h 102158"/>
                <a:gd name="connsiteX1" fmla="*/ 47520 w 102157"/>
                <a:gd name="connsiteY1" fmla="*/ 101913 h 102158"/>
                <a:gd name="connsiteX2" fmla="*/ 98598 w 102157"/>
                <a:gd name="connsiteY2" fmla="*/ 50834 h 102158"/>
                <a:gd name="connsiteX3" fmla="*/ 47520 w 102157"/>
                <a:gd name="connsiteY3" fmla="*/ -245 h 102158"/>
                <a:gd name="connsiteX4" fmla="*/ -3560 w 102157"/>
                <a:gd name="connsiteY4" fmla="*/ 50834 h 10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57" h="102158">
                  <a:moveTo>
                    <a:pt x="-3560" y="50834"/>
                  </a:moveTo>
                  <a:cubicBezTo>
                    <a:pt x="-3560" y="79042"/>
                    <a:pt x="19322" y="101913"/>
                    <a:pt x="47520" y="101913"/>
                  </a:cubicBezTo>
                  <a:cubicBezTo>
                    <a:pt x="75716" y="101913"/>
                    <a:pt x="98598" y="79042"/>
                    <a:pt x="98598" y="50834"/>
                  </a:cubicBezTo>
                  <a:cubicBezTo>
                    <a:pt x="98598" y="22622"/>
                    <a:pt x="75716" y="-245"/>
                    <a:pt x="47520" y="-245"/>
                  </a:cubicBezTo>
                  <a:cubicBezTo>
                    <a:pt x="19322" y="-245"/>
                    <a:pt x="-3560" y="22625"/>
                    <a:pt x="-3560" y="50834"/>
                  </a:cubicBezTo>
                  <a:close/>
                </a:path>
              </a:pathLst>
            </a:custGeom>
            <a:grpFill/>
            <a:ln w="359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8F8AC6A4-17F4-5AFD-93B6-B1EF4761E335}"/>
                </a:ext>
              </a:extLst>
            </p:cNvPr>
            <p:cNvSpPr/>
            <p:nvPr/>
          </p:nvSpPr>
          <p:spPr>
            <a:xfrm rot="19737602">
              <a:off x="6785855" y="1049181"/>
              <a:ext cx="245158" cy="10237"/>
            </a:xfrm>
            <a:custGeom>
              <a:avLst/>
              <a:gdLst>
                <a:gd name="connsiteX0" fmla="*/ -3560 w 245158"/>
                <a:gd name="connsiteY0" fmla="*/ -245 h 10237"/>
                <a:gd name="connsiteX1" fmla="*/ 241598 w 245158"/>
                <a:gd name="connsiteY1" fmla="*/ -245 h 10237"/>
                <a:gd name="connsiteX2" fmla="*/ 241598 w 245158"/>
                <a:gd name="connsiteY2" fmla="*/ 9992 h 10237"/>
                <a:gd name="connsiteX3" fmla="*/ -3560 w 245158"/>
                <a:gd name="connsiteY3" fmla="*/ 9992 h 10237"/>
              </a:gdLst>
              <a:ahLst/>
              <a:cxnLst>
                <a:cxn ang="0">
                  <a:pos x="connsiteX0" y="connsiteY0"/>
                </a:cxn>
                <a:cxn ang="0">
                  <a:pos x="connsiteX1" y="connsiteY1"/>
                </a:cxn>
                <a:cxn ang="0">
                  <a:pos x="connsiteX2" y="connsiteY2"/>
                </a:cxn>
                <a:cxn ang="0">
                  <a:pos x="connsiteX3" y="connsiteY3"/>
                </a:cxn>
              </a:cxnLst>
              <a:rect l="l" t="t" r="r" b="b"/>
              <a:pathLst>
                <a:path w="245158" h="10237">
                  <a:moveTo>
                    <a:pt x="-3560" y="-245"/>
                  </a:moveTo>
                  <a:lnTo>
                    <a:pt x="241598" y="-245"/>
                  </a:lnTo>
                  <a:lnTo>
                    <a:pt x="241598" y="9992"/>
                  </a:lnTo>
                  <a:lnTo>
                    <a:pt x="-3560" y="9992"/>
                  </a:lnTo>
                  <a:close/>
                </a:path>
              </a:pathLst>
            </a:custGeom>
            <a:grpFill/>
            <a:ln w="359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088DC07D-3CB4-7881-45FB-78C52AF5664F}"/>
                </a:ext>
              </a:extLst>
            </p:cNvPr>
            <p:cNvSpPr/>
            <p:nvPr/>
          </p:nvSpPr>
          <p:spPr>
            <a:xfrm>
              <a:off x="6962404" y="941573"/>
              <a:ext cx="98139" cy="102059"/>
            </a:xfrm>
            <a:custGeom>
              <a:avLst/>
              <a:gdLst>
                <a:gd name="connsiteX0" fmla="*/ 21015 w 98139"/>
                <a:gd name="connsiteY0" fmla="*/ 6544 h 102059"/>
                <a:gd name="connsiteX1" fmla="*/ 86786 w 98139"/>
                <a:gd name="connsiteY1" fmla="*/ 23132 h 102059"/>
                <a:gd name="connsiteX2" fmla="*/ 87972 w 98139"/>
                <a:gd name="connsiteY2" fmla="*/ 25259 h 102059"/>
                <a:gd name="connsiteX3" fmla="*/ 70012 w 98139"/>
                <a:gd name="connsiteY3" fmla="*/ 95016 h 102059"/>
                <a:gd name="connsiteX4" fmla="*/ 4241 w 98139"/>
                <a:gd name="connsiteY4" fmla="*/ 78453 h 102059"/>
                <a:gd name="connsiteX5" fmla="*/ 3055 w 98139"/>
                <a:gd name="connsiteY5" fmla="*/ 76338 h 102059"/>
                <a:gd name="connsiteX6" fmla="*/ 21015 w 98139"/>
                <a:gd name="connsiteY6" fmla="*/ 6544 h 1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39" h="102059">
                  <a:moveTo>
                    <a:pt x="21015" y="6544"/>
                  </a:moveTo>
                  <a:cubicBezTo>
                    <a:pt x="43753" y="-7034"/>
                    <a:pt x="73209" y="391"/>
                    <a:pt x="86786" y="23132"/>
                  </a:cubicBezTo>
                  <a:cubicBezTo>
                    <a:pt x="87181" y="23829"/>
                    <a:pt x="87577" y="24540"/>
                    <a:pt x="87972" y="25259"/>
                  </a:cubicBezTo>
                  <a:cubicBezTo>
                    <a:pt x="101514" y="49584"/>
                    <a:pt x="93611" y="80260"/>
                    <a:pt x="70012" y="95016"/>
                  </a:cubicBezTo>
                  <a:cubicBezTo>
                    <a:pt x="47274" y="108601"/>
                    <a:pt x="17820" y="101187"/>
                    <a:pt x="4241" y="78453"/>
                  </a:cubicBezTo>
                  <a:cubicBezTo>
                    <a:pt x="3846" y="77757"/>
                    <a:pt x="3415" y="77052"/>
                    <a:pt x="3055" y="76338"/>
                  </a:cubicBezTo>
                  <a:cubicBezTo>
                    <a:pt x="-10487" y="52001"/>
                    <a:pt x="-2621" y="21314"/>
                    <a:pt x="21015" y="6544"/>
                  </a:cubicBezTo>
                  <a:close/>
                </a:path>
              </a:pathLst>
            </a:custGeom>
            <a:grpFill/>
            <a:ln w="359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5EEE5F97-DFF6-5D75-93D9-091D586A417B}"/>
                </a:ext>
              </a:extLst>
            </p:cNvPr>
            <p:cNvSpPr/>
            <p:nvPr/>
          </p:nvSpPr>
          <p:spPr>
            <a:xfrm>
              <a:off x="6781808" y="1093598"/>
              <a:ext cx="45425" cy="47251"/>
            </a:xfrm>
            <a:custGeom>
              <a:avLst/>
              <a:gdLst>
                <a:gd name="connsiteX0" fmla="*/ 7821 w 45425"/>
                <a:gd name="connsiteY0" fmla="*/ 2907 h 47251"/>
                <a:gd name="connsiteX1" fmla="*/ -442 w 45425"/>
                <a:gd name="connsiteY1" fmla="*/ 35235 h 47251"/>
                <a:gd name="connsiteX2" fmla="*/ 29409 w 45425"/>
                <a:gd name="connsiteY2" fmla="*/ 44441 h 47251"/>
                <a:gd name="connsiteX3" fmla="*/ 30450 w 45425"/>
                <a:gd name="connsiteY3" fmla="*/ 43856 h 47251"/>
                <a:gd name="connsiteX4" fmla="*/ 38748 w 45425"/>
                <a:gd name="connsiteY4" fmla="*/ 11527 h 47251"/>
                <a:gd name="connsiteX5" fmla="*/ 8826 w 45425"/>
                <a:gd name="connsiteY5" fmla="*/ 2332 h 47251"/>
                <a:gd name="connsiteX6" fmla="*/ 7821 w 45425"/>
                <a:gd name="connsiteY6" fmla="*/ 2907 h 4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425" h="47251">
                  <a:moveTo>
                    <a:pt x="7821" y="2907"/>
                  </a:moveTo>
                  <a:cubicBezTo>
                    <a:pt x="-3136" y="9728"/>
                    <a:pt x="-6800" y="23985"/>
                    <a:pt x="-442" y="35235"/>
                  </a:cubicBezTo>
                  <a:cubicBezTo>
                    <a:pt x="5271" y="46022"/>
                    <a:pt x="18632" y="50142"/>
                    <a:pt x="29409" y="44441"/>
                  </a:cubicBezTo>
                  <a:cubicBezTo>
                    <a:pt x="29768" y="44255"/>
                    <a:pt x="30128" y="44061"/>
                    <a:pt x="30450" y="43856"/>
                  </a:cubicBezTo>
                  <a:cubicBezTo>
                    <a:pt x="41442" y="37049"/>
                    <a:pt x="45106" y="22785"/>
                    <a:pt x="38748" y="11527"/>
                  </a:cubicBezTo>
                  <a:cubicBezTo>
                    <a:pt x="33037" y="730"/>
                    <a:pt x="19639" y="-3387"/>
                    <a:pt x="8826" y="2332"/>
                  </a:cubicBezTo>
                  <a:cubicBezTo>
                    <a:pt x="8503" y="2515"/>
                    <a:pt x="8144" y="2705"/>
                    <a:pt x="7821" y="2907"/>
                  </a:cubicBezTo>
                  <a:close/>
                </a:path>
              </a:pathLst>
            </a:custGeom>
            <a:grpFill/>
            <a:ln w="359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E41111FF-564A-A8EE-EC17-5C4F8FFCE5FF}"/>
                </a:ext>
              </a:extLst>
            </p:cNvPr>
            <p:cNvSpPr/>
            <p:nvPr/>
          </p:nvSpPr>
          <p:spPr>
            <a:xfrm rot="19799999">
              <a:off x="1465682" y="3051137"/>
              <a:ext cx="647504" cy="10452"/>
            </a:xfrm>
            <a:custGeom>
              <a:avLst/>
              <a:gdLst>
                <a:gd name="connsiteX0" fmla="*/ -3560 w 647504"/>
                <a:gd name="connsiteY0" fmla="*/ -245 h 10452"/>
                <a:gd name="connsiteX1" fmla="*/ 643944 w 647504"/>
                <a:gd name="connsiteY1" fmla="*/ -245 h 10452"/>
                <a:gd name="connsiteX2" fmla="*/ 643944 w 647504"/>
                <a:gd name="connsiteY2" fmla="*/ 10208 h 10452"/>
                <a:gd name="connsiteX3" fmla="*/ -3560 w 647504"/>
                <a:gd name="connsiteY3" fmla="*/ 10208 h 10452"/>
              </a:gdLst>
              <a:ahLst/>
              <a:cxnLst>
                <a:cxn ang="0">
                  <a:pos x="connsiteX0" y="connsiteY0"/>
                </a:cxn>
                <a:cxn ang="0">
                  <a:pos x="connsiteX1" y="connsiteY1"/>
                </a:cxn>
                <a:cxn ang="0">
                  <a:pos x="connsiteX2" y="connsiteY2"/>
                </a:cxn>
                <a:cxn ang="0">
                  <a:pos x="connsiteX3" y="connsiteY3"/>
                </a:cxn>
              </a:cxnLst>
              <a:rect l="l" t="t" r="r" b="b"/>
              <a:pathLst>
                <a:path w="647504" h="10452">
                  <a:moveTo>
                    <a:pt x="-3560" y="-245"/>
                  </a:moveTo>
                  <a:lnTo>
                    <a:pt x="643944" y="-245"/>
                  </a:lnTo>
                  <a:lnTo>
                    <a:pt x="643944" y="10208"/>
                  </a:lnTo>
                  <a:lnTo>
                    <a:pt x="-3560" y="10208"/>
                  </a:lnTo>
                  <a:close/>
                </a:path>
              </a:pathLst>
            </a:custGeom>
            <a:grpFill/>
            <a:ln w="359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E1B6F5E8-99A0-1DEB-BE56-B0786A5F4DAB}"/>
                </a:ext>
              </a:extLst>
            </p:cNvPr>
            <p:cNvSpPr/>
            <p:nvPr/>
          </p:nvSpPr>
          <p:spPr>
            <a:xfrm>
              <a:off x="1093920" y="3389023"/>
              <a:ext cx="753003" cy="306330"/>
            </a:xfrm>
            <a:custGeom>
              <a:avLst/>
              <a:gdLst>
                <a:gd name="connsiteX0" fmla="*/ 753003 w 753003"/>
                <a:gd name="connsiteY0" fmla="*/ 137468 h 306330"/>
                <a:gd name="connsiteX1" fmla="*/ 747795 w 753003"/>
                <a:gd name="connsiteY1" fmla="*/ 146556 h 306330"/>
                <a:gd name="connsiteX2" fmla="*/ 514886 w 753003"/>
                <a:gd name="connsiteY2" fmla="*/ 12069 h 306330"/>
                <a:gd name="connsiteX3" fmla="*/ 5244 w 753003"/>
                <a:gd name="connsiteY3" fmla="*/ 306331 h 306330"/>
                <a:gd name="connsiteX4" fmla="*/ 0 w 753003"/>
                <a:gd name="connsiteY4" fmla="*/ 297279 h 306330"/>
                <a:gd name="connsiteX5" fmla="*/ 514886 w 753003"/>
                <a:gd name="connsiteY5" fmla="*/ 0 h 306330"/>
                <a:gd name="connsiteX6" fmla="*/ 753003 w 753003"/>
                <a:gd name="connsiteY6" fmla="*/ 137468 h 30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003" h="306330">
                  <a:moveTo>
                    <a:pt x="753003" y="137468"/>
                  </a:moveTo>
                  <a:lnTo>
                    <a:pt x="747795" y="146556"/>
                  </a:lnTo>
                  <a:lnTo>
                    <a:pt x="514886" y="12069"/>
                  </a:lnTo>
                  <a:lnTo>
                    <a:pt x="5244" y="306331"/>
                  </a:lnTo>
                  <a:lnTo>
                    <a:pt x="0" y="297279"/>
                  </a:lnTo>
                  <a:lnTo>
                    <a:pt x="514886" y="0"/>
                  </a:lnTo>
                  <a:lnTo>
                    <a:pt x="753003" y="137468"/>
                  </a:lnTo>
                  <a:close/>
                </a:path>
              </a:pathLst>
            </a:custGeom>
            <a:grpFill/>
            <a:ln w="359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857E4F57-2471-FA97-9569-E6E17286A68C}"/>
                </a:ext>
              </a:extLst>
            </p:cNvPr>
            <p:cNvSpPr/>
            <p:nvPr/>
          </p:nvSpPr>
          <p:spPr>
            <a:xfrm>
              <a:off x="1040109" y="3630400"/>
              <a:ext cx="117901" cy="117909"/>
            </a:xfrm>
            <a:custGeom>
              <a:avLst/>
              <a:gdLst>
                <a:gd name="connsiteX0" fmla="*/ 84877 w 117901"/>
                <a:gd name="connsiteY0" fmla="*/ 109753 h 117909"/>
                <a:gd name="connsiteX1" fmla="*/ 4344 w 117901"/>
                <a:gd name="connsiteY1" fmla="*/ 88200 h 117909"/>
                <a:gd name="connsiteX2" fmla="*/ 25896 w 117901"/>
                <a:gd name="connsiteY2" fmla="*/ 7666 h 117909"/>
                <a:gd name="connsiteX3" fmla="*/ 106430 w 117901"/>
                <a:gd name="connsiteY3" fmla="*/ 29218 h 117909"/>
                <a:gd name="connsiteX4" fmla="*/ 84877 w 117901"/>
                <a:gd name="connsiteY4" fmla="*/ 109753 h 117909"/>
                <a:gd name="connsiteX5" fmla="*/ 84877 w 117901"/>
                <a:gd name="connsiteY5" fmla="*/ 109753 h 11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01" h="117909">
                  <a:moveTo>
                    <a:pt x="84877" y="109753"/>
                  </a:moveTo>
                  <a:cubicBezTo>
                    <a:pt x="56680" y="126025"/>
                    <a:pt x="20652" y="116398"/>
                    <a:pt x="4344" y="88200"/>
                  </a:cubicBezTo>
                  <a:cubicBezTo>
                    <a:pt x="-11928" y="60003"/>
                    <a:pt x="-2266" y="23938"/>
                    <a:pt x="25896" y="7666"/>
                  </a:cubicBezTo>
                  <a:cubicBezTo>
                    <a:pt x="54094" y="-8606"/>
                    <a:pt x="90158" y="1021"/>
                    <a:pt x="106430" y="29218"/>
                  </a:cubicBezTo>
                  <a:cubicBezTo>
                    <a:pt x="122702" y="57416"/>
                    <a:pt x="113075" y="93445"/>
                    <a:pt x="84877" y="109753"/>
                  </a:cubicBezTo>
                  <a:cubicBezTo>
                    <a:pt x="84877" y="109753"/>
                    <a:pt x="84877" y="109753"/>
                    <a:pt x="84877" y="109753"/>
                  </a:cubicBezTo>
                  <a:close/>
                </a:path>
              </a:pathLst>
            </a:custGeom>
            <a:grpFill/>
            <a:ln w="3590" cap="flat">
              <a:noFill/>
              <a:prstDash val="solid"/>
              <a:miter/>
            </a:ln>
          </p:spPr>
          <p:txBody>
            <a:bodyPr rtlCol="0" anchor="ctr"/>
            <a:lstStyle/>
            <a:p>
              <a:endParaRPr lang="en-US"/>
            </a:p>
          </p:txBody>
        </p:sp>
      </p:grpSp>
      <p:sp>
        <p:nvSpPr>
          <p:cNvPr id="9" name="TextBox 8">
            <a:extLst>
              <a:ext uri="{FF2B5EF4-FFF2-40B4-BE49-F238E27FC236}">
                <a16:creationId xmlns:a16="http://schemas.microsoft.com/office/drawing/2014/main" id="{1A3C7561-0371-75C6-AADB-72C822A74483}"/>
              </a:ext>
            </a:extLst>
          </p:cNvPr>
          <p:cNvSpPr txBox="1"/>
          <p:nvPr userDrawn="1">
            <p:custDataLst>
              <p:tags r:id="rId1"/>
            </p:custDataLst>
          </p:nvPr>
        </p:nvSpPr>
        <p:spPr>
          <a:xfrm>
            <a:off x="1386829" y="6538406"/>
            <a:ext cx="9510518" cy="250585"/>
          </a:xfrm>
          <a:prstGeom prst="rect">
            <a:avLst/>
          </a:prstGeom>
          <a:noFill/>
        </p:spPr>
        <p:txBody>
          <a:bodyPr wrap="square" lIns="0" tIns="0" rIns="0" bIns="0" rtlCol="0">
            <a:noAutofit/>
          </a:bodyPr>
          <a:lstStyle/>
          <a:p>
            <a:pPr algn="l"/>
            <a:r>
              <a:rPr lang="ar-SA" sz="635" kern="0" spc="-16" baseline="0">
                <a:solidFill>
                  <a:schemeClr val="bg1"/>
                </a:solidFill>
                <a:latin typeface="+mn-lt"/>
              </a:rPr>
              <a:t>2025 ©شركة كي بي إم جي للاستشارات المهنية مساهمة مهنية، شركة مساهمة مهنية مقفلة مسجلة في المملكة العربية السعودية، رأس مالها (110,000,000) ريال سعودي مدفوع بالكامل، وهي عضو غير شريك في الشبكة العالمية لشركات كي بي إم جي المستقلة والتابعة لـ كي بي إم جي العالمية المحدودة، شركة انجليزية خاصة محدودة بالضمان. جميع الحقوق محفوظة.</a:t>
            </a:r>
            <a:endParaRPr lang="en-US" sz="635" kern="0" spc="-16" baseline="0">
              <a:solidFill>
                <a:schemeClr val="bg1"/>
              </a:solidFill>
              <a:latin typeface="+mn-lt"/>
            </a:endParaRPr>
          </a:p>
        </p:txBody>
      </p:sp>
    </p:spTree>
    <p:extLst>
      <p:ext uri="{BB962C8B-B14F-4D97-AF65-F5344CB8AC3E}">
        <p14:creationId xmlns:p14="http://schemas.microsoft.com/office/powerpoint/2010/main" val="40608238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6_5 D 2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1AE66E0-330E-DE27-8EEC-1222F5B1B93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9B4CF9DF-C04E-C3E3-3401-14BC1CFC5631}"/>
              </a:ext>
            </a:extLst>
          </p:cNvPr>
          <p:cNvSpPr/>
          <p:nvPr userDrawn="1"/>
        </p:nvSpPr>
        <p:spPr>
          <a:xfrm flipH="1">
            <a:off x="8444922" y="0"/>
            <a:ext cx="3291840" cy="6858000"/>
          </a:xfrm>
          <a:prstGeom prst="rect">
            <a:avLst/>
          </a:prstGeom>
          <a:solidFill>
            <a:schemeClr val="bg1"/>
          </a:solidFill>
          <a:ln w="12700" cap="flat" cmpd="sng" algn="ctr">
            <a:noFill/>
            <a:prstDash val="solid"/>
            <a:miter lim="800000"/>
          </a:ln>
          <a:effectLst/>
        </p:spPr>
        <p:txBody>
          <a:bodyPr wrap="none" lIns="54610" tIns="54610" rIns="54610" bIns="54610" rtlCol="0" anchor="ctr"/>
          <a:lstStyle/>
          <a:p>
            <a:pPr marR="0" lvl="0" indent="0" algn="ctr" fontAlgn="auto">
              <a:lnSpc>
                <a:spcPct val="100000"/>
              </a:lnSpc>
              <a:spcBef>
                <a:spcPts val="0"/>
              </a:spcBef>
              <a:spcAft>
                <a:spcPts val="0"/>
              </a:spcAft>
              <a:buClrTx/>
              <a:buSzTx/>
              <a:buFontTx/>
              <a:buNone/>
              <a:tabLst/>
            </a:pPr>
            <a:endParaRPr kumimoji="0" lang="en-GB" sz="800" b="0" i="0" u="none" strike="noStrike" kern="0" cap="none" spc="0" normalizeH="0" baseline="0">
              <a:ln>
                <a:noFill/>
              </a:ln>
              <a:solidFill>
                <a:srgbClr val="FFFFFF"/>
              </a:solidFill>
              <a:effectLst/>
              <a:uLnTx/>
              <a:uFillTx/>
              <a:latin typeface="Cairo" pitchFamily="2" charset="-78"/>
              <a:cs typeface="Cairo" pitchFamily="2" charset="-78"/>
            </a:endParaRPr>
          </a:p>
        </p:txBody>
      </p:sp>
      <p:sp>
        <p:nvSpPr>
          <p:cNvPr id="3" name="Title 1">
            <a:extLst>
              <a:ext uri="{FF2B5EF4-FFF2-40B4-BE49-F238E27FC236}">
                <a16:creationId xmlns:a16="http://schemas.microsoft.com/office/drawing/2014/main" id="{C16B2355-43B8-FDFE-877C-8C639D126608}"/>
              </a:ext>
            </a:extLst>
          </p:cNvPr>
          <p:cNvSpPr>
            <a:spLocks noGrp="1"/>
          </p:cNvSpPr>
          <p:nvPr>
            <p:ph type="title"/>
          </p:nvPr>
        </p:nvSpPr>
        <p:spPr>
          <a:xfrm flipH="1">
            <a:off x="8928100" y="551503"/>
            <a:ext cx="2664932" cy="533400"/>
          </a:xfrm>
        </p:spPr>
        <p:txBody>
          <a:bodyPr lIns="0" rIns="0" rtlCol="1"/>
          <a:lstStyle>
            <a:lvl1pPr algn="r" rtl="1">
              <a:defRPr sz="3200">
                <a:solidFill>
                  <a:schemeClr val="accent1"/>
                </a:solidFill>
              </a:defRPr>
            </a:lvl1pPr>
          </a:lstStyle>
          <a:p>
            <a:r>
              <a:rPr lang="en-US"/>
              <a:t>Click to edit Master title style</a:t>
            </a:r>
          </a:p>
        </p:txBody>
      </p:sp>
      <p:sp>
        <p:nvSpPr>
          <p:cNvPr id="7" name="Text Placeholder 4">
            <a:extLst>
              <a:ext uri="{FF2B5EF4-FFF2-40B4-BE49-F238E27FC236}">
                <a16:creationId xmlns:a16="http://schemas.microsoft.com/office/drawing/2014/main" id="{B6324567-E537-3186-6CA0-355372E61994}"/>
              </a:ext>
            </a:extLst>
          </p:cNvPr>
          <p:cNvSpPr>
            <a:spLocks noGrp="1"/>
          </p:cNvSpPr>
          <p:nvPr>
            <p:ph type="body" sz="quarter" idx="11" hasCustomPrompt="1"/>
          </p:nvPr>
        </p:nvSpPr>
        <p:spPr>
          <a:xfrm flipH="1">
            <a:off x="6258744" y="265313"/>
            <a:ext cx="5334288" cy="169200"/>
          </a:xfrm>
        </p:spPr>
        <p:txBody>
          <a:bodyPr lIns="0" rIns="0" rtlCol="1" anchor="b"/>
          <a:lstStyle>
            <a:lvl1pPr algn="r" rtl="1">
              <a:spcAft>
                <a:spcPts val="0"/>
              </a:spcAft>
              <a:defRPr sz="1000" b="1">
                <a:solidFill>
                  <a:schemeClr val="tx1"/>
                </a:solidFill>
              </a:defRPr>
            </a:lvl1pPr>
          </a:lstStyle>
          <a:p>
            <a:pPr lvl="0"/>
            <a:r>
              <a:rPr lang="en-US"/>
              <a:t>Super title here</a:t>
            </a:r>
          </a:p>
        </p:txBody>
      </p:sp>
      <p:sp>
        <p:nvSpPr>
          <p:cNvPr id="8" name="Freeform 19">
            <a:extLst>
              <a:ext uri="{FF2B5EF4-FFF2-40B4-BE49-F238E27FC236}">
                <a16:creationId xmlns:a16="http://schemas.microsoft.com/office/drawing/2014/main" id="{96D6FC52-65EC-EBEC-CDDB-3F6F0C553BA8}"/>
              </a:ext>
            </a:extLst>
          </p:cNvPr>
          <p:cNvSpPr>
            <a:spLocks noEditPoints="1"/>
          </p:cNvSpPr>
          <p:nvPr userDrawn="1"/>
        </p:nvSpPr>
        <p:spPr bwMode="auto">
          <a:xfrm flipH="1">
            <a:off x="11099818" y="6525390"/>
            <a:ext cx="484454" cy="201989"/>
          </a:xfrm>
          <a:custGeom>
            <a:avLst/>
            <a:gdLst>
              <a:gd name="T0" fmla="*/ 403785 w 283"/>
              <a:gd name="T1" fmla="*/ 116716 h 114"/>
              <a:gd name="T2" fmla="*/ 333235 w 283"/>
              <a:gd name="T3" fmla="*/ 131874 h 114"/>
              <a:gd name="T4" fmla="*/ 366259 w 283"/>
              <a:gd name="T5" fmla="*/ 90947 h 114"/>
              <a:gd name="T6" fmla="*/ 403785 w 283"/>
              <a:gd name="T7" fmla="*/ 84884 h 114"/>
              <a:gd name="T8" fmla="*/ 333235 w 283"/>
              <a:gd name="T9" fmla="*/ 3032 h 114"/>
              <a:gd name="T10" fmla="*/ 421798 w 283"/>
              <a:gd name="T11" fmla="*/ 131874 h 114"/>
              <a:gd name="T12" fmla="*/ 333235 w 283"/>
              <a:gd name="T13" fmla="*/ 134905 h 114"/>
              <a:gd name="T14" fmla="*/ 369261 w 283"/>
              <a:gd name="T15" fmla="*/ 153095 h 114"/>
              <a:gd name="T16" fmla="*/ 307717 w 283"/>
              <a:gd name="T17" fmla="*/ 124295 h 114"/>
              <a:gd name="T18" fmla="*/ 304715 w 283"/>
              <a:gd name="T19" fmla="*/ 78821 h 114"/>
              <a:gd name="T20" fmla="*/ 231163 w 283"/>
              <a:gd name="T21" fmla="*/ 131874 h 114"/>
              <a:gd name="T22" fmla="*/ 319726 w 283"/>
              <a:gd name="T23" fmla="*/ 80337 h 114"/>
              <a:gd name="T24" fmla="*/ 256681 w 283"/>
              <a:gd name="T25" fmla="*/ 131874 h 114"/>
              <a:gd name="T26" fmla="*/ 270191 w 283"/>
              <a:gd name="T27" fmla="*/ 131874 h 114"/>
              <a:gd name="T28" fmla="*/ 180127 w 283"/>
              <a:gd name="T29" fmla="*/ 131874 h 114"/>
              <a:gd name="T30" fmla="*/ 175624 w 283"/>
              <a:gd name="T31" fmla="*/ 84884 h 114"/>
              <a:gd name="T32" fmla="*/ 129091 w 283"/>
              <a:gd name="T33" fmla="*/ 3032 h 114"/>
              <a:gd name="T34" fmla="*/ 217654 w 283"/>
              <a:gd name="T35" fmla="*/ 78821 h 114"/>
              <a:gd name="T36" fmla="*/ 213151 w 283"/>
              <a:gd name="T37" fmla="*/ 131874 h 114"/>
              <a:gd name="T38" fmla="*/ 139599 w 283"/>
              <a:gd name="T39" fmla="*/ 119747 h 114"/>
              <a:gd name="T40" fmla="*/ 133594 w 283"/>
              <a:gd name="T41" fmla="*/ 119747 h 114"/>
              <a:gd name="T42" fmla="*/ 130592 w 283"/>
              <a:gd name="T43" fmla="*/ 104589 h 114"/>
              <a:gd name="T44" fmla="*/ 142601 w 283"/>
              <a:gd name="T45" fmla="*/ 93979 h 114"/>
              <a:gd name="T46" fmla="*/ 139599 w 283"/>
              <a:gd name="T47" fmla="*/ 119747 h 114"/>
              <a:gd name="T48" fmla="*/ 100571 w 283"/>
              <a:gd name="T49" fmla="*/ 130358 h 114"/>
              <a:gd name="T50" fmla="*/ 55539 w 283"/>
              <a:gd name="T51" fmla="*/ 124295 h 114"/>
              <a:gd name="T52" fmla="*/ 37527 w 283"/>
              <a:gd name="T53" fmla="*/ 116716 h 114"/>
              <a:gd name="T54" fmla="*/ 27019 w 283"/>
              <a:gd name="T55" fmla="*/ 3032 h 114"/>
              <a:gd name="T56" fmla="*/ 114081 w 283"/>
              <a:gd name="T57" fmla="*/ 83368 h 114"/>
              <a:gd name="T58" fmla="*/ 33023 w 283"/>
              <a:gd name="T59" fmla="*/ 131874 h 114"/>
              <a:gd name="T60" fmla="*/ 330233 w 283"/>
              <a:gd name="T61" fmla="*/ 0 h 114"/>
              <a:gd name="T62" fmla="*/ 322728 w 283"/>
              <a:gd name="T63" fmla="*/ 0 h 114"/>
              <a:gd name="T64" fmla="*/ 220656 w 283"/>
              <a:gd name="T65" fmla="*/ 78821 h 114"/>
              <a:gd name="T66" fmla="*/ 126089 w 283"/>
              <a:gd name="T67" fmla="*/ 78821 h 114"/>
              <a:gd name="T68" fmla="*/ 24017 w 283"/>
              <a:gd name="T69" fmla="*/ 0 h 114"/>
              <a:gd name="T70" fmla="*/ 21015 w 283"/>
              <a:gd name="T71" fmla="*/ 171284 h 114"/>
              <a:gd name="T72" fmla="*/ 52537 w 283"/>
              <a:gd name="T73" fmla="*/ 171284 h 114"/>
              <a:gd name="T74" fmla="*/ 99070 w 283"/>
              <a:gd name="T75" fmla="*/ 134905 h 114"/>
              <a:gd name="T76" fmla="*/ 121586 w 283"/>
              <a:gd name="T77" fmla="*/ 134905 h 114"/>
              <a:gd name="T78" fmla="*/ 135095 w 283"/>
              <a:gd name="T79" fmla="*/ 134905 h 114"/>
              <a:gd name="T80" fmla="*/ 168119 w 283"/>
              <a:gd name="T81" fmla="*/ 171284 h 114"/>
              <a:gd name="T82" fmla="*/ 213151 w 283"/>
              <a:gd name="T83" fmla="*/ 134905 h 114"/>
              <a:gd name="T84" fmla="*/ 255180 w 283"/>
              <a:gd name="T85" fmla="*/ 134905 h 114"/>
              <a:gd name="T86" fmla="*/ 285201 w 283"/>
              <a:gd name="T87" fmla="*/ 171284 h 114"/>
              <a:gd name="T88" fmla="*/ 315223 w 283"/>
              <a:gd name="T89" fmla="*/ 163705 h 114"/>
              <a:gd name="T90" fmla="*/ 399282 w 283"/>
              <a:gd name="T91" fmla="*/ 134905 h 114"/>
              <a:gd name="T92" fmla="*/ 330233 w 283"/>
              <a:gd name="T93" fmla="*/ 0 h 11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accent2"/>
          </a:solidFill>
          <a:ln>
            <a:noFill/>
          </a:ln>
        </p:spPr>
        <p:txBody>
          <a:bodyPr/>
          <a:lstStyle/>
          <a:p>
            <a:endParaRPr lang="en-AU" sz="1633">
              <a:solidFill>
                <a:schemeClr val="bg1">
                  <a:lumMod val="85000"/>
                </a:schemeClr>
              </a:solidFill>
              <a:latin typeface="Cairo" pitchFamily="2" charset="-78"/>
              <a:cs typeface="Cairo" pitchFamily="2" charset="-78"/>
            </a:endParaRPr>
          </a:p>
        </p:txBody>
      </p:sp>
      <p:sp>
        <p:nvSpPr>
          <p:cNvPr id="10" name="Shape 8">
            <a:extLst>
              <a:ext uri="{FF2B5EF4-FFF2-40B4-BE49-F238E27FC236}">
                <a16:creationId xmlns:a16="http://schemas.microsoft.com/office/drawing/2014/main" id="{9B2B5B5E-2538-7B26-A145-7E70D7D8AE27}"/>
              </a:ext>
            </a:extLst>
          </p:cNvPr>
          <p:cNvSpPr txBox="1">
            <a:spLocks/>
          </p:cNvSpPr>
          <p:nvPr userDrawn="1"/>
        </p:nvSpPr>
        <p:spPr>
          <a:xfrm flipH="1">
            <a:off x="610052" y="6538407"/>
            <a:ext cx="480646" cy="149225"/>
          </a:xfrm>
          <a:prstGeom prst="rect">
            <a:avLst/>
          </a:prstGeom>
        </p:spPr>
        <p:txBody>
          <a:bodyPr lIns="0" tIns="0" rIns="0" bIns="0" rtlCol="1" anchor="b"/>
          <a:lstStyle>
            <a:defPPr>
              <a:defRPr lang="en-US"/>
            </a:defPPr>
            <a:lvl1pPr marL="0" algn="l" defTabSz="457200" rtl="0" eaLnBrk="1" latinLnBrk="0" hangingPunct="1">
              <a:defRPr sz="1000" kern="1200">
                <a:solidFill>
                  <a:srgbClr val="0061A8"/>
                </a:solidFill>
                <a:latin typeface="Times New Roman"/>
                <a:ea typeface="Times New Roman"/>
                <a:cs typeface="Times New Roman"/>
                <a:sym typeface="Times New Roman"/>
              </a:defRPr>
            </a:lvl1pPr>
            <a:lvl2pPr marL="457200" algn="l" defTabSz="457200" rtl="0" eaLnBrk="1" latinLnBrk="0" hangingPunct="1">
              <a:defRPr sz="1800" kern="1200">
                <a:solidFill>
                  <a:schemeClr val="tx1"/>
                </a:solidFill>
                <a:latin typeface="Times New Roman"/>
                <a:ea typeface="Times New Roman"/>
                <a:cs typeface="Times New Roman"/>
              </a:defRPr>
            </a:lvl2pPr>
            <a:lvl3pPr marL="914400" algn="l" defTabSz="457200" rtl="0" eaLnBrk="1" latinLnBrk="0" hangingPunct="1">
              <a:defRPr sz="1800" kern="1200">
                <a:solidFill>
                  <a:schemeClr val="tx1"/>
                </a:solidFill>
                <a:latin typeface="Times New Roman"/>
                <a:ea typeface="Times New Roman"/>
                <a:cs typeface="Times New Roman"/>
              </a:defRPr>
            </a:lvl3pPr>
            <a:lvl4pPr marL="1371600" algn="l" defTabSz="457200" rtl="0" eaLnBrk="1" latinLnBrk="0" hangingPunct="1">
              <a:defRPr sz="1800" kern="1200">
                <a:solidFill>
                  <a:schemeClr val="tx1"/>
                </a:solidFill>
                <a:latin typeface="Times New Roman"/>
                <a:ea typeface="Times New Roman"/>
                <a:cs typeface="Times New Roman"/>
              </a:defRPr>
            </a:lvl4pPr>
            <a:lvl5pPr marL="1828800" algn="l" defTabSz="457200" rtl="0" eaLnBrk="1" latinLnBrk="0" hangingPunct="1">
              <a:defRPr sz="1800" kern="1200">
                <a:solidFill>
                  <a:schemeClr val="tx1"/>
                </a:solidFill>
                <a:latin typeface="Times New Roman"/>
                <a:ea typeface="Times New Roman"/>
                <a:cs typeface="Times New Roman"/>
              </a:defRPr>
            </a:lvl5pPr>
            <a:lvl6pPr marL="2286000" algn="l" defTabSz="457200" rtl="0" eaLnBrk="1" latinLnBrk="0" hangingPunct="1">
              <a:defRPr sz="1800" kern="1200">
                <a:solidFill>
                  <a:schemeClr val="tx1"/>
                </a:solidFill>
                <a:latin typeface="Times New Roman"/>
                <a:ea typeface="Times New Roman"/>
                <a:cs typeface="Times New Roman"/>
              </a:defRPr>
            </a:lvl6pPr>
            <a:lvl7pPr marL="2743200" algn="l" defTabSz="457200" rtl="0" eaLnBrk="1" latinLnBrk="0" hangingPunct="1">
              <a:defRPr sz="1800" kern="1200">
                <a:solidFill>
                  <a:schemeClr val="tx1"/>
                </a:solidFill>
                <a:latin typeface="Times New Roman"/>
                <a:ea typeface="Times New Roman"/>
                <a:cs typeface="Times New Roman"/>
              </a:defRPr>
            </a:lvl7pPr>
            <a:lvl8pPr marL="3200400" algn="l" defTabSz="457200" rtl="0" eaLnBrk="1" latinLnBrk="0" hangingPunct="1">
              <a:defRPr sz="1800" kern="1200">
                <a:solidFill>
                  <a:schemeClr val="tx1"/>
                </a:solidFill>
                <a:latin typeface="Times New Roman"/>
                <a:ea typeface="Times New Roman"/>
                <a:cs typeface="Times New Roman"/>
              </a:defRPr>
            </a:lvl8pPr>
            <a:lvl9pPr marL="3657600" algn="l" defTabSz="457200" rtl="0" eaLnBrk="1" latinLnBrk="0" hangingPunct="1">
              <a:defRPr sz="1800" kern="1200">
                <a:solidFill>
                  <a:schemeClr val="tx1"/>
                </a:solidFill>
                <a:latin typeface="Times New Roman"/>
                <a:ea typeface="Times New Roman"/>
                <a:cs typeface="Times New Roman"/>
              </a:defRPr>
            </a:lvl9pPr>
          </a:lstStyle>
          <a:p>
            <a:pPr algn="l" rtl="1" fontAlgn="auto">
              <a:spcBef>
                <a:spcPts val="0"/>
              </a:spcBef>
              <a:spcAft>
                <a:spcPts val="0"/>
              </a:spcAft>
              <a:defRPr/>
            </a:pPr>
            <a:fld id="{07B1ADDA-458A-465B-8E73-31AB406EC0F3}" type="slidenum">
              <a:rPr lang="en-GB" sz="907" b="0" smtClean="0">
                <a:solidFill>
                  <a:schemeClr val="bg1">
                    <a:lumMod val="85000"/>
                  </a:schemeClr>
                </a:solidFill>
                <a:latin typeface="Cairo" pitchFamily="2" charset="-78"/>
                <a:cs typeface="Cairo" pitchFamily="2" charset="-78"/>
              </a:rPr>
              <a:pPr algn="l" rtl="1" fontAlgn="auto">
                <a:spcBef>
                  <a:spcPts val="0"/>
                </a:spcBef>
                <a:spcAft>
                  <a:spcPts val="0"/>
                </a:spcAft>
                <a:defRPr/>
              </a:pPr>
              <a:t>‹#›</a:t>
            </a:fld>
            <a:endParaRPr lang="en-GB" sz="907" b="0">
              <a:solidFill>
                <a:schemeClr val="bg1">
                  <a:lumMod val="85000"/>
                </a:schemeClr>
              </a:solidFill>
              <a:latin typeface="Cairo" pitchFamily="2" charset="-78"/>
              <a:cs typeface="Cairo" pitchFamily="2" charset="-78"/>
            </a:endParaRPr>
          </a:p>
        </p:txBody>
      </p:sp>
      <p:grpSp>
        <p:nvGrpSpPr>
          <p:cNvPr id="6" name="Group 5">
            <a:extLst>
              <a:ext uri="{FF2B5EF4-FFF2-40B4-BE49-F238E27FC236}">
                <a16:creationId xmlns:a16="http://schemas.microsoft.com/office/drawing/2014/main" id="{388B9454-9324-2F5D-7022-2B6B67034029}"/>
              </a:ext>
            </a:extLst>
          </p:cNvPr>
          <p:cNvGrpSpPr/>
          <p:nvPr userDrawn="1"/>
        </p:nvGrpSpPr>
        <p:grpSpPr>
          <a:xfrm>
            <a:off x="-2664251" y="-1126461"/>
            <a:ext cx="5558549" cy="3624521"/>
            <a:chOff x="-16793453" y="168656"/>
            <a:chExt cx="7937877" cy="5175991"/>
          </a:xfrm>
          <a:solidFill>
            <a:srgbClr val="C5FFF9">
              <a:alpha val="51000"/>
            </a:srgbClr>
          </a:solidFill>
        </p:grpSpPr>
        <p:sp>
          <p:nvSpPr>
            <p:cNvPr id="11" name="Freeform: Shape 10">
              <a:extLst>
                <a:ext uri="{FF2B5EF4-FFF2-40B4-BE49-F238E27FC236}">
                  <a16:creationId xmlns:a16="http://schemas.microsoft.com/office/drawing/2014/main" id="{8D540DC2-959E-8B2E-45ED-EDE17534EE46}"/>
                </a:ext>
              </a:extLst>
            </p:cNvPr>
            <p:cNvSpPr/>
            <p:nvPr/>
          </p:nvSpPr>
          <p:spPr>
            <a:xfrm flipH="1">
              <a:off x="-16276771" y="2781103"/>
              <a:ext cx="1075857" cy="593335"/>
            </a:xfrm>
            <a:custGeom>
              <a:avLst/>
              <a:gdLst>
                <a:gd name="connsiteX0" fmla="*/ 1075858 w 1075857"/>
                <a:gd name="connsiteY0" fmla="*/ 300691 h 593336"/>
                <a:gd name="connsiteX1" fmla="*/ 1070757 w 1075857"/>
                <a:gd name="connsiteY1" fmla="*/ 309564 h 593336"/>
                <a:gd name="connsiteX2" fmla="*/ 555081 w 1075857"/>
                <a:gd name="connsiteY2" fmla="*/ 11818 h 593336"/>
                <a:gd name="connsiteX3" fmla="*/ 10237 w 1075857"/>
                <a:gd name="connsiteY3" fmla="*/ 326375 h 593336"/>
                <a:gd name="connsiteX4" fmla="*/ 10237 w 1075857"/>
                <a:gd name="connsiteY4" fmla="*/ 593336 h 593336"/>
                <a:gd name="connsiteX5" fmla="*/ 0 w 1075857"/>
                <a:gd name="connsiteY5" fmla="*/ 593336 h 593336"/>
                <a:gd name="connsiteX6" fmla="*/ 0 w 1075857"/>
                <a:gd name="connsiteY6" fmla="*/ 320448 h 593336"/>
                <a:gd name="connsiteX7" fmla="*/ 555081 w 1075857"/>
                <a:gd name="connsiteY7" fmla="*/ 0 h 593336"/>
                <a:gd name="connsiteX8" fmla="*/ 1075858 w 1075857"/>
                <a:gd name="connsiteY8" fmla="*/ 300691 h 59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5857" h="593336">
                  <a:moveTo>
                    <a:pt x="1075858" y="300691"/>
                  </a:moveTo>
                  <a:lnTo>
                    <a:pt x="1070757" y="309564"/>
                  </a:lnTo>
                  <a:lnTo>
                    <a:pt x="555081" y="11818"/>
                  </a:lnTo>
                  <a:lnTo>
                    <a:pt x="10237" y="326375"/>
                  </a:lnTo>
                  <a:lnTo>
                    <a:pt x="10237" y="593336"/>
                  </a:lnTo>
                  <a:lnTo>
                    <a:pt x="0" y="593336"/>
                  </a:lnTo>
                  <a:lnTo>
                    <a:pt x="0" y="320448"/>
                  </a:lnTo>
                  <a:lnTo>
                    <a:pt x="555081" y="0"/>
                  </a:lnTo>
                  <a:lnTo>
                    <a:pt x="1075858" y="300691"/>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12" name="Freeform: Shape 11">
              <a:extLst>
                <a:ext uri="{FF2B5EF4-FFF2-40B4-BE49-F238E27FC236}">
                  <a16:creationId xmlns:a16="http://schemas.microsoft.com/office/drawing/2014/main" id="{ACB7586F-4DD6-1B0D-9C46-7439BE73DF87}"/>
                </a:ext>
              </a:extLst>
            </p:cNvPr>
            <p:cNvSpPr/>
            <p:nvPr/>
          </p:nvSpPr>
          <p:spPr>
            <a:xfrm flipH="1">
              <a:off x="-16311097" y="3046686"/>
              <a:ext cx="77117" cy="77096"/>
            </a:xfrm>
            <a:custGeom>
              <a:avLst/>
              <a:gdLst>
                <a:gd name="connsiteX0" fmla="*/ 15738 w 77118"/>
                <a:gd name="connsiteY0" fmla="*/ 71682 h 77096"/>
                <a:gd name="connsiteX1" fmla="*/ 68396 w 77118"/>
                <a:gd name="connsiteY1" fmla="*/ 57565 h 77096"/>
                <a:gd name="connsiteX2" fmla="*/ 54281 w 77118"/>
                <a:gd name="connsiteY2" fmla="*/ 4941 h 77096"/>
                <a:gd name="connsiteX3" fmla="*/ 1621 w 77118"/>
                <a:gd name="connsiteY3" fmla="*/ 19022 h 77096"/>
                <a:gd name="connsiteX4" fmla="*/ 1621 w 77118"/>
                <a:gd name="connsiteY4" fmla="*/ 19058 h 77096"/>
                <a:gd name="connsiteX5" fmla="*/ 15629 w 77118"/>
                <a:gd name="connsiteY5" fmla="*/ 71610 h 77096"/>
                <a:gd name="connsiteX6" fmla="*/ 15738 w 77118"/>
                <a:gd name="connsiteY6" fmla="*/ 71682 h 7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118" h="77096">
                  <a:moveTo>
                    <a:pt x="15738" y="71682"/>
                  </a:moveTo>
                  <a:cubicBezTo>
                    <a:pt x="34165" y="82314"/>
                    <a:pt x="57729" y="76028"/>
                    <a:pt x="68396" y="57565"/>
                  </a:cubicBezTo>
                  <a:cubicBezTo>
                    <a:pt x="79031" y="39137"/>
                    <a:pt x="72708" y="15574"/>
                    <a:pt x="54281" y="4941"/>
                  </a:cubicBezTo>
                  <a:cubicBezTo>
                    <a:pt x="35854" y="-5727"/>
                    <a:pt x="12290" y="595"/>
                    <a:pt x="1621" y="19022"/>
                  </a:cubicBezTo>
                  <a:cubicBezTo>
                    <a:pt x="1621" y="19022"/>
                    <a:pt x="1621" y="19058"/>
                    <a:pt x="1621" y="19058"/>
                  </a:cubicBezTo>
                  <a:cubicBezTo>
                    <a:pt x="-9012" y="37449"/>
                    <a:pt x="-2761" y="60977"/>
                    <a:pt x="15629" y="71610"/>
                  </a:cubicBezTo>
                  <a:cubicBezTo>
                    <a:pt x="15666" y="71646"/>
                    <a:pt x="15701" y="71682"/>
                    <a:pt x="15738" y="71682"/>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13" name="Freeform: Shape 12">
              <a:extLst>
                <a:ext uri="{FF2B5EF4-FFF2-40B4-BE49-F238E27FC236}">
                  <a16:creationId xmlns:a16="http://schemas.microsoft.com/office/drawing/2014/main" id="{D550D232-5953-DC5A-A26F-EDDDE8F7A7A3}"/>
                </a:ext>
              </a:extLst>
            </p:cNvPr>
            <p:cNvSpPr/>
            <p:nvPr/>
          </p:nvSpPr>
          <p:spPr>
            <a:xfrm flipH="1">
              <a:off x="-15256051" y="3321637"/>
              <a:ext cx="100218" cy="100218"/>
            </a:xfrm>
            <a:custGeom>
              <a:avLst/>
              <a:gdLst>
                <a:gd name="connsiteX0" fmla="*/ 96658 w 100218"/>
                <a:gd name="connsiteY0" fmla="*/ 50043 h 100218"/>
                <a:gd name="connsiteX1" fmla="*/ 46370 w 100218"/>
                <a:gd name="connsiteY1" fmla="*/ 99973 h 100218"/>
                <a:gd name="connsiteX2" fmla="*/ -3560 w 100218"/>
                <a:gd name="connsiteY2" fmla="*/ 49684 h 100218"/>
                <a:gd name="connsiteX3" fmla="*/ 46370 w 100218"/>
                <a:gd name="connsiteY3" fmla="*/ -245 h 100218"/>
                <a:gd name="connsiteX4" fmla="*/ 96658 w 100218"/>
                <a:gd name="connsiteY4" fmla="*/ 50043 h 100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8" h="100218">
                  <a:moveTo>
                    <a:pt x="96658" y="50043"/>
                  </a:moveTo>
                  <a:cubicBezTo>
                    <a:pt x="96551" y="77703"/>
                    <a:pt x="74029" y="100081"/>
                    <a:pt x="46370" y="99973"/>
                  </a:cubicBezTo>
                  <a:cubicBezTo>
                    <a:pt x="18710" y="99865"/>
                    <a:pt x="-3669" y="77343"/>
                    <a:pt x="-3560" y="49684"/>
                  </a:cubicBezTo>
                  <a:cubicBezTo>
                    <a:pt x="-3453" y="22133"/>
                    <a:pt x="18819" y="-138"/>
                    <a:pt x="46370" y="-245"/>
                  </a:cubicBezTo>
                  <a:cubicBezTo>
                    <a:pt x="74136" y="-245"/>
                    <a:pt x="96658" y="22277"/>
                    <a:pt x="96658" y="50043"/>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14" name="Freeform: Shape 13">
              <a:extLst>
                <a:ext uri="{FF2B5EF4-FFF2-40B4-BE49-F238E27FC236}">
                  <a16:creationId xmlns:a16="http://schemas.microsoft.com/office/drawing/2014/main" id="{BE7606F4-8AE7-9935-9EF7-693636BEAE07}"/>
                </a:ext>
              </a:extLst>
            </p:cNvPr>
            <p:cNvSpPr/>
            <p:nvPr/>
          </p:nvSpPr>
          <p:spPr>
            <a:xfrm flipH="1">
              <a:off x="-15474449" y="1269744"/>
              <a:ext cx="1104990" cy="327883"/>
            </a:xfrm>
            <a:custGeom>
              <a:avLst/>
              <a:gdLst>
                <a:gd name="connsiteX0" fmla="*/ 1104989 w 1104989"/>
                <a:gd name="connsiteY0" fmla="*/ 8872 h 327883"/>
                <a:gd name="connsiteX1" fmla="*/ 552494 w 1104989"/>
                <a:gd name="connsiteY1" fmla="*/ 327883 h 327883"/>
                <a:gd name="connsiteX2" fmla="*/ 0 w 1104989"/>
                <a:gd name="connsiteY2" fmla="*/ 8872 h 327883"/>
                <a:gd name="connsiteX3" fmla="*/ 5100 w 1104989"/>
                <a:gd name="connsiteY3" fmla="*/ 0 h 327883"/>
                <a:gd name="connsiteX4" fmla="*/ 552494 w 1104989"/>
                <a:gd name="connsiteY4" fmla="*/ 316029 h 327883"/>
                <a:gd name="connsiteX5" fmla="*/ 1099888 w 1104989"/>
                <a:gd name="connsiteY5" fmla="*/ 0 h 327883"/>
                <a:gd name="connsiteX6" fmla="*/ 1104989 w 1104989"/>
                <a:gd name="connsiteY6" fmla="*/ 8872 h 32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4989" h="327883">
                  <a:moveTo>
                    <a:pt x="1104989" y="8872"/>
                  </a:moveTo>
                  <a:lnTo>
                    <a:pt x="552494" y="327883"/>
                  </a:lnTo>
                  <a:lnTo>
                    <a:pt x="0" y="8872"/>
                  </a:lnTo>
                  <a:lnTo>
                    <a:pt x="5100" y="0"/>
                  </a:lnTo>
                  <a:lnTo>
                    <a:pt x="552494" y="316029"/>
                  </a:lnTo>
                  <a:lnTo>
                    <a:pt x="1099888" y="0"/>
                  </a:lnTo>
                  <a:lnTo>
                    <a:pt x="1104989" y="8872"/>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15" name="Freeform: Shape 14">
              <a:extLst>
                <a:ext uri="{FF2B5EF4-FFF2-40B4-BE49-F238E27FC236}">
                  <a16:creationId xmlns:a16="http://schemas.microsoft.com/office/drawing/2014/main" id="{D6762BE0-EAA3-9A88-05A0-C5FC5AE2A81F}"/>
                </a:ext>
              </a:extLst>
            </p:cNvPr>
            <p:cNvSpPr/>
            <p:nvPr/>
          </p:nvSpPr>
          <p:spPr>
            <a:xfrm flipH="1">
              <a:off x="-11329858" y="4015550"/>
              <a:ext cx="901823" cy="579219"/>
            </a:xfrm>
            <a:custGeom>
              <a:avLst/>
              <a:gdLst>
                <a:gd name="connsiteX0" fmla="*/ 901822 w 901822"/>
                <a:gd name="connsiteY0" fmla="*/ 320484 h 579219"/>
                <a:gd name="connsiteX1" fmla="*/ 901822 w 901822"/>
                <a:gd name="connsiteY1" fmla="*/ 579220 h 579219"/>
                <a:gd name="connsiteX2" fmla="*/ 891549 w 901822"/>
                <a:gd name="connsiteY2" fmla="*/ 579220 h 579219"/>
                <a:gd name="connsiteX3" fmla="*/ 891549 w 901822"/>
                <a:gd name="connsiteY3" fmla="*/ 326411 h 579219"/>
                <a:gd name="connsiteX4" fmla="*/ 346741 w 901822"/>
                <a:gd name="connsiteY4" fmla="*/ 11854 h 579219"/>
                <a:gd name="connsiteX5" fmla="*/ 5137 w 901822"/>
                <a:gd name="connsiteY5" fmla="*/ 209094 h 579219"/>
                <a:gd name="connsiteX6" fmla="*/ 0 w 901822"/>
                <a:gd name="connsiteY6" fmla="*/ 200186 h 579219"/>
                <a:gd name="connsiteX7" fmla="*/ 346741 w 901822"/>
                <a:gd name="connsiteY7" fmla="*/ 0 h 579219"/>
                <a:gd name="connsiteX8" fmla="*/ 901822 w 901822"/>
                <a:gd name="connsiteY8" fmla="*/ 320484 h 579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1822" h="579219">
                  <a:moveTo>
                    <a:pt x="901822" y="320484"/>
                  </a:moveTo>
                  <a:lnTo>
                    <a:pt x="901822" y="579220"/>
                  </a:lnTo>
                  <a:lnTo>
                    <a:pt x="891549" y="579220"/>
                  </a:lnTo>
                  <a:lnTo>
                    <a:pt x="891549" y="326411"/>
                  </a:lnTo>
                  <a:lnTo>
                    <a:pt x="346741" y="11854"/>
                  </a:lnTo>
                  <a:lnTo>
                    <a:pt x="5137" y="209094"/>
                  </a:lnTo>
                  <a:lnTo>
                    <a:pt x="0" y="200186"/>
                  </a:lnTo>
                  <a:lnTo>
                    <a:pt x="346741" y="0"/>
                  </a:lnTo>
                  <a:lnTo>
                    <a:pt x="901822" y="320484"/>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16" name="Freeform: Shape 15">
              <a:extLst>
                <a:ext uri="{FF2B5EF4-FFF2-40B4-BE49-F238E27FC236}">
                  <a16:creationId xmlns:a16="http://schemas.microsoft.com/office/drawing/2014/main" id="{1875BB49-BB3F-8D65-19D1-B95FFA37C9D0}"/>
                </a:ext>
              </a:extLst>
            </p:cNvPr>
            <p:cNvSpPr/>
            <p:nvPr/>
          </p:nvSpPr>
          <p:spPr>
            <a:xfrm flipH="1">
              <a:off x="-15152027" y="846041"/>
              <a:ext cx="186385" cy="186386"/>
            </a:xfrm>
            <a:custGeom>
              <a:avLst/>
              <a:gdLst>
                <a:gd name="connsiteX0" fmla="*/ 43021 w 186384"/>
                <a:gd name="connsiteY0" fmla="*/ 173631 h 186386"/>
                <a:gd name="connsiteX1" fmla="*/ 170324 w 186384"/>
                <a:gd name="connsiteY1" fmla="*/ 139556 h 186386"/>
                <a:gd name="connsiteX2" fmla="*/ 136234 w 186384"/>
                <a:gd name="connsiteY2" fmla="*/ 12265 h 186386"/>
                <a:gd name="connsiteX3" fmla="*/ 8932 w 186384"/>
                <a:gd name="connsiteY3" fmla="*/ 46339 h 186386"/>
                <a:gd name="connsiteX4" fmla="*/ 8932 w 186384"/>
                <a:gd name="connsiteY4" fmla="*/ 46364 h 186386"/>
                <a:gd name="connsiteX5" fmla="*/ 43021 w 186384"/>
                <a:gd name="connsiteY5" fmla="*/ 173631 h 18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384" h="186386">
                  <a:moveTo>
                    <a:pt x="43021" y="173631"/>
                  </a:moveTo>
                  <a:cubicBezTo>
                    <a:pt x="87598" y="199371"/>
                    <a:pt x="144569" y="184116"/>
                    <a:pt x="170324" y="139556"/>
                  </a:cubicBezTo>
                  <a:cubicBezTo>
                    <a:pt x="196044" y="94997"/>
                    <a:pt x="180812" y="38005"/>
                    <a:pt x="136234" y="12265"/>
                  </a:cubicBezTo>
                  <a:cubicBezTo>
                    <a:pt x="91693" y="-13476"/>
                    <a:pt x="34687" y="1779"/>
                    <a:pt x="8932" y="46339"/>
                  </a:cubicBezTo>
                  <a:cubicBezTo>
                    <a:pt x="8932" y="46346"/>
                    <a:pt x="8932" y="46357"/>
                    <a:pt x="8932" y="46364"/>
                  </a:cubicBezTo>
                  <a:cubicBezTo>
                    <a:pt x="-16786" y="90924"/>
                    <a:pt x="-1520" y="147894"/>
                    <a:pt x="43021" y="173631"/>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17" name="Freeform: Shape 16">
              <a:extLst>
                <a:ext uri="{FF2B5EF4-FFF2-40B4-BE49-F238E27FC236}">
                  <a16:creationId xmlns:a16="http://schemas.microsoft.com/office/drawing/2014/main" id="{81484C68-904D-9206-2B1C-93D91D5E0550}"/>
                </a:ext>
              </a:extLst>
            </p:cNvPr>
            <p:cNvSpPr/>
            <p:nvPr/>
          </p:nvSpPr>
          <p:spPr>
            <a:xfrm flipH="1">
              <a:off x="-10069727" y="4439873"/>
              <a:ext cx="147869" cy="147869"/>
            </a:xfrm>
            <a:custGeom>
              <a:avLst/>
              <a:gdLst>
                <a:gd name="connsiteX0" fmla="*/ 33389 w 147869"/>
                <a:gd name="connsiteY0" fmla="*/ 137696 h 147869"/>
                <a:gd name="connsiteX1" fmla="*/ 6376 w 147869"/>
                <a:gd name="connsiteY1" fmla="*/ 36688 h 147869"/>
                <a:gd name="connsiteX2" fmla="*/ 107349 w 147869"/>
                <a:gd name="connsiteY2" fmla="*/ 9675 h 147869"/>
                <a:gd name="connsiteX3" fmla="*/ 134397 w 147869"/>
                <a:gd name="connsiteY3" fmla="*/ 110648 h 147869"/>
                <a:gd name="connsiteX4" fmla="*/ 33425 w 147869"/>
                <a:gd name="connsiteY4" fmla="*/ 137696 h 147869"/>
                <a:gd name="connsiteX5" fmla="*/ 33389 w 147869"/>
                <a:gd name="connsiteY5" fmla="*/ 137696 h 147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869" h="147869">
                  <a:moveTo>
                    <a:pt x="33389" y="137696"/>
                  </a:moveTo>
                  <a:cubicBezTo>
                    <a:pt x="-1957" y="117257"/>
                    <a:pt x="-14062" y="72069"/>
                    <a:pt x="6376" y="36688"/>
                  </a:cubicBezTo>
                  <a:cubicBezTo>
                    <a:pt x="26779" y="1342"/>
                    <a:pt x="72003" y="-10728"/>
                    <a:pt x="107349" y="9675"/>
                  </a:cubicBezTo>
                  <a:cubicBezTo>
                    <a:pt x="142695" y="30114"/>
                    <a:pt x="154801" y="75302"/>
                    <a:pt x="134397" y="110648"/>
                  </a:cubicBezTo>
                  <a:cubicBezTo>
                    <a:pt x="113994" y="145994"/>
                    <a:pt x="68770" y="158135"/>
                    <a:pt x="33425" y="137696"/>
                  </a:cubicBezTo>
                  <a:cubicBezTo>
                    <a:pt x="33425" y="137696"/>
                    <a:pt x="33389" y="137696"/>
                    <a:pt x="33389" y="137696"/>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18" name="Freeform: Shape 17">
              <a:extLst>
                <a:ext uri="{FF2B5EF4-FFF2-40B4-BE49-F238E27FC236}">
                  <a16:creationId xmlns:a16="http://schemas.microsoft.com/office/drawing/2014/main" id="{C53FB0B0-855F-0988-6A3E-8B254888B7CF}"/>
                </a:ext>
              </a:extLst>
            </p:cNvPr>
            <p:cNvSpPr/>
            <p:nvPr/>
          </p:nvSpPr>
          <p:spPr>
            <a:xfrm flipH="1">
              <a:off x="-13066978" y="1309041"/>
              <a:ext cx="2307395" cy="1916004"/>
            </a:xfrm>
            <a:custGeom>
              <a:avLst/>
              <a:gdLst>
                <a:gd name="connsiteX0" fmla="*/ 2307395 w 2307395"/>
                <a:gd name="connsiteY0" fmla="*/ 666076 h 1916004"/>
                <a:gd name="connsiteX1" fmla="*/ 2307395 w 2307395"/>
                <a:gd name="connsiteY1" fmla="*/ 1893159 h 1916004"/>
                <a:gd name="connsiteX2" fmla="*/ 2286094 w 2307395"/>
                <a:gd name="connsiteY2" fmla="*/ 1893159 h 1916004"/>
                <a:gd name="connsiteX3" fmla="*/ 2286094 w 2307395"/>
                <a:gd name="connsiteY3" fmla="*/ 678361 h 1916004"/>
                <a:gd name="connsiteX4" fmla="*/ 1153698 w 2307395"/>
                <a:gd name="connsiteY4" fmla="*/ 24606 h 1916004"/>
                <a:gd name="connsiteX5" fmla="*/ 21301 w 2307395"/>
                <a:gd name="connsiteY5" fmla="*/ 678361 h 1916004"/>
                <a:gd name="connsiteX6" fmla="*/ 21301 w 2307395"/>
                <a:gd name="connsiteY6" fmla="*/ 1916005 h 1916004"/>
                <a:gd name="connsiteX7" fmla="*/ 0 w 2307395"/>
                <a:gd name="connsiteY7" fmla="*/ 1916005 h 1916004"/>
                <a:gd name="connsiteX8" fmla="*/ 0 w 2307395"/>
                <a:gd name="connsiteY8" fmla="*/ 666076 h 1916004"/>
                <a:gd name="connsiteX9" fmla="*/ 1153698 w 2307395"/>
                <a:gd name="connsiteY9" fmla="*/ 0 h 1916004"/>
                <a:gd name="connsiteX10" fmla="*/ 1159014 w 2307395"/>
                <a:gd name="connsiteY10" fmla="*/ 3053 h 1916004"/>
                <a:gd name="connsiteX11" fmla="*/ 2307395 w 2307395"/>
                <a:gd name="connsiteY11" fmla="*/ 666076 h 191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07395" h="1916004">
                  <a:moveTo>
                    <a:pt x="2307395" y="666076"/>
                  </a:moveTo>
                  <a:lnTo>
                    <a:pt x="2307395" y="1893159"/>
                  </a:lnTo>
                  <a:lnTo>
                    <a:pt x="2286094" y="1893159"/>
                  </a:lnTo>
                  <a:lnTo>
                    <a:pt x="2286094" y="678361"/>
                  </a:lnTo>
                  <a:lnTo>
                    <a:pt x="1153698" y="24606"/>
                  </a:lnTo>
                  <a:lnTo>
                    <a:pt x="21301" y="678361"/>
                  </a:lnTo>
                  <a:lnTo>
                    <a:pt x="21301" y="1916005"/>
                  </a:lnTo>
                  <a:lnTo>
                    <a:pt x="0" y="1916005"/>
                  </a:lnTo>
                  <a:lnTo>
                    <a:pt x="0" y="666076"/>
                  </a:lnTo>
                  <a:lnTo>
                    <a:pt x="1153698" y="0"/>
                  </a:lnTo>
                  <a:lnTo>
                    <a:pt x="1159014" y="3053"/>
                  </a:lnTo>
                  <a:lnTo>
                    <a:pt x="2307395" y="666076"/>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19" name="Freeform: Shape 18">
              <a:extLst>
                <a:ext uri="{FF2B5EF4-FFF2-40B4-BE49-F238E27FC236}">
                  <a16:creationId xmlns:a16="http://schemas.microsoft.com/office/drawing/2014/main" id="{EAA9230C-A06D-857D-394A-D534F84FDDA9}"/>
                </a:ext>
              </a:extLst>
            </p:cNvPr>
            <p:cNvSpPr/>
            <p:nvPr/>
          </p:nvSpPr>
          <p:spPr>
            <a:xfrm flipH="1">
              <a:off x="-10850317" y="3140919"/>
              <a:ext cx="160206" cy="160206"/>
            </a:xfrm>
            <a:custGeom>
              <a:avLst/>
              <a:gdLst>
                <a:gd name="connsiteX0" fmla="*/ 160206 w 160205"/>
                <a:gd name="connsiteY0" fmla="*/ 80103 h 160205"/>
                <a:gd name="connsiteX1" fmla="*/ 80103 w 160205"/>
                <a:gd name="connsiteY1" fmla="*/ 160206 h 160205"/>
                <a:gd name="connsiteX2" fmla="*/ 0 w 160205"/>
                <a:gd name="connsiteY2" fmla="*/ 80103 h 160205"/>
                <a:gd name="connsiteX3" fmla="*/ 80103 w 160205"/>
                <a:gd name="connsiteY3" fmla="*/ 0 h 160205"/>
                <a:gd name="connsiteX4" fmla="*/ 160206 w 160205"/>
                <a:gd name="connsiteY4" fmla="*/ 80103 h 160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205" h="160205">
                  <a:moveTo>
                    <a:pt x="160206" y="80103"/>
                  </a:moveTo>
                  <a:cubicBezTo>
                    <a:pt x="160206" y="124343"/>
                    <a:pt x="124343" y="160206"/>
                    <a:pt x="80103" y="160206"/>
                  </a:cubicBezTo>
                  <a:cubicBezTo>
                    <a:pt x="35863" y="160206"/>
                    <a:pt x="0" y="124342"/>
                    <a:pt x="0" y="80103"/>
                  </a:cubicBezTo>
                  <a:cubicBezTo>
                    <a:pt x="0" y="35863"/>
                    <a:pt x="35863" y="0"/>
                    <a:pt x="80103" y="0"/>
                  </a:cubicBezTo>
                  <a:cubicBezTo>
                    <a:pt x="124343" y="0"/>
                    <a:pt x="160206" y="35863"/>
                    <a:pt x="160206" y="80103"/>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20" name="Freeform: Shape 19">
              <a:extLst>
                <a:ext uri="{FF2B5EF4-FFF2-40B4-BE49-F238E27FC236}">
                  <a16:creationId xmlns:a16="http://schemas.microsoft.com/office/drawing/2014/main" id="{0597AABF-9C18-3D9C-5762-4F70801834BF}"/>
                </a:ext>
              </a:extLst>
            </p:cNvPr>
            <p:cNvSpPr/>
            <p:nvPr/>
          </p:nvSpPr>
          <p:spPr>
            <a:xfrm flipH="1">
              <a:off x="-13160517" y="3092822"/>
              <a:ext cx="208339" cy="208339"/>
            </a:xfrm>
            <a:custGeom>
              <a:avLst/>
              <a:gdLst>
                <a:gd name="connsiteX0" fmla="*/ -3560 w 208339"/>
                <a:gd name="connsiteY0" fmla="*/ 103924 h 208339"/>
                <a:gd name="connsiteX1" fmla="*/ 100610 w 208339"/>
                <a:gd name="connsiteY1" fmla="*/ 208094 h 208339"/>
                <a:gd name="connsiteX2" fmla="*/ 204779 w 208339"/>
                <a:gd name="connsiteY2" fmla="*/ 103924 h 208339"/>
                <a:gd name="connsiteX3" fmla="*/ 100610 w 208339"/>
                <a:gd name="connsiteY3" fmla="*/ -245 h 208339"/>
                <a:gd name="connsiteX4" fmla="*/ -3560 w 208339"/>
                <a:gd name="connsiteY4" fmla="*/ 103924 h 208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339" h="208339">
                  <a:moveTo>
                    <a:pt x="-3560" y="103924"/>
                  </a:moveTo>
                  <a:cubicBezTo>
                    <a:pt x="-3560" y="161469"/>
                    <a:pt x="43065" y="208094"/>
                    <a:pt x="100610" y="208094"/>
                  </a:cubicBezTo>
                  <a:cubicBezTo>
                    <a:pt x="158154" y="208094"/>
                    <a:pt x="204779" y="161469"/>
                    <a:pt x="204779" y="103924"/>
                  </a:cubicBezTo>
                  <a:cubicBezTo>
                    <a:pt x="204779" y="46379"/>
                    <a:pt x="158154" y="-245"/>
                    <a:pt x="100610" y="-245"/>
                  </a:cubicBezTo>
                  <a:cubicBezTo>
                    <a:pt x="43065" y="-245"/>
                    <a:pt x="-3560" y="46379"/>
                    <a:pt x="-3560" y="103924"/>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21" name="Freeform: Shape 20">
              <a:extLst>
                <a:ext uri="{FF2B5EF4-FFF2-40B4-BE49-F238E27FC236}">
                  <a16:creationId xmlns:a16="http://schemas.microsoft.com/office/drawing/2014/main" id="{C2FA4C40-3B1F-414A-E2FC-F9AEC0165F43}"/>
                </a:ext>
              </a:extLst>
            </p:cNvPr>
            <p:cNvSpPr/>
            <p:nvPr/>
          </p:nvSpPr>
          <p:spPr>
            <a:xfrm flipH="1">
              <a:off x="-15093938" y="4733818"/>
              <a:ext cx="1107574" cy="610829"/>
            </a:xfrm>
            <a:custGeom>
              <a:avLst/>
              <a:gdLst>
                <a:gd name="connsiteX0" fmla="*/ 1107575 w 1107575"/>
                <a:gd name="connsiteY0" fmla="*/ 291855 h 610829"/>
                <a:gd name="connsiteX1" fmla="*/ 555081 w 1107575"/>
                <a:gd name="connsiteY1" fmla="*/ 610830 h 610829"/>
                <a:gd name="connsiteX2" fmla="*/ 0 w 1107575"/>
                <a:gd name="connsiteY2" fmla="*/ 290346 h 610829"/>
                <a:gd name="connsiteX3" fmla="*/ 0 w 1107575"/>
                <a:gd name="connsiteY3" fmla="*/ 0 h 610829"/>
                <a:gd name="connsiteX4" fmla="*/ 10237 w 1107575"/>
                <a:gd name="connsiteY4" fmla="*/ 0 h 610829"/>
                <a:gd name="connsiteX5" fmla="*/ 10237 w 1107575"/>
                <a:gd name="connsiteY5" fmla="*/ 284455 h 610829"/>
                <a:gd name="connsiteX6" fmla="*/ 555081 w 1107575"/>
                <a:gd name="connsiteY6" fmla="*/ 599012 h 610829"/>
                <a:gd name="connsiteX7" fmla="*/ 1102439 w 1107575"/>
                <a:gd name="connsiteY7" fmla="*/ 282947 h 610829"/>
                <a:gd name="connsiteX8" fmla="*/ 1107575 w 1107575"/>
                <a:gd name="connsiteY8" fmla="*/ 291855 h 610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575" h="610829">
                  <a:moveTo>
                    <a:pt x="1107575" y="291855"/>
                  </a:moveTo>
                  <a:lnTo>
                    <a:pt x="555081" y="610830"/>
                  </a:lnTo>
                  <a:lnTo>
                    <a:pt x="0" y="290346"/>
                  </a:lnTo>
                  <a:lnTo>
                    <a:pt x="0" y="0"/>
                  </a:lnTo>
                  <a:lnTo>
                    <a:pt x="10237" y="0"/>
                  </a:lnTo>
                  <a:lnTo>
                    <a:pt x="10237" y="284455"/>
                  </a:lnTo>
                  <a:lnTo>
                    <a:pt x="555081" y="599012"/>
                  </a:lnTo>
                  <a:lnTo>
                    <a:pt x="1102439" y="282947"/>
                  </a:lnTo>
                  <a:lnTo>
                    <a:pt x="1107575" y="291855"/>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22" name="Freeform: Shape 21">
              <a:extLst>
                <a:ext uri="{FF2B5EF4-FFF2-40B4-BE49-F238E27FC236}">
                  <a16:creationId xmlns:a16="http://schemas.microsoft.com/office/drawing/2014/main" id="{04D42EDB-1A5F-9324-E361-79CBAE0F7B1F}"/>
                </a:ext>
              </a:extLst>
            </p:cNvPr>
            <p:cNvSpPr/>
            <p:nvPr/>
          </p:nvSpPr>
          <p:spPr>
            <a:xfrm flipH="1">
              <a:off x="-12429711" y="3449046"/>
              <a:ext cx="557631" cy="1105097"/>
            </a:xfrm>
            <a:custGeom>
              <a:avLst/>
              <a:gdLst>
                <a:gd name="connsiteX0" fmla="*/ 557631 w 557631"/>
                <a:gd name="connsiteY0" fmla="*/ 8873 h 1105097"/>
                <a:gd name="connsiteX1" fmla="*/ 10237 w 557631"/>
                <a:gd name="connsiteY1" fmla="*/ 324902 h 1105097"/>
                <a:gd name="connsiteX2" fmla="*/ 10237 w 557631"/>
                <a:gd name="connsiteY2" fmla="*/ 954015 h 1105097"/>
                <a:gd name="connsiteX3" fmla="*/ 256581 w 557631"/>
                <a:gd name="connsiteY3" fmla="*/ 1096225 h 1105097"/>
                <a:gd name="connsiteX4" fmla="*/ 251444 w 557631"/>
                <a:gd name="connsiteY4" fmla="*/ 1105097 h 1105097"/>
                <a:gd name="connsiteX5" fmla="*/ 0 w 557631"/>
                <a:gd name="connsiteY5" fmla="*/ 959906 h 1105097"/>
                <a:gd name="connsiteX6" fmla="*/ 0 w 557631"/>
                <a:gd name="connsiteY6" fmla="*/ 318975 h 1105097"/>
                <a:gd name="connsiteX7" fmla="*/ 552495 w 557631"/>
                <a:gd name="connsiteY7" fmla="*/ 0 h 1105097"/>
                <a:gd name="connsiteX8" fmla="*/ 557631 w 557631"/>
                <a:gd name="connsiteY8" fmla="*/ 8873 h 110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31" h="1105097">
                  <a:moveTo>
                    <a:pt x="557631" y="8873"/>
                  </a:moveTo>
                  <a:lnTo>
                    <a:pt x="10237" y="324902"/>
                  </a:lnTo>
                  <a:lnTo>
                    <a:pt x="10237" y="954015"/>
                  </a:lnTo>
                  <a:lnTo>
                    <a:pt x="256581" y="1096225"/>
                  </a:lnTo>
                  <a:lnTo>
                    <a:pt x="251444" y="1105097"/>
                  </a:lnTo>
                  <a:lnTo>
                    <a:pt x="0" y="959906"/>
                  </a:lnTo>
                  <a:lnTo>
                    <a:pt x="0" y="318975"/>
                  </a:lnTo>
                  <a:lnTo>
                    <a:pt x="552495" y="0"/>
                  </a:lnTo>
                  <a:lnTo>
                    <a:pt x="557631" y="8873"/>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23" name="Freeform: Shape 22">
              <a:extLst>
                <a:ext uri="{FF2B5EF4-FFF2-40B4-BE49-F238E27FC236}">
                  <a16:creationId xmlns:a16="http://schemas.microsoft.com/office/drawing/2014/main" id="{BE281922-FA28-912D-D2DC-FD5C8C129D11}"/>
                </a:ext>
              </a:extLst>
            </p:cNvPr>
            <p:cNvSpPr/>
            <p:nvPr/>
          </p:nvSpPr>
          <p:spPr>
            <a:xfrm rot="3599999" flipH="1">
              <a:off x="-12281421" y="4462459"/>
              <a:ext cx="10238" cy="347603"/>
            </a:xfrm>
            <a:custGeom>
              <a:avLst/>
              <a:gdLst>
                <a:gd name="connsiteX0" fmla="*/ -3560 w 10237"/>
                <a:gd name="connsiteY0" fmla="*/ -245 h 347603"/>
                <a:gd name="connsiteX1" fmla="*/ 6678 w 10237"/>
                <a:gd name="connsiteY1" fmla="*/ -245 h 347603"/>
                <a:gd name="connsiteX2" fmla="*/ 6678 w 10237"/>
                <a:gd name="connsiteY2" fmla="*/ 347358 h 347603"/>
                <a:gd name="connsiteX3" fmla="*/ -3560 w 10237"/>
                <a:gd name="connsiteY3" fmla="*/ 347358 h 347603"/>
              </a:gdLst>
              <a:ahLst/>
              <a:cxnLst>
                <a:cxn ang="0">
                  <a:pos x="connsiteX0" y="connsiteY0"/>
                </a:cxn>
                <a:cxn ang="0">
                  <a:pos x="connsiteX1" y="connsiteY1"/>
                </a:cxn>
                <a:cxn ang="0">
                  <a:pos x="connsiteX2" y="connsiteY2"/>
                </a:cxn>
                <a:cxn ang="0">
                  <a:pos x="connsiteX3" y="connsiteY3"/>
                </a:cxn>
              </a:cxnLst>
              <a:rect l="l" t="t" r="r" b="b"/>
              <a:pathLst>
                <a:path w="10237" h="347603">
                  <a:moveTo>
                    <a:pt x="-3560" y="-245"/>
                  </a:moveTo>
                  <a:lnTo>
                    <a:pt x="6678" y="-245"/>
                  </a:lnTo>
                  <a:lnTo>
                    <a:pt x="6678" y="347358"/>
                  </a:lnTo>
                  <a:lnTo>
                    <a:pt x="-3560" y="347358"/>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24" name="Freeform: Shape 23">
              <a:extLst>
                <a:ext uri="{FF2B5EF4-FFF2-40B4-BE49-F238E27FC236}">
                  <a16:creationId xmlns:a16="http://schemas.microsoft.com/office/drawing/2014/main" id="{D9A3EB19-BAE0-E6E0-E6D6-A6BFD944EEC9}"/>
                </a:ext>
              </a:extLst>
            </p:cNvPr>
            <p:cNvSpPr/>
            <p:nvPr/>
          </p:nvSpPr>
          <p:spPr>
            <a:xfrm flipH="1">
              <a:off x="-10946803" y="1711962"/>
              <a:ext cx="1739239" cy="1472456"/>
            </a:xfrm>
            <a:custGeom>
              <a:avLst/>
              <a:gdLst>
                <a:gd name="connsiteX0" fmla="*/ 1739239 w 1739239"/>
                <a:gd name="connsiteY0" fmla="*/ 486078 h 1472457"/>
                <a:gd name="connsiteX1" fmla="*/ 1730978 w 1739239"/>
                <a:gd name="connsiteY1" fmla="*/ 500410 h 1472457"/>
                <a:gd name="connsiteX2" fmla="*/ 897332 w 1739239"/>
                <a:gd name="connsiteY2" fmla="*/ 19110 h 1472457"/>
                <a:gd name="connsiteX3" fmla="*/ 16595 w 1739239"/>
                <a:gd name="connsiteY3" fmla="*/ 527638 h 1472457"/>
                <a:gd name="connsiteX4" fmla="*/ 16595 w 1739239"/>
                <a:gd name="connsiteY4" fmla="*/ 1472457 h 1472457"/>
                <a:gd name="connsiteX5" fmla="*/ 0 w 1739239"/>
                <a:gd name="connsiteY5" fmla="*/ 1472457 h 1472457"/>
                <a:gd name="connsiteX6" fmla="*/ 0 w 1739239"/>
                <a:gd name="connsiteY6" fmla="*/ 518047 h 1472457"/>
                <a:gd name="connsiteX7" fmla="*/ 897332 w 1739239"/>
                <a:gd name="connsiteY7" fmla="*/ 0 h 1472457"/>
                <a:gd name="connsiteX8" fmla="*/ 901463 w 1739239"/>
                <a:gd name="connsiteY8" fmla="*/ 2371 h 1472457"/>
                <a:gd name="connsiteX9" fmla="*/ 1739239 w 1739239"/>
                <a:gd name="connsiteY9" fmla="*/ 486078 h 147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239" h="1472457">
                  <a:moveTo>
                    <a:pt x="1739239" y="486078"/>
                  </a:moveTo>
                  <a:lnTo>
                    <a:pt x="1730978" y="500410"/>
                  </a:lnTo>
                  <a:lnTo>
                    <a:pt x="897332" y="19110"/>
                  </a:lnTo>
                  <a:lnTo>
                    <a:pt x="16595" y="527638"/>
                  </a:lnTo>
                  <a:lnTo>
                    <a:pt x="16595" y="1472457"/>
                  </a:lnTo>
                  <a:lnTo>
                    <a:pt x="0" y="1472457"/>
                  </a:lnTo>
                  <a:lnTo>
                    <a:pt x="0" y="518047"/>
                  </a:lnTo>
                  <a:lnTo>
                    <a:pt x="897332" y="0"/>
                  </a:lnTo>
                  <a:lnTo>
                    <a:pt x="901463" y="2371"/>
                  </a:lnTo>
                  <a:lnTo>
                    <a:pt x="1739239" y="486078"/>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25" name="Freeform: Shape 24">
              <a:extLst>
                <a:ext uri="{FF2B5EF4-FFF2-40B4-BE49-F238E27FC236}">
                  <a16:creationId xmlns:a16="http://schemas.microsoft.com/office/drawing/2014/main" id="{103C44AE-2D39-1024-7734-25CCF42599B9}"/>
                </a:ext>
              </a:extLst>
            </p:cNvPr>
            <p:cNvSpPr/>
            <p:nvPr/>
          </p:nvSpPr>
          <p:spPr>
            <a:xfrm flipH="1">
              <a:off x="-9296826" y="3099395"/>
              <a:ext cx="162002" cy="162002"/>
            </a:xfrm>
            <a:custGeom>
              <a:avLst/>
              <a:gdLst>
                <a:gd name="connsiteX0" fmla="*/ 158442 w 162002"/>
                <a:gd name="connsiteY0" fmla="*/ 80720 h 162002"/>
                <a:gd name="connsiteX1" fmla="*/ 77477 w 162002"/>
                <a:gd name="connsiteY1" fmla="*/ 161757 h 162002"/>
                <a:gd name="connsiteX2" fmla="*/ -3560 w 162002"/>
                <a:gd name="connsiteY2" fmla="*/ 80792 h 162002"/>
                <a:gd name="connsiteX3" fmla="*/ 77405 w 162002"/>
                <a:gd name="connsiteY3" fmla="*/ -245 h 162002"/>
                <a:gd name="connsiteX4" fmla="*/ 77441 w 162002"/>
                <a:gd name="connsiteY4" fmla="*/ -245 h 162002"/>
                <a:gd name="connsiteX5" fmla="*/ 158442 w 162002"/>
                <a:gd name="connsiteY5" fmla="*/ 80720 h 16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002" h="162002">
                  <a:moveTo>
                    <a:pt x="158442" y="80720"/>
                  </a:moveTo>
                  <a:cubicBezTo>
                    <a:pt x="158478" y="125441"/>
                    <a:pt x="122198" y="161721"/>
                    <a:pt x="77477" y="161757"/>
                  </a:cubicBezTo>
                  <a:cubicBezTo>
                    <a:pt x="32756" y="161792"/>
                    <a:pt x="-3524" y="125513"/>
                    <a:pt x="-3560" y="80792"/>
                  </a:cubicBezTo>
                  <a:cubicBezTo>
                    <a:pt x="-3596" y="36070"/>
                    <a:pt x="32684" y="-209"/>
                    <a:pt x="77405" y="-245"/>
                  </a:cubicBezTo>
                  <a:cubicBezTo>
                    <a:pt x="77405" y="-245"/>
                    <a:pt x="77441" y="-245"/>
                    <a:pt x="77441" y="-245"/>
                  </a:cubicBezTo>
                  <a:cubicBezTo>
                    <a:pt x="122162" y="-209"/>
                    <a:pt x="158406" y="35999"/>
                    <a:pt x="158442" y="80720"/>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26" name="Freeform: Shape 25">
              <a:extLst>
                <a:ext uri="{FF2B5EF4-FFF2-40B4-BE49-F238E27FC236}">
                  <a16:creationId xmlns:a16="http://schemas.microsoft.com/office/drawing/2014/main" id="{EE117D27-8B80-B9A4-9D6C-BF918E82DA4D}"/>
                </a:ext>
              </a:extLst>
            </p:cNvPr>
            <p:cNvSpPr/>
            <p:nvPr/>
          </p:nvSpPr>
          <p:spPr>
            <a:xfrm flipH="1">
              <a:off x="-11002314" y="2141373"/>
              <a:ext cx="124687" cy="124664"/>
            </a:xfrm>
            <a:custGeom>
              <a:avLst/>
              <a:gdLst>
                <a:gd name="connsiteX0" fmla="*/ 27610 w 124687"/>
                <a:gd name="connsiteY0" fmla="*/ 116049 h 124664"/>
                <a:gd name="connsiteX1" fmla="*/ 112742 w 124687"/>
                <a:gd name="connsiteY1" fmla="*/ 93264 h 124664"/>
                <a:gd name="connsiteX2" fmla="*/ 89969 w 124687"/>
                <a:gd name="connsiteY2" fmla="*/ 8125 h 124664"/>
                <a:gd name="connsiteX3" fmla="*/ 4836 w 124687"/>
                <a:gd name="connsiteY3" fmla="*/ 30906 h 124664"/>
                <a:gd name="connsiteX4" fmla="*/ 4801 w 124687"/>
                <a:gd name="connsiteY4" fmla="*/ 30953 h 124664"/>
                <a:gd name="connsiteX5" fmla="*/ 27575 w 124687"/>
                <a:gd name="connsiteY5" fmla="*/ 116038 h 124664"/>
                <a:gd name="connsiteX6" fmla="*/ 27610 w 124687"/>
                <a:gd name="connsiteY6" fmla="*/ 116049 h 12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687" h="124664">
                  <a:moveTo>
                    <a:pt x="27610" y="116049"/>
                  </a:moveTo>
                  <a:cubicBezTo>
                    <a:pt x="57425" y="133269"/>
                    <a:pt x="95536" y="123067"/>
                    <a:pt x="112742" y="93264"/>
                  </a:cubicBezTo>
                  <a:cubicBezTo>
                    <a:pt x="129983" y="63461"/>
                    <a:pt x="119782" y="25342"/>
                    <a:pt x="89969" y="8125"/>
                  </a:cubicBezTo>
                  <a:cubicBezTo>
                    <a:pt x="60154" y="-9095"/>
                    <a:pt x="22043" y="1106"/>
                    <a:pt x="4836" y="30906"/>
                  </a:cubicBezTo>
                  <a:cubicBezTo>
                    <a:pt x="4801" y="30924"/>
                    <a:pt x="4801" y="30938"/>
                    <a:pt x="4801" y="30953"/>
                  </a:cubicBezTo>
                  <a:cubicBezTo>
                    <a:pt x="-12405" y="60742"/>
                    <a:pt x="-2204" y="98835"/>
                    <a:pt x="27575" y="116038"/>
                  </a:cubicBezTo>
                  <a:cubicBezTo>
                    <a:pt x="27610" y="116041"/>
                    <a:pt x="27610" y="116045"/>
                    <a:pt x="27610" y="116049"/>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27" name="Freeform: Shape 26">
              <a:extLst>
                <a:ext uri="{FF2B5EF4-FFF2-40B4-BE49-F238E27FC236}">
                  <a16:creationId xmlns:a16="http://schemas.microsoft.com/office/drawing/2014/main" id="{A9FC4404-8FC1-3140-0BA4-E4875F74EC8A}"/>
                </a:ext>
              </a:extLst>
            </p:cNvPr>
            <p:cNvSpPr/>
            <p:nvPr/>
          </p:nvSpPr>
          <p:spPr>
            <a:xfrm flipH="1">
              <a:off x="-11191852" y="2308172"/>
              <a:ext cx="1225036" cy="368294"/>
            </a:xfrm>
            <a:custGeom>
              <a:avLst/>
              <a:gdLst>
                <a:gd name="connsiteX0" fmla="*/ 1225036 w 1225036"/>
                <a:gd name="connsiteY0" fmla="*/ 10345 h 368293"/>
                <a:gd name="connsiteX1" fmla="*/ 605118 w 1225036"/>
                <a:gd name="connsiteY1" fmla="*/ 368294 h 368293"/>
                <a:gd name="connsiteX2" fmla="*/ 0 w 1225036"/>
                <a:gd name="connsiteY2" fmla="*/ 18930 h 368293"/>
                <a:gd name="connsiteX3" fmla="*/ 5963 w 1225036"/>
                <a:gd name="connsiteY3" fmla="*/ 8549 h 368293"/>
                <a:gd name="connsiteX4" fmla="*/ 605118 w 1225036"/>
                <a:gd name="connsiteY4" fmla="*/ 354464 h 368293"/>
                <a:gd name="connsiteX5" fmla="*/ 1219073 w 1225036"/>
                <a:gd name="connsiteY5" fmla="*/ 0 h 368293"/>
                <a:gd name="connsiteX6" fmla="*/ 1225036 w 1225036"/>
                <a:gd name="connsiteY6" fmla="*/ 10345 h 368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5036" h="368293">
                  <a:moveTo>
                    <a:pt x="1225036" y="10345"/>
                  </a:moveTo>
                  <a:lnTo>
                    <a:pt x="605118" y="368294"/>
                  </a:lnTo>
                  <a:lnTo>
                    <a:pt x="0" y="18930"/>
                  </a:lnTo>
                  <a:lnTo>
                    <a:pt x="5963" y="8549"/>
                  </a:lnTo>
                  <a:lnTo>
                    <a:pt x="605118" y="354464"/>
                  </a:lnTo>
                  <a:lnTo>
                    <a:pt x="1219073" y="0"/>
                  </a:lnTo>
                  <a:lnTo>
                    <a:pt x="1225036" y="10345"/>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28" name="Freeform: Shape 27">
              <a:extLst>
                <a:ext uri="{FF2B5EF4-FFF2-40B4-BE49-F238E27FC236}">
                  <a16:creationId xmlns:a16="http://schemas.microsoft.com/office/drawing/2014/main" id="{07DC3AFF-DBE1-78E5-581F-0A5BFD0DEA12}"/>
                </a:ext>
              </a:extLst>
            </p:cNvPr>
            <p:cNvSpPr/>
            <p:nvPr/>
          </p:nvSpPr>
          <p:spPr>
            <a:xfrm flipH="1">
              <a:off x="-11219168" y="2282584"/>
              <a:ext cx="63097" cy="63085"/>
            </a:xfrm>
            <a:custGeom>
              <a:avLst/>
              <a:gdLst>
                <a:gd name="connsiteX0" fmla="*/ 12249 w 63097"/>
                <a:gd name="connsiteY0" fmla="*/ 3969 h 63085"/>
                <a:gd name="connsiteX1" fmla="*/ 55319 w 63097"/>
                <a:gd name="connsiteY1" fmla="*/ 15553 h 63085"/>
                <a:gd name="connsiteX2" fmla="*/ 43752 w 63097"/>
                <a:gd name="connsiteY2" fmla="*/ 58626 h 63085"/>
                <a:gd name="connsiteX3" fmla="*/ 682 w 63097"/>
                <a:gd name="connsiteY3" fmla="*/ 47074 h 63085"/>
                <a:gd name="connsiteX4" fmla="*/ 12214 w 63097"/>
                <a:gd name="connsiteY4" fmla="*/ 3987 h 63085"/>
                <a:gd name="connsiteX5" fmla="*/ 12249 w 63097"/>
                <a:gd name="connsiteY5" fmla="*/ 3969 h 6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097" h="63085">
                  <a:moveTo>
                    <a:pt x="12249" y="3969"/>
                  </a:moveTo>
                  <a:cubicBezTo>
                    <a:pt x="27337" y="-4724"/>
                    <a:pt x="46625" y="463"/>
                    <a:pt x="55319" y="15553"/>
                  </a:cubicBezTo>
                  <a:cubicBezTo>
                    <a:pt x="64012" y="30647"/>
                    <a:pt x="58839" y="49933"/>
                    <a:pt x="43752" y="58626"/>
                  </a:cubicBezTo>
                  <a:cubicBezTo>
                    <a:pt x="28665" y="67311"/>
                    <a:pt x="9377" y="62142"/>
                    <a:pt x="682" y="47074"/>
                  </a:cubicBezTo>
                  <a:cubicBezTo>
                    <a:pt x="-8045" y="31991"/>
                    <a:pt x="-2873" y="12701"/>
                    <a:pt x="12214" y="3987"/>
                  </a:cubicBezTo>
                  <a:cubicBezTo>
                    <a:pt x="12214" y="3983"/>
                    <a:pt x="12249" y="3976"/>
                    <a:pt x="12249" y="3969"/>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29" name="Freeform: Shape 28">
              <a:extLst>
                <a:ext uri="{FF2B5EF4-FFF2-40B4-BE49-F238E27FC236}">
                  <a16:creationId xmlns:a16="http://schemas.microsoft.com/office/drawing/2014/main" id="{D3CB3568-A838-41DD-30EC-3C7385E4B679}"/>
                </a:ext>
              </a:extLst>
            </p:cNvPr>
            <p:cNvSpPr/>
            <p:nvPr/>
          </p:nvSpPr>
          <p:spPr>
            <a:xfrm flipH="1">
              <a:off x="-10021356" y="2273509"/>
              <a:ext cx="99085" cy="99085"/>
            </a:xfrm>
            <a:custGeom>
              <a:avLst/>
              <a:gdLst>
                <a:gd name="connsiteX0" fmla="*/ 70871 w 99085"/>
                <a:gd name="connsiteY0" fmla="*/ 6471 h 99085"/>
                <a:gd name="connsiteX1" fmla="*/ 3160 w 99085"/>
                <a:gd name="connsiteY1" fmla="*/ 24406 h 99085"/>
                <a:gd name="connsiteX2" fmla="*/ 21084 w 99085"/>
                <a:gd name="connsiteY2" fmla="*/ 92124 h 99085"/>
                <a:gd name="connsiteX3" fmla="*/ 88795 w 99085"/>
                <a:gd name="connsiteY3" fmla="*/ 74189 h 99085"/>
                <a:gd name="connsiteX4" fmla="*/ 88831 w 99085"/>
                <a:gd name="connsiteY4" fmla="*/ 74145 h 99085"/>
                <a:gd name="connsiteX5" fmla="*/ 70871 w 99085"/>
                <a:gd name="connsiteY5" fmla="*/ 6471 h 9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85" h="99085">
                  <a:moveTo>
                    <a:pt x="70871" y="6471"/>
                  </a:moveTo>
                  <a:cubicBezTo>
                    <a:pt x="47235" y="-7276"/>
                    <a:pt x="16918" y="752"/>
                    <a:pt x="3160" y="24406"/>
                  </a:cubicBezTo>
                  <a:cubicBezTo>
                    <a:pt x="-10598" y="48060"/>
                    <a:pt x="-2552" y="78377"/>
                    <a:pt x="21084" y="92124"/>
                  </a:cubicBezTo>
                  <a:cubicBezTo>
                    <a:pt x="44756" y="105871"/>
                    <a:pt x="75073" y="97842"/>
                    <a:pt x="88795" y="74189"/>
                  </a:cubicBezTo>
                  <a:cubicBezTo>
                    <a:pt x="88831" y="74174"/>
                    <a:pt x="88831" y="74160"/>
                    <a:pt x="88831" y="74145"/>
                  </a:cubicBezTo>
                  <a:cubicBezTo>
                    <a:pt x="102552" y="50495"/>
                    <a:pt x="94506" y="20207"/>
                    <a:pt x="70871" y="6471"/>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30" name="Freeform: Shape 29">
              <a:extLst>
                <a:ext uri="{FF2B5EF4-FFF2-40B4-BE49-F238E27FC236}">
                  <a16:creationId xmlns:a16="http://schemas.microsoft.com/office/drawing/2014/main" id="{36245DFF-848B-62DA-CA0B-56B412F7D763}"/>
                </a:ext>
              </a:extLst>
            </p:cNvPr>
            <p:cNvSpPr/>
            <p:nvPr/>
          </p:nvSpPr>
          <p:spPr>
            <a:xfrm flipH="1">
              <a:off x="-14890272" y="3295665"/>
              <a:ext cx="993850" cy="841405"/>
            </a:xfrm>
            <a:custGeom>
              <a:avLst/>
              <a:gdLst>
                <a:gd name="connsiteX0" fmla="*/ 993851 w 993851"/>
                <a:gd name="connsiteY0" fmla="*/ 277774 h 841404"/>
                <a:gd name="connsiteX1" fmla="*/ 989109 w 993851"/>
                <a:gd name="connsiteY1" fmla="*/ 285964 h 841404"/>
                <a:gd name="connsiteX2" fmla="*/ 512731 w 993851"/>
                <a:gd name="connsiteY2" fmla="*/ 10956 h 841404"/>
                <a:gd name="connsiteX3" fmla="*/ 9447 w 993851"/>
                <a:gd name="connsiteY3" fmla="*/ 301517 h 841404"/>
                <a:gd name="connsiteX4" fmla="*/ 9447 w 993851"/>
                <a:gd name="connsiteY4" fmla="*/ 841404 h 841404"/>
                <a:gd name="connsiteX5" fmla="*/ 0 w 993851"/>
                <a:gd name="connsiteY5" fmla="*/ 841404 h 841404"/>
                <a:gd name="connsiteX6" fmla="*/ 0 w 993851"/>
                <a:gd name="connsiteY6" fmla="*/ 296058 h 841404"/>
                <a:gd name="connsiteX7" fmla="*/ 512731 w 993851"/>
                <a:gd name="connsiteY7" fmla="*/ 0 h 841404"/>
                <a:gd name="connsiteX8" fmla="*/ 993851 w 993851"/>
                <a:gd name="connsiteY8" fmla="*/ 277774 h 841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851" h="841404">
                  <a:moveTo>
                    <a:pt x="993851" y="277774"/>
                  </a:moveTo>
                  <a:lnTo>
                    <a:pt x="989109" y="285964"/>
                  </a:lnTo>
                  <a:lnTo>
                    <a:pt x="512731" y="10956"/>
                  </a:lnTo>
                  <a:lnTo>
                    <a:pt x="9447" y="301517"/>
                  </a:lnTo>
                  <a:lnTo>
                    <a:pt x="9447" y="841404"/>
                  </a:lnTo>
                  <a:lnTo>
                    <a:pt x="0" y="841404"/>
                  </a:lnTo>
                  <a:lnTo>
                    <a:pt x="0" y="296058"/>
                  </a:lnTo>
                  <a:lnTo>
                    <a:pt x="512731" y="0"/>
                  </a:lnTo>
                  <a:lnTo>
                    <a:pt x="993851" y="277774"/>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31" name="Freeform: Shape 30">
              <a:extLst>
                <a:ext uri="{FF2B5EF4-FFF2-40B4-BE49-F238E27FC236}">
                  <a16:creationId xmlns:a16="http://schemas.microsoft.com/office/drawing/2014/main" id="{F45110A0-D3B5-8E97-09AE-5C25FBF174D0}"/>
                </a:ext>
              </a:extLst>
            </p:cNvPr>
            <p:cNvSpPr/>
            <p:nvPr/>
          </p:nvSpPr>
          <p:spPr>
            <a:xfrm flipH="1">
              <a:off x="-13947393" y="4088469"/>
              <a:ext cx="92532" cy="92530"/>
            </a:xfrm>
            <a:custGeom>
              <a:avLst/>
              <a:gdLst>
                <a:gd name="connsiteX0" fmla="*/ 88972 w 92532"/>
                <a:gd name="connsiteY0" fmla="*/ 46056 h 92531"/>
                <a:gd name="connsiteX1" fmla="*/ 42670 w 92532"/>
                <a:gd name="connsiteY1" fmla="*/ 92286 h 92531"/>
                <a:gd name="connsiteX2" fmla="*/ -3560 w 92532"/>
                <a:gd name="connsiteY2" fmla="*/ 45984 h 92531"/>
                <a:gd name="connsiteX3" fmla="*/ 42705 w 92532"/>
                <a:gd name="connsiteY3" fmla="*/ -245 h 92531"/>
                <a:gd name="connsiteX4" fmla="*/ 88972 w 92532"/>
                <a:gd name="connsiteY4" fmla="*/ 46020 h 92531"/>
                <a:gd name="connsiteX5" fmla="*/ 88972 w 92532"/>
                <a:gd name="connsiteY5" fmla="*/ 46056 h 9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532" h="92531">
                  <a:moveTo>
                    <a:pt x="88972" y="46056"/>
                  </a:moveTo>
                  <a:cubicBezTo>
                    <a:pt x="88935" y="71596"/>
                    <a:pt x="68209" y="92322"/>
                    <a:pt x="42670" y="92286"/>
                  </a:cubicBezTo>
                  <a:cubicBezTo>
                    <a:pt x="17131" y="92250"/>
                    <a:pt x="-3595" y="71524"/>
                    <a:pt x="-3560" y="45984"/>
                  </a:cubicBezTo>
                  <a:cubicBezTo>
                    <a:pt x="-3523" y="20444"/>
                    <a:pt x="17166" y="-245"/>
                    <a:pt x="42705" y="-245"/>
                  </a:cubicBezTo>
                  <a:cubicBezTo>
                    <a:pt x="68246" y="-245"/>
                    <a:pt x="88972" y="20480"/>
                    <a:pt x="88972" y="46020"/>
                  </a:cubicBezTo>
                  <a:cubicBezTo>
                    <a:pt x="88972" y="46020"/>
                    <a:pt x="88972" y="46056"/>
                    <a:pt x="88972" y="46056"/>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32" name="Freeform: Shape 31">
              <a:extLst>
                <a:ext uri="{FF2B5EF4-FFF2-40B4-BE49-F238E27FC236}">
                  <a16:creationId xmlns:a16="http://schemas.microsoft.com/office/drawing/2014/main" id="{F99E6717-83F9-EEEB-6829-7340410E56D4}"/>
                </a:ext>
              </a:extLst>
            </p:cNvPr>
            <p:cNvSpPr/>
            <p:nvPr/>
          </p:nvSpPr>
          <p:spPr>
            <a:xfrm flipH="1">
              <a:off x="-14921930" y="3541018"/>
              <a:ext cx="71207" cy="71200"/>
            </a:xfrm>
            <a:custGeom>
              <a:avLst/>
              <a:gdLst>
                <a:gd name="connsiteX0" fmla="*/ 14257 w 71207"/>
                <a:gd name="connsiteY0" fmla="*/ 66193 h 71200"/>
                <a:gd name="connsiteX1" fmla="*/ 62894 w 71207"/>
                <a:gd name="connsiteY1" fmla="*/ 53153 h 71200"/>
                <a:gd name="connsiteX2" fmla="*/ 49818 w 71207"/>
                <a:gd name="connsiteY2" fmla="*/ 4517 h 71200"/>
                <a:gd name="connsiteX3" fmla="*/ 1219 w 71207"/>
                <a:gd name="connsiteY3" fmla="*/ 17556 h 71200"/>
                <a:gd name="connsiteX4" fmla="*/ 14257 w 71207"/>
                <a:gd name="connsiteY4" fmla="*/ 66193 h 71200"/>
                <a:gd name="connsiteX5" fmla="*/ 14257 w 71207"/>
                <a:gd name="connsiteY5" fmla="*/ 66193 h 7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207" h="71200">
                  <a:moveTo>
                    <a:pt x="14257" y="66193"/>
                  </a:moveTo>
                  <a:cubicBezTo>
                    <a:pt x="31283" y="75999"/>
                    <a:pt x="53051" y="70180"/>
                    <a:pt x="62894" y="53153"/>
                  </a:cubicBezTo>
                  <a:cubicBezTo>
                    <a:pt x="72700" y="36127"/>
                    <a:pt x="66844" y="14359"/>
                    <a:pt x="49818" y="4517"/>
                  </a:cubicBezTo>
                  <a:cubicBezTo>
                    <a:pt x="32791" y="-5290"/>
                    <a:pt x="11060" y="530"/>
                    <a:pt x="1219" y="17556"/>
                  </a:cubicBezTo>
                  <a:cubicBezTo>
                    <a:pt x="-8624" y="34582"/>
                    <a:pt x="-2770" y="56350"/>
                    <a:pt x="14257" y="66193"/>
                  </a:cubicBezTo>
                  <a:cubicBezTo>
                    <a:pt x="14257" y="66193"/>
                    <a:pt x="14257" y="66193"/>
                    <a:pt x="14257" y="66193"/>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33" name="Freeform: Shape 32">
              <a:extLst>
                <a:ext uri="{FF2B5EF4-FFF2-40B4-BE49-F238E27FC236}">
                  <a16:creationId xmlns:a16="http://schemas.microsoft.com/office/drawing/2014/main" id="{380EA2AB-98AF-F139-8DB0-AE82216E9D0E}"/>
                </a:ext>
              </a:extLst>
            </p:cNvPr>
            <p:cNvSpPr/>
            <p:nvPr/>
          </p:nvSpPr>
          <p:spPr>
            <a:xfrm flipH="1">
              <a:off x="-14899034" y="4335422"/>
              <a:ext cx="968058" cy="291063"/>
            </a:xfrm>
            <a:custGeom>
              <a:avLst/>
              <a:gdLst>
                <a:gd name="connsiteX0" fmla="*/ 968060 w 968059"/>
                <a:gd name="connsiteY0" fmla="*/ 8226 h 291064"/>
                <a:gd name="connsiteX1" fmla="*/ 478175 w 968059"/>
                <a:gd name="connsiteY1" fmla="*/ 291065 h 291064"/>
                <a:gd name="connsiteX2" fmla="*/ 0 w 968059"/>
                <a:gd name="connsiteY2" fmla="*/ 14979 h 291064"/>
                <a:gd name="connsiteX3" fmla="*/ 4742 w 968059"/>
                <a:gd name="connsiteY3" fmla="*/ 6789 h 291064"/>
                <a:gd name="connsiteX4" fmla="*/ 478175 w 968059"/>
                <a:gd name="connsiteY4" fmla="*/ 280109 h 291064"/>
                <a:gd name="connsiteX5" fmla="*/ 963319 w 968059"/>
                <a:gd name="connsiteY5" fmla="*/ 0 h 291064"/>
                <a:gd name="connsiteX6" fmla="*/ 968060 w 968059"/>
                <a:gd name="connsiteY6" fmla="*/ 8226 h 29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059" h="291064">
                  <a:moveTo>
                    <a:pt x="968060" y="8226"/>
                  </a:moveTo>
                  <a:lnTo>
                    <a:pt x="478175" y="291065"/>
                  </a:lnTo>
                  <a:lnTo>
                    <a:pt x="0" y="14979"/>
                  </a:lnTo>
                  <a:lnTo>
                    <a:pt x="4742" y="6789"/>
                  </a:lnTo>
                  <a:lnTo>
                    <a:pt x="478175" y="280109"/>
                  </a:lnTo>
                  <a:lnTo>
                    <a:pt x="963319" y="0"/>
                  </a:lnTo>
                  <a:lnTo>
                    <a:pt x="968060" y="8226"/>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34" name="Freeform: Shape 33">
              <a:extLst>
                <a:ext uri="{FF2B5EF4-FFF2-40B4-BE49-F238E27FC236}">
                  <a16:creationId xmlns:a16="http://schemas.microsoft.com/office/drawing/2014/main" id="{CF407267-60E8-6634-1AB2-FF22EC717D0C}"/>
                </a:ext>
              </a:extLst>
            </p:cNvPr>
            <p:cNvSpPr/>
            <p:nvPr/>
          </p:nvSpPr>
          <p:spPr>
            <a:xfrm flipH="1">
              <a:off x="-14920526" y="4315226"/>
              <a:ext cx="49877" cy="49877"/>
            </a:xfrm>
            <a:custGeom>
              <a:avLst/>
              <a:gdLst>
                <a:gd name="connsiteX0" fmla="*/ 8914 w 49877"/>
                <a:gd name="connsiteY0" fmla="*/ 3105 h 49877"/>
                <a:gd name="connsiteX1" fmla="*/ 42967 w 49877"/>
                <a:gd name="connsiteY1" fmla="*/ 12229 h 49877"/>
                <a:gd name="connsiteX2" fmla="*/ 33843 w 49877"/>
                <a:gd name="connsiteY2" fmla="*/ 46282 h 49877"/>
                <a:gd name="connsiteX3" fmla="*/ -210 w 49877"/>
                <a:gd name="connsiteY3" fmla="*/ 37158 h 49877"/>
                <a:gd name="connsiteX4" fmla="*/ -210 w 49877"/>
                <a:gd name="connsiteY4" fmla="*/ 37158 h 49877"/>
                <a:gd name="connsiteX5" fmla="*/ 8914 w 49877"/>
                <a:gd name="connsiteY5" fmla="*/ 3105 h 4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77" h="49877">
                  <a:moveTo>
                    <a:pt x="8914" y="3105"/>
                  </a:moveTo>
                  <a:cubicBezTo>
                    <a:pt x="20839" y="-3792"/>
                    <a:pt x="36070" y="303"/>
                    <a:pt x="42967" y="12229"/>
                  </a:cubicBezTo>
                  <a:cubicBezTo>
                    <a:pt x="49863" y="24154"/>
                    <a:pt x="45768" y="39385"/>
                    <a:pt x="33843" y="46282"/>
                  </a:cubicBezTo>
                  <a:cubicBezTo>
                    <a:pt x="21916" y="53179"/>
                    <a:pt x="6687" y="49084"/>
                    <a:pt x="-210" y="37158"/>
                  </a:cubicBezTo>
                  <a:cubicBezTo>
                    <a:pt x="-210" y="37158"/>
                    <a:pt x="-210" y="37158"/>
                    <a:pt x="-210" y="37158"/>
                  </a:cubicBezTo>
                  <a:cubicBezTo>
                    <a:pt x="-7106" y="25232"/>
                    <a:pt x="-3012" y="10002"/>
                    <a:pt x="8914" y="3105"/>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35" name="Freeform: Shape 34">
              <a:extLst>
                <a:ext uri="{FF2B5EF4-FFF2-40B4-BE49-F238E27FC236}">
                  <a16:creationId xmlns:a16="http://schemas.microsoft.com/office/drawing/2014/main" id="{DE386AEA-DB0B-A4D0-BE65-B328BF0846A7}"/>
                </a:ext>
              </a:extLst>
            </p:cNvPr>
            <p:cNvSpPr/>
            <p:nvPr/>
          </p:nvSpPr>
          <p:spPr>
            <a:xfrm flipH="1">
              <a:off x="-13974229" y="4308127"/>
              <a:ext cx="78326" cy="78318"/>
            </a:xfrm>
            <a:custGeom>
              <a:avLst/>
              <a:gdLst>
                <a:gd name="connsiteX0" fmla="*/ 55149 w 78325"/>
                <a:gd name="connsiteY0" fmla="*/ 4995 h 78318"/>
                <a:gd name="connsiteX1" fmla="*/ 1663 w 78325"/>
                <a:gd name="connsiteY1" fmla="*/ 19363 h 78318"/>
                <a:gd name="connsiteX2" fmla="*/ 16068 w 78325"/>
                <a:gd name="connsiteY2" fmla="*/ 72849 h 78318"/>
                <a:gd name="connsiteX3" fmla="*/ 69517 w 78325"/>
                <a:gd name="connsiteY3" fmla="*/ 58481 h 78318"/>
                <a:gd name="connsiteX4" fmla="*/ 55149 w 78325"/>
                <a:gd name="connsiteY4" fmla="*/ 4995 h 78318"/>
                <a:gd name="connsiteX5" fmla="*/ 55149 w 78325"/>
                <a:gd name="connsiteY5" fmla="*/ 4995 h 7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325" h="78318">
                  <a:moveTo>
                    <a:pt x="55149" y="4995"/>
                  </a:moveTo>
                  <a:cubicBezTo>
                    <a:pt x="36399" y="-5817"/>
                    <a:pt x="12476" y="648"/>
                    <a:pt x="1663" y="19363"/>
                  </a:cubicBezTo>
                  <a:cubicBezTo>
                    <a:pt x="-9114" y="38113"/>
                    <a:pt x="-2684" y="62037"/>
                    <a:pt x="16068" y="72849"/>
                  </a:cubicBezTo>
                  <a:cubicBezTo>
                    <a:pt x="34782" y="83625"/>
                    <a:pt x="58706" y="77195"/>
                    <a:pt x="69517" y="58481"/>
                  </a:cubicBezTo>
                  <a:cubicBezTo>
                    <a:pt x="80330" y="39766"/>
                    <a:pt x="73900" y="15807"/>
                    <a:pt x="55149" y="4995"/>
                  </a:cubicBezTo>
                  <a:cubicBezTo>
                    <a:pt x="55149" y="4995"/>
                    <a:pt x="55149" y="4995"/>
                    <a:pt x="55149" y="4995"/>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36" name="Freeform: Shape 35">
              <a:extLst>
                <a:ext uri="{FF2B5EF4-FFF2-40B4-BE49-F238E27FC236}">
                  <a16:creationId xmlns:a16="http://schemas.microsoft.com/office/drawing/2014/main" id="{FEAC0477-318C-D0FE-4246-6B3FF2287436}"/>
                </a:ext>
              </a:extLst>
            </p:cNvPr>
            <p:cNvSpPr/>
            <p:nvPr/>
          </p:nvSpPr>
          <p:spPr>
            <a:xfrm flipH="1">
              <a:off x="-15036972" y="3677034"/>
              <a:ext cx="9484" cy="508815"/>
            </a:xfrm>
            <a:custGeom>
              <a:avLst/>
              <a:gdLst>
                <a:gd name="connsiteX0" fmla="*/ 0 w 9483"/>
                <a:gd name="connsiteY0" fmla="*/ 0 h 508815"/>
                <a:gd name="connsiteX1" fmla="*/ 9483 w 9483"/>
                <a:gd name="connsiteY1" fmla="*/ 0 h 508815"/>
                <a:gd name="connsiteX2" fmla="*/ 9483 w 9483"/>
                <a:gd name="connsiteY2" fmla="*/ 508815 h 508815"/>
                <a:gd name="connsiteX3" fmla="*/ 0 w 9483"/>
                <a:gd name="connsiteY3" fmla="*/ 508815 h 508815"/>
              </a:gdLst>
              <a:ahLst/>
              <a:cxnLst>
                <a:cxn ang="0">
                  <a:pos x="connsiteX0" y="connsiteY0"/>
                </a:cxn>
                <a:cxn ang="0">
                  <a:pos x="connsiteX1" y="connsiteY1"/>
                </a:cxn>
                <a:cxn ang="0">
                  <a:pos x="connsiteX2" y="connsiteY2"/>
                </a:cxn>
                <a:cxn ang="0">
                  <a:pos x="connsiteX3" y="connsiteY3"/>
                </a:cxn>
              </a:cxnLst>
              <a:rect l="l" t="t" r="r" b="b"/>
              <a:pathLst>
                <a:path w="9483" h="508815">
                  <a:moveTo>
                    <a:pt x="0" y="0"/>
                  </a:moveTo>
                  <a:lnTo>
                    <a:pt x="9483" y="0"/>
                  </a:lnTo>
                  <a:lnTo>
                    <a:pt x="9483" y="508815"/>
                  </a:lnTo>
                  <a:lnTo>
                    <a:pt x="0" y="508815"/>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37" name="Freeform: Shape 36">
              <a:extLst>
                <a:ext uri="{FF2B5EF4-FFF2-40B4-BE49-F238E27FC236}">
                  <a16:creationId xmlns:a16="http://schemas.microsoft.com/office/drawing/2014/main" id="{02D1A7CF-F681-E0E5-B387-96D4204F988A}"/>
                </a:ext>
              </a:extLst>
            </p:cNvPr>
            <p:cNvSpPr/>
            <p:nvPr/>
          </p:nvSpPr>
          <p:spPr>
            <a:xfrm flipH="1">
              <a:off x="-15078531" y="3633033"/>
              <a:ext cx="92605" cy="92603"/>
            </a:xfrm>
            <a:custGeom>
              <a:avLst/>
              <a:gdLst>
                <a:gd name="connsiteX0" fmla="*/ -3560 w 92604"/>
                <a:gd name="connsiteY0" fmla="*/ 46056 h 92603"/>
                <a:gd name="connsiteX1" fmla="*/ 42742 w 92604"/>
                <a:gd name="connsiteY1" fmla="*/ -245 h 92603"/>
                <a:gd name="connsiteX2" fmla="*/ 89044 w 92604"/>
                <a:gd name="connsiteY2" fmla="*/ 46056 h 92603"/>
                <a:gd name="connsiteX3" fmla="*/ 42742 w 92604"/>
                <a:gd name="connsiteY3" fmla="*/ 92358 h 92603"/>
                <a:gd name="connsiteX4" fmla="*/ 42707 w 92604"/>
                <a:gd name="connsiteY4" fmla="*/ 92358 h 92603"/>
                <a:gd name="connsiteX5" fmla="*/ -3560 w 92604"/>
                <a:gd name="connsiteY5" fmla="*/ 46092 h 92603"/>
                <a:gd name="connsiteX6" fmla="*/ -3560 w 92604"/>
                <a:gd name="connsiteY6" fmla="*/ 46056 h 9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604" h="92603">
                  <a:moveTo>
                    <a:pt x="-3560" y="46056"/>
                  </a:moveTo>
                  <a:cubicBezTo>
                    <a:pt x="-3560" y="20481"/>
                    <a:pt x="17166" y="-245"/>
                    <a:pt x="42742" y="-245"/>
                  </a:cubicBezTo>
                  <a:cubicBezTo>
                    <a:pt x="68318" y="-245"/>
                    <a:pt x="89044" y="20481"/>
                    <a:pt x="89044" y="46056"/>
                  </a:cubicBezTo>
                  <a:cubicBezTo>
                    <a:pt x="89044" y="71632"/>
                    <a:pt x="68318" y="92358"/>
                    <a:pt x="42742" y="92358"/>
                  </a:cubicBezTo>
                  <a:cubicBezTo>
                    <a:pt x="42742" y="92358"/>
                    <a:pt x="42707" y="92358"/>
                    <a:pt x="42707" y="92358"/>
                  </a:cubicBezTo>
                  <a:cubicBezTo>
                    <a:pt x="17166" y="92358"/>
                    <a:pt x="-3560" y="71632"/>
                    <a:pt x="-3560" y="46092"/>
                  </a:cubicBezTo>
                  <a:cubicBezTo>
                    <a:pt x="-3560" y="46092"/>
                    <a:pt x="-3560" y="46056"/>
                    <a:pt x="-3560" y="46056"/>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38" name="Freeform: Shape 37">
              <a:extLst>
                <a:ext uri="{FF2B5EF4-FFF2-40B4-BE49-F238E27FC236}">
                  <a16:creationId xmlns:a16="http://schemas.microsoft.com/office/drawing/2014/main" id="{07906F44-8A19-796C-ABA6-D74E673D90BD}"/>
                </a:ext>
              </a:extLst>
            </p:cNvPr>
            <p:cNvSpPr/>
            <p:nvPr/>
          </p:nvSpPr>
          <p:spPr>
            <a:xfrm flipH="1">
              <a:off x="-15067789" y="4148492"/>
              <a:ext cx="71192" cy="71194"/>
            </a:xfrm>
            <a:custGeom>
              <a:avLst/>
              <a:gdLst>
                <a:gd name="connsiteX0" fmla="*/ -3560 w 71193"/>
                <a:gd name="connsiteY0" fmla="*/ 35352 h 71194"/>
                <a:gd name="connsiteX1" fmla="*/ 32038 w 71193"/>
                <a:gd name="connsiteY1" fmla="*/ 70949 h 71194"/>
                <a:gd name="connsiteX2" fmla="*/ 67634 w 71193"/>
                <a:gd name="connsiteY2" fmla="*/ 35352 h 71194"/>
                <a:gd name="connsiteX3" fmla="*/ 32038 w 71193"/>
                <a:gd name="connsiteY3" fmla="*/ -245 h 71194"/>
                <a:gd name="connsiteX4" fmla="*/ -3560 w 71193"/>
                <a:gd name="connsiteY4" fmla="*/ 35352 h 71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93" h="71194">
                  <a:moveTo>
                    <a:pt x="-3560" y="35352"/>
                  </a:moveTo>
                  <a:cubicBezTo>
                    <a:pt x="-3560" y="55000"/>
                    <a:pt x="12388" y="70949"/>
                    <a:pt x="32038" y="70949"/>
                  </a:cubicBezTo>
                  <a:cubicBezTo>
                    <a:pt x="51685" y="70949"/>
                    <a:pt x="67634" y="55000"/>
                    <a:pt x="67634" y="35352"/>
                  </a:cubicBezTo>
                  <a:cubicBezTo>
                    <a:pt x="67634" y="15703"/>
                    <a:pt x="51685" y="-245"/>
                    <a:pt x="32038" y="-245"/>
                  </a:cubicBezTo>
                  <a:cubicBezTo>
                    <a:pt x="12388" y="-245"/>
                    <a:pt x="-3560" y="15703"/>
                    <a:pt x="-3560" y="35352"/>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39" name="Freeform: Shape 38">
              <a:extLst>
                <a:ext uri="{FF2B5EF4-FFF2-40B4-BE49-F238E27FC236}">
                  <a16:creationId xmlns:a16="http://schemas.microsoft.com/office/drawing/2014/main" id="{6841B592-3C8A-AA35-BC2E-2F3F57CEA57E}"/>
                </a:ext>
              </a:extLst>
            </p:cNvPr>
            <p:cNvSpPr/>
            <p:nvPr/>
          </p:nvSpPr>
          <p:spPr>
            <a:xfrm flipH="1">
              <a:off x="-14416551" y="1311807"/>
              <a:ext cx="525913" cy="916693"/>
            </a:xfrm>
            <a:custGeom>
              <a:avLst/>
              <a:gdLst>
                <a:gd name="connsiteX0" fmla="*/ 525914 w 525913"/>
                <a:gd name="connsiteY0" fmla="*/ 907821 h 916693"/>
                <a:gd name="connsiteX1" fmla="*/ 520813 w 525913"/>
                <a:gd name="connsiteY1" fmla="*/ 916694 h 916693"/>
                <a:gd name="connsiteX2" fmla="*/ 0 w 525913"/>
                <a:gd name="connsiteY2" fmla="*/ 616002 h 916693"/>
                <a:gd name="connsiteX3" fmla="*/ 0 w 525913"/>
                <a:gd name="connsiteY3" fmla="*/ 0 h 916693"/>
                <a:gd name="connsiteX4" fmla="*/ 10237 w 525913"/>
                <a:gd name="connsiteY4" fmla="*/ 0 h 916693"/>
                <a:gd name="connsiteX5" fmla="*/ 10237 w 525913"/>
                <a:gd name="connsiteY5" fmla="*/ 610111 h 916693"/>
                <a:gd name="connsiteX6" fmla="*/ 525914 w 525913"/>
                <a:gd name="connsiteY6" fmla="*/ 907821 h 91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913" h="916693">
                  <a:moveTo>
                    <a:pt x="525914" y="907821"/>
                  </a:moveTo>
                  <a:lnTo>
                    <a:pt x="520813" y="916694"/>
                  </a:lnTo>
                  <a:lnTo>
                    <a:pt x="0" y="616002"/>
                  </a:lnTo>
                  <a:lnTo>
                    <a:pt x="0" y="0"/>
                  </a:lnTo>
                  <a:lnTo>
                    <a:pt x="10237" y="0"/>
                  </a:lnTo>
                  <a:lnTo>
                    <a:pt x="10237" y="610111"/>
                  </a:lnTo>
                  <a:lnTo>
                    <a:pt x="525914" y="907821"/>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40" name="Freeform: Shape 39">
              <a:extLst>
                <a:ext uri="{FF2B5EF4-FFF2-40B4-BE49-F238E27FC236}">
                  <a16:creationId xmlns:a16="http://schemas.microsoft.com/office/drawing/2014/main" id="{45B71AF2-B085-E488-E760-57A3F16DB070}"/>
                </a:ext>
              </a:extLst>
            </p:cNvPr>
            <p:cNvSpPr/>
            <p:nvPr/>
          </p:nvSpPr>
          <p:spPr>
            <a:xfrm flipH="1">
              <a:off x="-14450880" y="2184535"/>
              <a:ext cx="77099" cy="77097"/>
            </a:xfrm>
            <a:custGeom>
              <a:avLst/>
              <a:gdLst>
                <a:gd name="connsiteX0" fmla="*/ 54261 w 77099"/>
                <a:gd name="connsiteY0" fmla="*/ 4927 h 77098"/>
                <a:gd name="connsiteX1" fmla="*/ 68379 w 77099"/>
                <a:gd name="connsiteY1" fmla="*/ 57579 h 77098"/>
                <a:gd name="connsiteX2" fmla="*/ 15718 w 77099"/>
                <a:gd name="connsiteY2" fmla="*/ 71682 h 77098"/>
                <a:gd name="connsiteX3" fmla="*/ 1601 w 77099"/>
                <a:gd name="connsiteY3" fmla="*/ 19044 h 77098"/>
                <a:gd name="connsiteX4" fmla="*/ 54261 w 77099"/>
                <a:gd name="connsiteY4" fmla="*/ 4920 h 77098"/>
                <a:gd name="connsiteX5" fmla="*/ 54261 w 77099"/>
                <a:gd name="connsiteY5" fmla="*/ 4927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9" h="77098">
                  <a:moveTo>
                    <a:pt x="54261" y="4927"/>
                  </a:moveTo>
                  <a:cubicBezTo>
                    <a:pt x="72688" y="15570"/>
                    <a:pt x="79011" y="39145"/>
                    <a:pt x="68379" y="57579"/>
                  </a:cubicBezTo>
                  <a:cubicBezTo>
                    <a:pt x="57709" y="76014"/>
                    <a:pt x="34145" y="82325"/>
                    <a:pt x="15718" y="71682"/>
                  </a:cubicBezTo>
                  <a:cubicBezTo>
                    <a:pt x="-2708" y="61038"/>
                    <a:pt x="-9031" y="37478"/>
                    <a:pt x="1601" y="19044"/>
                  </a:cubicBezTo>
                  <a:cubicBezTo>
                    <a:pt x="12233" y="606"/>
                    <a:pt x="35797" y="-5720"/>
                    <a:pt x="54261" y="4920"/>
                  </a:cubicBezTo>
                  <a:cubicBezTo>
                    <a:pt x="54261" y="4923"/>
                    <a:pt x="54261" y="4923"/>
                    <a:pt x="54261" y="4927"/>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41" name="Freeform: Shape 40">
              <a:extLst>
                <a:ext uri="{FF2B5EF4-FFF2-40B4-BE49-F238E27FC236}">
                  <a16:creationId xmlns:a16="http://schemas.microsoft.com/office/drawing/2014/main" id="{B6684663-FA15-226F-AE6E-27EC67498A44}"/>
                </a:ext>
              </a:extLst>
            </p:cNvPr>
            <p:cNvSpPr/>
            <p:nvPr/>
          </p:nvSpPr>
          <p:spPr>
            <a:xfrm flipH="1">
              <a:off x="-13918873" y="1289822"/>
              <a:ext cx="46267" cy="46264"/>
            </a:xfrm>
            <a:custGeom>
              <a:avLst/>
              <a:gdLst>
                <a:gd name="connsiteX0" fmla="*/ 42707 w 46267"/>
                <a:gd name="connsiteY0" fmla="*/ 22887 h 46265"/>
                <a:gd name="connsiteX1" fmla="*/ 19572 w 46267"/>
                <a:gd name="connsiteY1" fmla="*/ -245 h 46265"/>
                <a:gd name="connsiteX2" fmla="*/ -3560 w 46267"/>
                <a:gd name="connsiteY2" fmla="*/ 22887 h 46265"/>
                <a:gd name="connsiteX3" fmla="*/ 19572 w 46267"/>
                <a:gd name="connsiteY3" fmla="*/ 46020 h 46265"/>
                <a:gd name="connsiteX4" fmla="*/ 42707 w 46267"/>
                <a:gd name="connsiteY4" fmla="*/ 22887 h 4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67" h="46265">
                  <a:moveTo>
                    <a:pt x="42707" y="22887"/>
                  </a:moveTo>
                  <a:cubicBezTo>
                    <a:pt x="42707" y="10110"/>
                    <a:pt x="32360" y="-245"/>
                    <a:pt x="19572" y="-245"/>
                  </a:cubicBezTo>
                  <a:cubicBezTo>
                    <a:pt x="6786" y="-245"/>
                    <a:pt x="-3560" y="10110"/>
                    <a:pt x="-3560" y="22887"/>
                  </a:cubicBezTo>
                  <a:cubicBezTo>
                    <a:pt x="-3560" y="35664"/>
                    <a:pt x="6786" y="46020"/>
                    <a:pt x="19572" y="46020"/>
                  </a:cubicBezTo>
                  <a:cubicBezTo>
                    <a:pt x="32360" y="46020"/>
                    <a:pt x="42707" y="35664"/>
                    <a:pt x="42707" y="22887"/>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42" name="Freeform: Shape 41">
              <a:extLst>
                <a:ext uri="{FF2B5EF4-FFF2-40B4-BE49-F238E27FC236}">
                  <a16:creationId xmlns:a16="http://schemas.microsoft.com/office/drawing/2014/main" id="{70A6F8FE-78A2-15AD-3B03-4F281E6541DA}"/>
                </a:ext>
              </a:extLst>
            </p:cNvPr>
            <p:cNvSpPr/>
            <p:nvPr/>
          </p:nvSpPr>
          <p:spPr>
            <a:xfrm flipH="1">
              <a:off x="-14722810" y="2361443"/>
              <a:ext cx="557667" cy="1120182"/>
            </a:xfrm>
            <a:custGeom>
              <a:avLst/>
              <a:gdLst>
                <a:gd name="connsiteX0" fmla="*/ 557667 w 557667"/>
                <a:gd name="connsiteY0" fmla="*/ 318975 h 1120183"/>
                <a:gd name="connsiteX1" fmla="*/ 557667 w 557667"/>
                <a:gd name="connsiteY1" fmla="*/ 959942 h 1120183"/>
                <a:gd name="connsiteX2" fmla="*/ 280109 w 557667"/>
                <a:gd name="connsiteY2" fmla="*/ 1120184 h 1120183"/>
                <a:gd name="connsiteX3" fmla="*/ 274972 w 557667"/>
                <a:gd name="connsiteY3" fmla="*/ 1111276 h 1120183"/>
                <a:gd name="connsiteX4" fmla="*/ 547394 w 557667"/>
                <a:gd name="connsiteY4" fmla="*/ 954015 h 1120183"/>
                <a:gd name="connsiteX5" fmla="*/ 547394 w 557667"/>
                <a:gd name="connsiteY5" fmla="*/ 324902 h 1120183"/>
                <a:gd name="connsiteX6" fmla="*/ 0 w 557667"/>
                <a:gd name="connsiteY6" fmla="*/ 8872 h 1120183"/>
                <a:gd name="connsiteX7" fmla="*/ 5136 w 557667"/>
                <a:gd name="connsiteY7" fmla="*/ 0 h 1120183"/>
                <a:gd name="connsiteX8" fmla="*/ 557667 w 557667"/>
                <a:gd name="connsiteY8" fmla="*/ 318975 h 112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67" h="1120183">
                  <a:moveTo>
                    <a:pt x="557667" y="318975"/>
                  </a:moveTo>
                  <a:lnTo>
                    <a:pt x="557667" y="959942"/>
                  </a:lnTo>
                  <a:lnTo>
                    <a:pt x="280109" y="1120184"/>
                  </a:lnTo>
                  <a:lnTo>
                    <a:pt x="274972" y="1111276"/>
                  </a:lnTo>
                  <a:lnTo>
                    <a:pt x="547394" y="954015"/>
                  </a:lnTo>
                  <a:lnTo>
                    <a:pt x="547394" y="324902"/>
                  </a:lnTo>
                  <a:lnTo>
                    <a:pt x="0" y="8872"/>
                  </a:lnTo>
                  <a:lnTo>
                    <a:pt x="5136" y="0"/>
                  </a:lnTo>
                  <a:lnTo>
                    <a:pt x="557667" y="318975"/>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43" name="Freeform: Shape 42">
              <a:extLst>
                <a:ext uri="{FF2B5EF4-FFF2-40B4-BE49-F238E27FC236}">
                  <a16:creationId xmlns:a16="http://schemas.microsoft.com/office/drawing/2014/main" id="{B1B840A5-CA77-33EA-6044-BBF82DAD3560}"/>
                </a:ext>
              </a:extLst>
            </p:cNvPr>
            <p:cNvSpPr/>
            <p:nvPr/>
          </p:nvSpPr>
          <p:spPr>
            <a:xfrm flipH="1">
              <a:off x="-11007399" y="201824"/>
              <a:ext cx="525949" cy="1236817"/>
            </a:xfrm>
            <a:custGeom>
              <a:avLst/>
              <a:gdLst>
                <a:gd name="connsiteX0" fmla="*/ 525949 w 525949"/>
                <a:gd name="connsiteY0" fmla="*/ 300691 h 1236817"/>
                <a:gd name="connsiteX1" fmla="*/ 525949 w 525949"/>
                <a:gd name="connsiteY1" fmla="*/ 941623 h 1236817"/>
                <a:gd name="connsiteX2" fmla="*/ 14656 w 525949"/>
                <a:gd name="connsiteY2" fmla="*/ 1236818 h 1236817"/>
                <a:gd name="connsiteX3" fmla="*/ 9519 w 525949"/>
                <a:gd name="connsiteY3" fmla="*/ 1227946 h 1236817"/>
                <a:gd name="connsiteX4" fmla="*/ 515676 w 525949"/>
                <a:gd name="connsiteY4" fmla="*/ 935696 h 1236817"/>
                <a:gd name="connsiteX5" fmla="*/ 515676 w 525949"/>
                <a:gd name="connsiteY5" fmla="*/ 306582 h 1236817"/>
                <a:gd name="connsiteX6" fmla="*/ 0 w 525949"/>
                <a:gd name="connsiteY6" fmla="*/ 8872 h 1236817"/>
                <a:gd name="connsiteX7" fmla="*/ 5137 w 525949"/>
                <a:gd name="connsiteY7" fmla="*/ 0 h 1236817"/>
                <a:gd name="connsiteX8" fmla="*/ 525949 w 525949"/>
                <a:gd name="connsiteY8" fmla="*/ 300691 h 123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949" h="1236817">
                  <a:moveTo>
                    <a:pt x="525949" y="300691"/>
                  </a:moveTo>
                  <a:lnTo>
                    <a:pt x="525949" y="941623"/>
                  </a:lnTo>
                  <a:lnTo>
                    <a:pt x="14656" y="1236818"/>
                  </a:lnTo>
                  <a:lnTo>
                    <a:pt x="9519" y="1227946"/>
                  </a:lnTo>
                  <a:lnTo>
                    <a:pt x="515676" y="935696"/>
                  </a:lnTo>
                  <a:lnTo>
                    <a:pt x="515676" y="306582"/>
                  </a:lnTo>
                  <a:lnTo>
                    <a:pt x="0" y="8872"/>
                  </a:lnTo>
                  <a:lnTo>
                    <a:pt x="5137" y="0"/>
                  </a:lnTo>
                  <a:lnTo>
                    <a:pt x="525949" y="300691"/>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44" name="Freeform: Shape 43">
              <a:extLst>
                <a:ext uri="{FF2B5EF4-FFF2-40B4-BE49-F238E27FC236}">
                  <a16:creationId xmlns:a16="http://schemas.microsoft.com/office/drawing/2014/main" id="{B280C3C2-423D-4A0C-8D0F-245E6E590C64}"/>
                </a:ext>
              </a:extLst>
            </p:cNvPr>
            <p:cNvSpPr/>
            <p:nvPr/>
          </p:nvSpPr>
          <p:spPr>
            <a:xfrm flipH="1">
              <a:off x="-10524221" y="168656"/>
              <a:ext cx="77099" cy="77097"/>
            </a:xfrm>
            <a:custGeom>
              <a:avLst/>
              <a:gdLst>
                <a:gd name="connsiteX0" fmla="*/ 15719 w 77099"/>
                <a:gd name="connsiteY0" fmla="*/ 71681 h 77098"/>
                <a:gd name="connsiteX1" fmla="*/ 1601 w 77099"/>
                <a:gd name="connsiteY1" fmla="*/ 19028 h 77098"/>
                <a:gd name="connsiteX2" fmla="*/ 54261 w 77099"/>
                <a:gd name="connsiteY2" fmla="*/ 4926 h 77098"/>
                <a:gd name="connsiteX3" fmla="*/ 68378 w 77099"/>
                <a:gd name="connsiteY3" fmla="*/ 57564 h 77098"/>
                <a:gd name="connsiteX4" fmla="*/ 15719 w 77099"/>
                <a:gd name="connsiteY4" fmla="*/ 71688 h 77098"/>
                <a:gd name="connsiteX5" fmla="*/ 15719 w 77099"/>
                <a:gd name="connsiteY5" fmla="*/ 71681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9" h="77098">
                  <a:moveTo>
                    <a:pt x="15719" y="71681"/>
                  </a:moveTo>
                  <a:cubicBezTo>
                    <a:pt x="-2709" y="61038"/>
                    <a:pt x="-9031" y="37463"/>
                    <a:pt x="1601" y="19028"/>
                  </a:cubicBezTo>
                  <a:cubicBezTo>
                    <a:pt x="12269" y="594"/>
                    <a:pt x="35834" y="-5717"/>
                    <a:pt x="54261" y="4926"/>
                  </a:cubicBezTo>
                  <a:cubicBezTo>
                    <a:pt x="72688" y="15569"/>
                    <a:pt x="79010" y="39130"/>
                    <a:pt x="68378" y="57564"/>
                  </a:cubicBezTo>
                  <a:cubicBezTo>
                    <a:pt x="57746" y="76002"/>
                    <a:pt x="34181" y="82328"/>
                    <a:pt x="15719" y="71688"/>
                  </a:cubicBezTo>
                  <a:cubicBezTo>
                    <a:pt x="15719" y="71684"/>
                    <a:pt x="15719" y="71684"/>
                    <a:pt x="15719" y="71681"/>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45" name="Freeform: Shape 44">
              <a:extLst>
                <a:ext uri="{FF2B5EF4-FFF2-40B4-BE49-F238E27FC236}">
                  <a16:creationId xmlns:a16="http://schemas.microsoft.com/office/drawing/2014/main" id="{E945F4C9-FBBE-E5ED-79DD-0038FBEBCE5F}"/>
                </a:ext>
              </a:extLst>
            </p:cNvPr>
            <p:cNvSpPr/>
            <p:nvPr/>
          </p:nvSpPr>
          <p:spPr>
            <a:xfrm rot="3532801" flipH="1">
              <a:off x="-10545609" y="1382671"/>
              <a:ext cx="100218" cy="100218"/>
            </a:xfrm>
            <a:custGeom>
              <a:avLst/>
              <a:gdLst>
                <a:gd name="connsiteX0" fmla="*/ 96658 w 100218"/>
                <a:gd name="connsiteY0" fmla="*/ 49864 h 100218"/>
                <a:gd name="connsiteX1" fmla="*/ 46549 w 100218"/>
                <a:gd name="connsiteY1" fmla="*/ 99973 h 100218"/>
                <a:gd name="connsiteX2" fmla="*/ -3560 w 100218"/>
                <a:gd name="connsiteY2" fmla="*/ 49864 h 100218"/>
                <a:gd name="connsiteX3" fmla="*/ 46549 w 100218"/>
                <a:gd name="connsiteY3" fmla="*/ -245 h 100218"/>
                <a:gd name="connsiteX4" fmla="*/ 96658 w 100218"/>
                <a:gd name="connsiteY4" fmla="*/ 49864 h 100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8" h="100218">
                  <a:moveTo>
                    <a:pt x="96658" y="49864"/>
                  </a:moveTo>
                  <a:cubicBezTo>
                    <a:pt x="96658" y="77538"/>
                    <a:pt x="74223" y="99973"/>
                    <a:pt x="46549" y="99973"/>
                  </a:cubicBezTo>
                  <a:cubicBezTo>
                    <a:pt x="18875" y="99973"/>
                    <a:pt x="-3560" y="77539"/>
                    <a:pt x="-3560" y="49864"/>
                  </a:cubicBezTo>
                  <a:cubicBezTo>
                    <a:pt x="-3560" y="22189"/>
                    <a:pt x="18875" y="-245"/>
                    <a:pt x="46549" y="-245"/>
                  </a:cubicBezTo>
                  <a:cubicBezTo>
                    <a:pt x="74223" y="-245"/>
                    <a:pt x="96658" y="22189"/>
                    <a:pt x="96658" y="49864"/>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46" name="Freeform: Shape 45">
              <a:extLst>
                <a:ext uri="{FF2B5EF4-FFF2-40B4-BE49-F238E27FC236}">
                  <a16:creationId xmlns:a16="http://schemas.microsoft.com/office/drawing/2014/main" id="{AB520855-CD1D-6E74-B4E1-F3F4A2D707BB}"/>
                </a:ext>
              </a:extLst>
            </p:cNvPr>
            <p:cNvSpPr/>
            <p:nvPr/>
          </p:nvSpPr>
          <p:spPr>
            <a:xfrm rot="1800001" flipH="1">
              <a:off x="-11319812" y="4193776"/>
              <a:ext cx="635039" cy="10238"/>
            </a:xfrm>
            <a:custGeom>
              <a:avLst/>
              <a:gdLst>
                <a:gd name="connsiteX0" fmla="*/ -3561 w 635039"/>
                <a:gd name="connsiteY0" fmla="*/ -245 h 10237"/>
                <a:gd name="connsiteX1" fmla="*/ 631479 w 635039"/>
                <a:gd name="connsiteY1" fmla="*/ -245 h 10237"/>
                <a:gd name="connsiteX2" fmla="*/ 631479 w 635039"/>
                <a:gd name="connsiteY2" fmla="*/ 9992 h 10237"/>
                <a:gd name="connsiteX3" fmla="*/ -3561 w 635039"/>
                <a:gd name="connsiteY3" fmla="*/ 9992 h 10237"/>
              </a:gdLst>
              <a:ahLst/>
              <a:cxnLst>
                <a:cxn ang="0">
                  <a:pos x="connsiteX0" y="connsiteY0"/>
                </a:cxn>
                <a:cxn ang="0">
                  <a:pos x="connsiteX1" y="connsiteY1"/>
                </a:cxn>
                <a:cxn ang="0">
                  <a:pos x="connsiteX2" y="connsiteY2"/>
                </a:cxn>
                <a:cxn ang="0">
                  <a:pos x="connsiteX3" y="connsiteY3"/>
                </a:cxn>
              </a:cxnLst>
              <a:rect l="l" t="t" r="r" b="b"/>
              <a:pathLst>
                <a:path w="635039" h="10237">
                  <a:moveTo>
                    <a:pt x="-3561" y="-245"/>
                  </a:moveTo>
                  <a:lnTo>
                    <a:pt x="631479" y="-245"/>
                  </a:lnTo>
                  <a:lnTo>
                    <a:pt x="631479" y="9992"/>
                  </a:lnTo>
                  <a:lnTo>
                    <a:pt x="-3561" y="9992"/>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47" name="Freeform: Shape 46">
              <a:extLst>
                <a:ext uri="{FF2B5EF4-FFF2-40B4-BE49-F238E27FC236}">
                  <a16:creationId xmlns:a16="http://schemas.microsoft.com/office/drawing/2014/main" id="{A486ED82-2A7F-C170-3EB1-92DD2775C173}"/>
                </a:ext>
              </a:extLst>
            </p:cNvPr>
            <p:cNvSpPr/>
            <p:nvPr/>
          </p:nvSpPr>
          <p:spPr>
            <a:xfrm rot="1800001" flipH="1">
              <a:off x="-14291718" y="4901722"/>
              <a:ext cx="635039" cy="10238"/>
            </a:xfrm>
            <a:custGeom>
              <a:avLst/>
              <a:gdLst>
                <a:gd name="connsiteX0" fmla="*/ -3560 w 635039"/>
                <a:gd name="connsiteY0" fmla="*/ -246 h 10237"/>
                <a:gd name="connsiteX1" fmla="*/ 631480 w 635039"/>
                <a:gd name="connsiteY1" fmla="*/ -246 h 10237"/>
                <a:gd name="connsiteX2" fmla="*/ 631480 w 635039"/>
                <a:gd name="connsiteY2" fmla="*/ 9992 h 10237"/>
                <a:gd name="connsiteX3" fmla="*/ -3560 w 635039"/>
                <a:gd name="connsiteY3" fmla="*/ 9992 h 10237"/>
              </a:gdLst>
              <a:ahLst/>
              <a:cxnLst>
                <a:cxn ang="0">
                  <a:pos x="connsiteX0" y="connsiteY0"/>
                </a:cxn>
                <a:cxn ang="0">
                  <a:pos x="connsiteX1" y="connsiteY1"/>
                </a:cxn>
                <a:cxn ang="0">
                  <a:pos x="connsiteX2" y="connsiteY2"/>
                </a:cxn>
                <a:cxn ang="0">
                  <a:pos x="connsiteX3" y="connsiteY3"/>
                </a:cxn>
              </a:cxnLst>
              <a:rect l="l" t="t" r="r" b="b"/>
              <a:pathLst>
                <a:path w="635039" h="10237">
                  <a:moveTo>
                    <a:pt x="-3560" y="-246"/>
                  </a:moveTo>
                  <a:lnTo>
                    <a:pt x="631480" y="-246"/>
                  </a:lnTo>
                  <a:lnTo>
                    <a:pt x="631480" y="9992"/>
                  </a:lnTo>
                  <a:lnTo>
                    <a:pt x="-3560" y="9992"/>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48" name="Freeform: Shape 47">
              <a:extLst>
                <a:ext uri="{FF2B5EF4-FFF2-40B4-BE49-F238E27FC236}">
                  <a16:creationId xmlns:a16="http://schemas.microsoft.com/office/drawing/2014/main" id="{4E19C527-E0A2-6AB4-E791-B432CB2FFCE1}"/>
                </a:ext>
              </a:extLst>
            </p:cNvPr>
            <p:cNvSpPr/>
            <p:nvPr/>
          </p:nvSpPr>
          <p:spPr>
            <a:xfrm rot="1800001" flipH="1">
              <a:off x="-14891962" y="1312474"/>
              <a:ext cx="569124" cy="10238"/>
            </a:xfrm>
            <a:custGeom>
              <a:avLst/>
              <a:gdLst>
                <a:gd name="connsiteX0" fmla="*/ -3559 w 569125"/>
                <a:gd name="connsiteY0" fmla="*/ -245 h 10237"/>
                <a:gd name="connsiteX1" fmla="*/ 565566 w 569125"/>
                <a:gd name="connsiteY1" fmla="*/ -245 h 10237"/>
                <a:gd name="connsiteX2" fmla="*/ 565566 w 569125"/>
                <a:gd name="connsiteY2" fmla="*/ 9992 h 10237"/>
                <a:gd name="connsiteX3" fmla="*/ -3559 w 569125"/>
                <a:gd name="connsiteY3" fmla="*/ 9992 h 10237"/>
              </a:gdLst>
              <a:ahLst/>
              <a:cxnLst>
                <a:cxn ang="0">
                  <a:pos x="connsiteX0" y="connsiteY0"/>
                </a:cxn>
                <a:cxn ang="0">
                  <a:pos x="connsiteX1" y="connsiteY1"/>
                </a:cxn>
                <a:cxn ang="0">
                  <a:pos x="connsiteX2" y="connsiteY2"/>
                </a:cxn>
                <a:cxn ang="0">
                  <a:pos x="connsiteX3" y="connsiteY3"/>
                </a:cxn>
              </a:cxnLst>
              <a:rect l="l" t="t" r="r" b="b"/>
              <a:pathLst>
                <a:path w="569125" h="10237">
                  <a:moveTo>
                    <a:pt x="-3559" y="-245"/>
                  </a:moveTo>
                  <a:lnTo>
                    <a:pt x="565566" y="-245"/>
                  </a:lnTo>
                  <a:lnTo>
                    <a:pt x="565566" y="9992"/>
                  </a:lnTo>
                  <a:lnTo>
                    <a:pt x="-3559" y="9992"/>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49" name="Freeform: Shape 48">
              <a:extLst>
                <a:ext uri="{FF2B5EF4-FFF2-40B4-BE49-F238E27FC236}">
                  <a16:creationId xmlns:a16="http://schemas.microsoft.com/office/drawing/2014/main" id="{80F7BDD2-A845-D9B9-4781-83D2165DC030}"/>
                </a:ext>
              </a:extLst>
            </p:cNvPr>
            <p:cNvSpPr/>
            <p:nvPr/>
          </p:nvSpPr>
          <p:spPr>
            <a:xfrm flipH="1">
              <a:off x="-14401174" y="1420337"/>
              <a:ext cx="77105" cy="77097"/>
            </a:xfrm>
            <a:custGeom>
              <a:avLst/>
              <a:gdLst>
                <a:gd name="connsiteX0" fmla="*/ 54260 w 77105"/>
                <a:gd name="connsiteY0" fmla="*/ 71689 h 77097"/>
                <a:gd name="connsiteX1" fmla="*/ 1600 w 77105"/>
                <a:gd name="connsiteY1" fmla="*/ 57565 h 77097"/>
                <a:gd name="connsiteX2" fmla="*/ 15753 w 77105"/>
                <a:gd name="connsiteY2" fmla="*/ 4919 h 77097"/>
                <a:gd name="connsiteX3" fmla="*/ 68376 w 77105"/>
                <a:gd name="connsiteY3" fmla="*/ 19029 h 77097"/>
                <a:gd name="connsiteX4" fmla="*/ 54260 w 77105"/>
                <a:gd name="connsiteY4" fmla="*/ 71682 h 77097"/>
                <a:gd name="connsiteX5" fmla="*/ 54260 w 77105"/>
                <a:gd name="connsiteY5" fmla="*/ 71689 h 77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05" h="77097">
                  <a:moveTo>
                    <a:pt x="54260" y="71689"/>
                  </a:moveTo>
                  <a:cubicBezTo>
                    <a:pt x="35832" y="82325"/>
                    <a:pt x="12269" y="76003"/>
                    <a:pt x="1600" y="57565"/>
                  </a:cubicBezTo>
                  <a:cubicBezTo>
                    <a:pt x="-9032" y="39127"/>
                    <a:pt x="-2711" y="15556"/>
                    <a:pt x="15753" y="4919"/>
                  </a:cubicBezTo>
                  <a:cubicBezTo>
                    <a:pt x="34179" y="-5717"/>
                    <a:pt x="57744" y="602"/>
                    <a:pt x="68376" y="19029"/>
                  </a:cubicBezTo>
                  <a:cubicBezTo>
                    <a:pt x="79008" y="37464"/>
                    <a:pt x="72722" y="61035"/>
                    <a:pt x="54260" y="71682"/>
                  </a:cubicBezTo>
                  <a:cubicBezTo>
                    <a:pt x="54260" y="71685"/>
                    <a:pt x="54260" y="71685"/>
                    <a:pt x="54260" y="71689"/>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50" name="Freeform: Shape 49">
              <a:extLst>
                <a:ext uri="{FF2B5EF4-FFF2-40B4-BE49-F238E27FC236}">
                  <a16:creationId xmlns:a16="http://schemas.microsoft.com/office/drawing/2014/main" id="{64E853D3-1B49-56C6-7F8B-C34FB2E401BC}"/>
                </a:ext>
              </a:extLst>
            </p:cNvPr>
            <p:cNvSpPr/>
            <p:nvPr/>
          </p:nvSpPr>
          <p:spPr>
            <a:xfrm flipH="1">
              <a:off x="-14883494" y="1145251"/>
              <a:ext cx="61636" cy="61649"/>
            </a:xfrm>
            <a:custGeom>
              <a:avLst/>
              <a:gdLst>
                <a:gd name="connsiteX0" fmla="*/ 42691 w 61636"/>
                <a:gd name="connsiteY0" fmla="*/ 57255 h 61649"/>
                <a:gd name="connsiteX1" fmla="*/ 53934 w 61636"/>
                <a:gd name="connsiteY1" fmla="*/ 15142 h 61649"/>
                <a:gd name="connsiteX2" fmla="*/ 11836 w 61636"/>
                <a:gd name="connsiteY2" fmla="*/ 3906 h 61649"/>
                <a:gd name="connsiteX3" fmla="*/ 556 w 61636"/>
                <a:gd name="connsiteY3" fmla="*/ 45976 h 61649"/>
                <a:gd name="connsiteX4" fmla="*/ 42656 w 61636"/>
                <a:gd name="connsiteY4" fmla="*/ 57276 h 61649"/>
                <a:gd name="connsiteX5" fmla="*/ 42691 w 61636"/>
                <a:gd name="connsiteY5" fmla="*/ 57255 h 6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36" h="61649">
                  <a:moveTo>
                    <a:pt x="42691" y="57255"/>
                  </a:moveTo>
                  <a:cubicBezTo>
                    <a:pt x="57419" y="48731"/>
                    <a:pt x="62448" y="29876"/>
                    <a:pt x="53934" y="15142"/>
                  </a:cubicBezTo>
                  <a:cubicBezTo>
                    <a:pt x="45420" y="410"/>
                    <a:pt x="26562" y="-4622"/>
                    <a:pt x="11836" y="3906"/>
                  </a:cubicBezTo>
                  <a:cubicBezTo>
                    <a:pt x="-2892" y="12419"/>
                    <a:pt x="-7920" y="31245"/>
                    <a:pt x="556" y="45976"/>
                  </a:cubicBezTo>
                  <a:cubicBezTo>
                    <a:pt x="9070" y="60721"/>
                    <a:pt x="27892" y="65782"/>
                    <a:pt x="42656" y="57276"/>
                  </a:cubicBezTo>
                  <a:cubicBezTo>
                    <a:pt x="42656" y="57269"/>
                    <a:pt x="42691" y="57262"/>
                    <a:pt x="42691" y="57255"/>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51" name="Freeform: Shape 50">
              <a:extLst>
                <a:ext uri="{FF2B5EF4-FFF2-40B4-BE49-F238E27FC236}">
                  <a16:creationId xmlns:a16="http://schemas.microsoft.com/office/drawing/2014/main" id="{7B91FE2F-D491-F797-7700-AD207E71D5DF}"/>
                </a:ext>
              </a:extLst>
            </p:cNvPr>
            <p:cNvSpPr/>
            <p:nvPr/>
          </p:nvSpPr>
          <p:spPr>
            <a:xfrm flipH="1">
              <a:off x="-11221592" y="1002064"/>
              <a:ext cx="525913" cy="916693"/>
            </a:xfrm>
            <a:custGeom>
              <a:avLst/>
              <a:gdLst>
                <a:gd name="connsiteX0" fmla="*/ 525913 w 525913"/>
                <a:gd name="connsiteY0" fmla="*/ 907821 h 916693"/>
                <a:gd name="connsiteX1" fmla="*/ 520813 w 525913"/>
                <a:gd name="connsiteY1" fmla="*/ 916694 h 916693"/>
                <a:gd name="connsiteX2" fmla="*/ 0 w 525913"/>
                <a:gd name="connsiteY2" fmla="*/ 616038 h 916693"/>
                <a:gd name="connsiteX3" fmla="*/ 0 w 525913"/>
                <a:gd name="connsiteY3" fmla="*/ 0 h 916693"/>
                <a:gd name="connsiteX4" fmla="*/ 10273 w 525913"/>
                <a:gd name="connsiteY4" fmla="*/ 0 h 916693"/>
                <a:gd name="connsiteX5" fmla="*/ 10273 w 525913"/>
                <a:gd name="connsiteY5" fmla="*/ 610111 h 916693"/>
                <a:gd name="connsiteX6" fmla="*/ 525913 w 525913"/>
                <a:gd name="connsiteY6" fmla="*/ 907821 h 91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913" h="916693">
                  <a:moveTo>
                    <a:pt x="525913" y="907821"/>
                  </a:moveTo>
                  <a:lnTo>
                    <a:pt x="520813" y="916694"/>
                  </a:lnTo>
                  <a:lnTo>
                    <a:pt x="0" y="616038"/>
                  </a:lnTo>
                  <a:lnTo>
                    <a:pt x="0" y="0"/>
                  </a:lnTo>
                  <a:lnTo>
                    <a:pt x="10273" y="0"/>
                  </a:lnTo>
                  <a:lnTo>
                    <a:pt x="10273" y="610111"/>
                  </a:lnTo>
                  <a:lnTo>
                    <a:pt x="525913" y="907821"/>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52" name="Freeform: Shape 51">
              <a:extLst>
                <a:ext uri="{FF2B5EF4-FFF2-40B4-BE49-F238E27FC236}">
                  <a16:creationId xmlns:a16="http://schemas.microsoft.com/office/drawing/2014/main" id="{399B853F-306D-DDE3-06F8-F896EFEB9E7D}"/>
                </a:ext>
              </a:extLst>
            </p:cNvPr>
            <p:cNvSpPr/>
            <p:nvPr/>
          </p:nvSpPr>
          <p:spPr>
            <a:xfrm flipH="1">
              <a:off x="-11255804" y="1874791"/>
              <a:ext cx="77113" cy="77125"/>
            </a:xfrm>
            <a:custGeom>
              <a:avLst/>
              <a:gdLst>
                <a:gd name="connsiteX0" fmla="*/ 54286 w 77113"/>
                <a:gd name="connsiteY0" fmla="*/ 4962 h 77125"/>
                <a:gd name="connsiteX1" fmla="*/ 68367 w 77113"/>
                <a:gd name="connsiteY1" fmla="*/ 57622 h 77125"/>
                <a:gd name="connsiteX2" fmla="*/ 15706 w 77113"/>
                <a:gd name="connsiteY2" fmla="*/ 71699 h 77125"/>
                <a:gd name="connsiteX3" fmla="*/ 1626 w 77113"/>
                <a:gd name="connsiteY3" fmla="*/ 19043 h 77125"/>
                <a:gd name="connsiteX4" fmla="*/ 54142 w 77113"/>
                <a:gd name="connsiteY4" fmla="*/ 4890 h 77125"/>
                <a:gd name="connsiteX5" fmla="*/ 54286 w 77113"/>
                <a:gd name="connsiteY5" fmla="*/ 4962 h 7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13" h="77125">
                  <a:moveTo>
                    <a:pt x="54286" y="4962"/>
                  </a:moveTo>
                  <a:cubicBezTo>
                    <a:pt x="72713" y="15616"/>
                    <a:pt x="79036" y="39191"/>
                    <a:pt x="68367" y="57622"/>
                  </a:cubicBezTo>
                  <a:cubicBezTo>
                    <a:pt x="57699" y="76049"/>
                    <a:pt x="34135" y="82353"/>
                    <a:pt x="15706" y="71699"/>
                  </a:cubicBezTo>
                  <a:cubicBezTo>
                    <a:pt x="-2720" y="61045"/>
                    <a:pt x="-9042" y="37470"/>
                    <a:pt x="1626" y="19043"/>
                  </a:cubicBezTo>
                  <a:cubicBezTo>
                    <a:pt x="12223" y="626"/>
                    <a:pt x="35750" y="-5710"/>
                    <a:pt x="54142" y="4890"/>
                  </a:cubicBezTo>
                  <a:cubicBezTo>
                    <a:pt x="54214" y="4912"/>
                    <a:pt x="54251" y="4937"/>
                    <a:pt x="54286" y="4962"/>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53" name="Freeform: Shape 52">
              <a:extLst>
                <a:ext uri="{FF2B5EF4-FFF2-40B4-BE49-F238E27FC236}">
                  <a16:creationId xmlns:a16="http://schemas.microsoft.com/office/drawing/2014/main" id="{0E4E28A6-D4E5-BEA0-29B7-97CB14A1E896}"/>
                </a:ext>
              </a:extLst>
            </p:cNvPr>
            <p:cNvSpPr/>
            <p:nvPr/>
          </p:nvSpPr>
          <p:spPr>
            <a:xfrm flipH="1">
              <a:off x="-10723915" y="980080"/>
              <a:ext cx="46266" cy="46264"/>
            </a:xfrm>
            <a:custGeom>
              <a:avLst/>
              <a:gdLst>
                <a:gd name="connsiteX0" fmla="*/ 42706 w 46266"/>
                <a:gd name="connsiteY0" fmla="*/ 22887 h 46265"/>
                <a:gd name="connsiteX1" fmla="*/ 19573 w 46266"/>
                <a:gd name="connsiteY1" fmla="*/ -245 h 46265"/>
                <a:gd name="connsiteX2" fmla="*/ -3560 w 46266"/>
                <a:gd name="connsiteY2" fmla="*/ 22887 h 46265"/>
                <a:gd name="connsiteX3" fmla="*/ 19573 w 46266"/>
                <a:gd name="connsiteY3" fmla="*/ 46020 h 46265"/>
                <a:gd name="connsiteX4" fmla="*/ 42706 w 46266"/>
                <a:gd name="connsiteY4" fmla="*/ 22887 h 4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66" h="46265">
                  <a:moveTo>
                    <a:pt x="42706" y="22887"/>
                  </a:moveTo>
                  <a:cubicBezTo>
                    <a:pt x="42706" y="10111"/>
                    <a:pt x="32360" y="-245"/>
                    <a:pt x="19573" y="-245"/>
                  </a:cubicBezTo>
                  <a:cubicBezTo>
                    <a:pt x="6785" y="-245"/>
                    <a:pt x="-3560" y="10111"/>
                    <a:pt x="-3560" y="22887"/>
                  </a:cubicBezTo>
                  <a:cubicBezTo>
                    <a:pt x="-3560" y="35664"/>
                    <a:pt x="6785" y="46020"/>
                    <a:pt x="19573" y="46020"/>
                  </a:cubicBezTo>
                  <a:cubicBezTo>
                    <a:pt x="32360" y="46020"/>
                    <a:pt x="42706" y="35664"/>
                    <a:pt x="42706" y="22887"/>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54" name="Freeform: Shape 53">
              <a:extLst>
                <a:ext uri="{FF2B5EF4-FFF2-40B4-BE49-F238E27FC236}">
                  <a16:creationId xmlns:a16="http://schemas.microsoft.com/office/drawing/2014/main" id="{FA16C040-FA95-14AF-23AD-F39A37232DF0}"/>
                </a:ext>
              </a:extLst>
            </p:cNvPr>
            <p:cNvSpPr/>
            <p:nvPr/>
          </p:nvSpPr>
          <p:spPr>
            <a:xfrm flipH="1">
              <a:off x="-12030453" y="676479"/>
              <a:ext cx="525949" cy="1236818"/>
            </a:xfrm>
            <a:custGeom>
              <a:avLst/>
              <a:gdLst>
                <a:gd name="connsiteX0" fmla="*/ 525949 w 525949"/>
                <a:gd name="connsiteY0" fmla="*/ 300655 h 1236818"/>
                <a:gd name="connsiteX1" fmla="*/ 525949 w 525949"/>
                <a:gd name="connsiteY1" fmla="*/ 941623 h 1236818"/>
                <a:gd name="connsiteX2" fmla="*/ 14656 w 525949"/>
                <a:gd name="connsiteY2" fmla="*/ 1236818 h 1236818"/>
                <a:gd name="connsiteX3" fmla="*/ 9519 w 525949"/>
                <a:gd name="connsiteY3" fmla="*/ 1227910 h 1236818"/>
                <a:gd name="connsiteX4" fmla="*/ 515676 w 525949"/>
                <a:gd name="connsiteY4" fmla="*/ 935696 h 1236818"/>
                <a:gd name="connsiteX5" fmla="*/ 515676 w 525949"/>
                <a:gd name="connsiteY5" fmla="*/ 306582 h 1236818"/>
                <a:gd name="connsiteX6" fmla="*/ 0 w 525949"/>
                <a:gd name="connsiteY6" fmla="*/ 8872 h 1236818"/>
                <a:gd name="connsiteX7" fmla="*/ 5137 w 525949"/>
                <a:gd name="connsiteY7" fmla="*/ 0 h 1236818"/>
                <a:gd name="connsiteX8" fmla="*/ 525949 w 525949"/>
                <a:gd name="connsiteY8" fmla="*/ 300655 h 123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949" h="1236818">
                  <a:moveTo>
                    <a:pt x="525949" y="300655"/>
                  </a:moveTo>
                  <a:lnTo>
                    <a:pt x="525949" y="941623"/>
                  </a:lnTo>
                  <a:lnTo>
                    <a:pt x="14656" y="1236818"/>
                  </a:lnTo>
                  <a:lnTo>
                    <a:pt x="9519" y="1227910"/>
                  </a:lnTo>
                  <a:lnTo>
                    <a:pt x="515676" y="935696"/>
                  </a:lnTo>
                  <a:lnTo>
                    <a:pt x="515676" y="306582"/>
                  </a:lnTo>
                  <a:lnTo>
                    <a:pt x="0" y="8872"/>
                  </a:lnTo>
                  <a:lnTo>
                    <a:pt x="5137" y="0"/>
                  </a:lnTo>
                  <a:lnTo>
                    <a:pt x="525949" y="300655"/>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55" name="Freeform: Shape 54">
              <a:extLst>
                <a:ext uri="{FF2B5EF4-FFF2-40B4-BE49-F238E27FC236}">
                  <a16:creationId xmlns:a16="http://schemas.microsoft.com/office/drawing/2014/main" id="{F3E0625C-2100-A856-4CB2-7D2886B50A7C}"/>
                </a:ext>
              </a:extLst>
            </p:cNvPr>
            <p:cNvSpPr/>
            <p:nvPr/>
          </p:nvSpPr>
          <p:spPr>
            <a:xfrm flipH="1">
              <a:off x="-11547273" y="643311"/>
              <a:ext cx="77097" cy="77097"/>
            </a:xfrm>
            <a:custGeom>
              <a:avLst/>
              <a:gdLst>
                <a:gd name="connsiteX0" fmla="*/ 15719 w 77098"/>
                <a:gd name="connsiteY0" fmla="*/ 71681 h 77098"/>
                <a:gd name="connsiteX1" fmla="*/ 1601 w 77098"/>
                <a:gd name="connsiteY1" fmla="*/ 19028 h 77098"/>
                <a:gd name="connsiteX2" fmla="*/ 54261 w 77098"/>
                <a:gd name="connsiteY2" fmla="*/ 4926 h 77098"/>
                <a:gd name="connsiteX3" fmla="*/ 68377 w 77098"/>
                <a:gd name="connsiteY3" fmla="*/ 57564 h 77098"/>
                <a:gd name="connsiteX4" fmla="*/ 15719 w 77098"/>
                <a:gd name="connsiteY4" fmla="*/ 71688 h 77098"/>
                <a:gd name="connsiteX5" fmla="*/ 15719 w 77098"/>
                <a:gd name="connsiteY5" fmla="*/ 71681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8" h="77098">
                  <a:moveTo>
                    <a:pt x="15719" y="71681"/>
                  </a:moveTo>
                  <a:cubicBezTo>
                    <a:pt x="-2710" y="61038"/>
                    <a:pt x="-9031" y="37463"/>
                    <a:pt x="1601" y="19028"/>
                  </a:cubicBezTo>
                  <a:cubicBezTo>
                    <a:pt x="12271" y="594"/>
                    <a:pt x="35833" y="-5717"/>
                    <a:pt x="54261" y="4926"/>
                  </a:cubicBezTo>
                  <a:cubicBezTo>
                    <a:pt x="72688" y="15569"/>
                    <a:pt x="79010" y="39130"/>
                    <a:pt x="68377" y="57564"/>
                  </a:cubicBezTo>
                  <a:cubicBezTo>
                    <a:pt x="57745" y="76002"/>
                    <a:pt x="34181" y="82328"/>
                    <a:pt x="15719" y="71688"/>
                  </a:cubicBezTo>
                  <a:cubicBezTo>
                    <a:pt x="15719" y="71684"/>
                    <a:pt x="15719" y="71684"/>
                    <a:pt x="15719" y="71681"/>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56" name="Freeform: Shape 55">
              <a:extLst>
                <a:ext uri="{FF2B5EF4-FFF2-40B4-BE49-F238E27FC236}">
                  <a16:creationId xmlns:a16="http://schemas.microsoft.com/office/drawing/2014/main" id="{196C701F-CA22-30E0-468C-2015E8A11919}"/>
                </a:ext>
              </a:extLst>
            </p:cNvPr>
            <p:cNvSpPr/>
            <p:nvPr/>
          </p:nvSpPr>
          <p:spPr>
            <a:xfrm flipH="1">
              <a:off x="-11568835" y="1857472"/>
              <a:ext cx="100238" cy="100248"/>
            </a:xfrm>
            <a:custGeom>
              <a:avLst/>
              <a:gdLst>
                <a:gd name="connsiteX0" fmla="*/ 21534 w 100237"/>
                <a:gd name="connsiteY0" fmla="*/ 6477 h 100248"/>
                <a:gd name="connsiteX1" fmla="*/ 3144 w 100237"/>
                <a:gd name="connsiteY1" fmla="*/ 74916 h 100248"/>
                <a:gd name="connsiteX2" fmla="*/ 71607 w 100237"/>
                <a:gd name="connsiteY2" fmla="*/ 93293 h 100248"/>
                <a:gd name="connsiteX3" fmla="*/ 89964 w 100237"/>
                <a:gd name="connsiteY3" fmla="*/ 24854 h 100248"/>
                <a:gd name="connsiteX4" fmla="*/ 89964 w 100237"/>
                <a:gd name="connsiteY4" fmla="*/ 24832 h 100248"/>
                <a:gd name="connsiteX5" fmla="*/ 21571 w 100237"/>
                <a:gd name="connsiteY5" fmla="*/ 6452 h 100248"/>
                <a:gd name="connsiteX6" fmla="*/ 21534 w 100237"/>
                <a:gd name="connsiteY6" fmla="*/ 6477 h 100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237" h="100248">
                  <a:moveTo>
                    <a:pt x="21534" y="6477"/>
                  </a:moveTo>
                  <a:cubicBezTo>
                    <a:pt x="-2425" y="20303"/>
                    <a:pt x="-10686" y="50943"/>
                    <a:pt x="3144" y="74916"/>
                  </a:cubicBezTo>
                  <a:cubicBezTo>
                    <a:pt x="16972" y="98893"/>
                    <a:pt x="47613" y="107119"/>
                    <a:pt x="71607" y="93293"/>
                  </a:cubicBezTo>
                  <a:cubicBezTo>
                    <a:pt x="95568" y="79471"/>
                    <a:pt x="103794" y="48827"/>
                    <a:pt x="89964" y="24854"/>
                  </a:cubicBezTo>
                  <a:cubicBezTo>
                    <a:pt x="89964" y="24846"/>
                    <a:pt x="89964" y="24839"/>
                    <a:pt x="89964" y="24832"/>
                  </a:cubicBezTo>
                  <a:cubicBezTo>
                    <a:pt x="76169" y="873"/>
                    <a:pt x="45530" y="-7356"/>
                    <a:pt x="21571" y="6452"/>
                  </a:cubicBezTo>
                  <a:cubicBezTo>
                    <a:pt x="21571" y="6462"/>
                    <a:pt x="21534" y="6470"/>
                    <a:pt x="21534" y="6477"/>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57" name="Freeform: Shape 56">
              <a:extLst>
                <a:ext uri="{FF2B5EF4-FFF2-40B4-BE49-F238E27FC236}">
                  <a16:creationId xmlns:a16="http://schemas.microsoft.com/office/drawing/2014/main" id="{E1702A92-DA2C-5053-2D2B-622EF9A6639B}"/>
                </a:ext>
              </a:extLst>
            </p:cNvPr>
            <p:cNvSpPr/>
            <p:nvPr/>
          </p:nvSpPr>
          <p:spPr>
            <a:xfrm rot="1800001" flipH="1">
              <a:off x="-11363573" y="717950"/>
              <a:ext cx="569124" cy="10238"/>
            </a:xfrm>
            <a:custGeom>
              <a:avLst/>
              <a:gdLst>
                <a:gd name="connsiteX0" fmla="*/ -3560 w 569125"/>
                <a:gd name="connsiteY0" fmla="*/ -245 h 10237"/>
                <a:gd name="connsiteX1" fmla="*/ 565566 w 569125"/>
                <a:gd name="connsiteY1" fmla="*/ -245 h 10237"/>
                <a:gd name="connsiteX2" fmla="*/ 565566 w 569125"/>
                <a:gd name="connsiteY2" fmla="*/ 9992 h 10237"/>
                <a:gd name="connsiteX3" fmla="*/ -3560 w 569125"/>
                <a:gd name="connsiteY3" fmla="*/ 9992 h 10237"/>
              </a:gdLst>
              <a:ahLst/>
              <a:cxnLst>
                <a:cxn ang="0">
                  <a:pos x="connsiteX0" y="connsiteY0"/>
                </a:cxn>
                <a:cxn ang="0">
                  <a:pos x="connsiteX1" y="connsiteY1"/>
                </a:cxn>
                <a:cxn ang="0">
                  <a:pos x="connsiteX2" y="connsiteY2"/>
                </a:cxn>
                <a:cxn ang="0">
                  <a:pos x="connsiteX3" y="connsiteY3"/>
                </a:cxn>
              </a:cxnLst>
              <a:rect l="l" t="t" r="r" b="b"/>
              <a:pathLst>
                <a:path w="569125" h="10237">
                  <a:moveTo>
                    <a:pt x="-3560" y="-245"/>
                  </a:moveTo>
                  <a:lnTo>
                    <a:pt x="565566" y="-245"/>
                  </a:lnTo>
                  <a:lnTo>
                    <a:pt x="565566" y="9992"/>
                  </a:lnTo>
                  <a:lnTo>
                    <a:pt x="-3560" y="9992"/>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58" name="Freeform: Shape 57">
              <a:extLst>
                <a:ext uri="{FF2B5EF4-FFF2-40B4-BE49-F238E27FC236}">
                  <a16:creationId xmlns:a16="http://schemas.microsoft.com/office/drawing/2014/main" id="{9F1FF6E6-31D5-F3FF-7EA4-2F4670448E29}"/>
                </a:ext>
              </a:extLst>
            </p:cNvPr>
            <p:cNvSpPr/>
            <p:nvPr/>
          </p:nvSpPr>
          <p:spPr>
            <a:xfrm flipH="1">
              <a:off x="-10872793" y="825825"/>
              <a:ext cx="77097" cy="77097"/>
            </a:xfrm>
            <a:custGeom>
              <a:avLst/>
              <a:gdLst>
                <a:gd name="connsiteX0" fmla="*/ 54261 w 77098"/>
                <a:gd name="connsiteY0" fmla="*/ 71680 h 77098"/>
                <a:gd name="connsiteX1" fmla="*/ 1601 w 77098"/>
                <a:gd name="connsiteY1" fmla="*/ 57581 h 77098"/>
                <a:gd name="connsiteX2" fmla="*/ 15719 w 77098"/>
                <a:gd name="connsiteY2" fmla="*/ 4928 h 77098"/>
                <a:gd name="connsiteX3" fmla="*/ 68377 w 77098"/>
                <a:gd name="connsiteY3" fmla="*/ 19027 h 77098"/>
                <a:gd name="connsiteX4" fmla="*/ 68377 w 77098"/>
                <a:gd name="connsiteY4" fmla="*/ 19056 h 77098"/>
                <a:gd name="connsiteX5" fmla="*/ 54261 w 77098"/>
                <a:gd name="connsiteY5" fmla="*/ 71680 h 7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098" h="77098">
                  <a:moveTo>
                    <a:pt x="54261" y="71680"/>
                  </a:moveTo>
                  <a:cubicBezTo>
                    <a:pt x="35835" y="82327"/>
                    <a:pt x="12271" y="76012"/>
                    <a:pt x="1601" y="57581"/>
                  </a:cubicBezTo>
                  <a:cubicBezTo>
                    <a:pt x="-9031" y="39146"/>
                    <a:pt x="-2710" y="15572"/>
                    <a:pt x="15719" y="4928"/>
                  </a:cubicBezTo>
                  <a:cubicBezTo>
                    <a:pt x="34146" y="-5718"/>
                    <a:pt x="57710" y="593"/>
                    <a:pt x="68377" y="19027"/>
                  </a:cubicBezTo>
                  <a:cubicBezTo>
                    <a:pt x="68377" y="19038"/>
                    <a:pt x="68377" y="19045"/>
                    <a:pt x="68377" y="19056"/>
                  </a:cubicBezTo>
                  <a:cubicBezTo>
                    <a:pt x="79010" y="37487"/>
                    <a:pt x="72688" y="61040"/>
                    <a:pt x="54261" y="71680"/>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59" name="Freeform: Shape 58">
              <a:extLst>
                <a:ext uri="{FF2B5EF4-FFF2-40B4-BE49-F238E27FC236}">
                  <a16:creationId xmlns:a16="http://schemas.microsoft.com/office/drawing/2014/main" id="{BF3A489D-D666-7857-4755-0B421BFA6533}"/>
                </a:ext>
              </a:extLst>
            </p:cNvPr>
            <p:cNvSpPr/>
            <p:nvPr/>
          </p:nvSpPr>
          <p:spPr>
            <a:xfrm flipH="1">
              <a:off x="-11354934" y="550750"/>
              <a:ext cx="61643" cy="61635"/>
            </a:xfrm>
            <a:custGeom>
              <a:avLst/>
              <a:gdLst>
                <a:gd name="connsiteX0" fmla="*/ 42671 w 61643"/>
                <a:gd name="connsiteY0" fmla="*/ 57270 h 61635"/>
                <a:gd name="connsiteX1" fmla="*/ 53950 w 61643"/>
                <a:gd name="connsiteY1" fmla="*/ 15171 h 61635"/>
                <a:gd name="connsiteX2" fmla="*/ 11851 w 61643"/>
                <a:gd name="connsiteY2" fmla="*/ 3888 h 61635"/>
                <a:gd name="connsiteX3" fmla="*/ 573 w 61643"/>
                <a:gd name="connsiteY3" fmla="*/ 45987 h 61635"/>
                <a:gd name="connsiteX4" fmla="*/ 573 w 61643"/>
                <a:gd name="connsiteY4" fmla="*/ 45991 h 61635"/>
                <a:gd name="connsiteX5" fmla="*/ 42671 w 61643"/>
                <a:gd name="connsiteY5" fmla="*/ 57270 h 61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43" h="61635">
                  <a:moveTo>
                    <a:pt x="42671" y="57270"/>
                  </a:moveTo>
                  <a:cubicBezTo>
                    <a:pt x="57399" y="48760"/>
                    <a:pt x="62464" y="29909"/>
                    <a:pt x="53950" y="15171"/>
                  </a:cubicBezTo>
                  <a:cubicBezTo>
                    <a:pt x="45437" y="429"/>
                    <a:pt x="26578" y="-4622"/>
                    <a:pt x="11851" y="3888"/>
                  </a:cubicBezTo>
                  <a:cubicBezTo>
                    <a:pt x="-2875" y="12398"/>
                    <a:pt x="-7941" y="31245"/>
                    <a:pt x="573" y="45987"/>
                  </a:cubicBezTo>
                  <a:cubicBezTo>
                    <a:pt x="573" y="45991"/>
                    <a:pt x="573" y="45991"/>
                    <a:pt x="573" y="45991"/>
                  </a:cubicBezTo>
                  <a:cubicBezTo>
                    <a:pt x="9085" y="60714"/>
                    <a:pt x="27943" y="65758"/>
                    <a:pt x="42671" y="57270"/>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60" name="Freeform: Shape 59">
              <a:extLst>
                <a:ext uri="{FF2B5EF4-FFF2-40B4-BE49-F238E27FC236}">
                  <a16:creationId xmlns:a16="http://schemas.microsoft.com/office/drawing/2014/main" id="{AA05B407-5B10-E8B8-6B19-2CDFD2119439}"/>
                </a:ext>
              </a:extLst>
            </p:cNvPr>
            <p:cNvSpPr/>
            <p:nvPr/>
          </p:nvSpPr>
          <p:spPr>
            <a:xfrm flipH="1">
              <a:off x="-11389342" y="2957509"/>
              <a:ext cx="1110161" cy="958433"/>
            </a:xfrm>
            <a:custGeom>
              <a:avLst/>
              <a:gdLst>
                <a:gd name="connsiteX0" fmla="*/ 1110162 w 1110161"/>
                <a:gd name="connsiteY0" fmla="*/ 255755 h 958433"/>
                <a:gd name="connsiteX1" fmla="*/ 1110162 w 1110161"/>
                <a:gd name="connsiteY1" fmla="*/ 637986 h 958433"/>
                <a:gd name="connsiteX2" fmla="*/ 555081 w 1110161"/>
                <a:gd name="connsiteY2" fmla="*/ 958433 h 958433"/>
                <a:gd name="connsiteX3" fmla="*/ 0 w 1110161"/>
                <a:gd name="connsiteY3" fmla="*/ 637986 h 958433"/>
                <a:gd name="connsiteX4" fmla="*/ 0 w 1110161"/>
                <a:gd name="connsiteY4" fmla="*/ 0 h 958433"/>
                <a:gd name="connsiteX5" fmla="*/ 10273 w 1110161"/>
                <a:gd name="connsiteY5" fmla="*/ 0 h 958433"/>
                <a:gd name="connsiteX6" fmla="*/ 10273 w 1110161"/>
                <a:gd name="connsiteY6" fmla="*/ 632059 h 958433"/>
                <a:gd name="connsiteX7" fmla="*/ 555081 w 1110161"/>
                <a:gd name="connsiteY7" fmla="*/ 946616 h 958433"/>
                <a:gd name="connsiteX8" fmla="*/ 1099889 w 1110161"/>
                <a:gd name="connsiteY8" fmla="*/ 632059 h 958433"/>
                <a:gd name="connsiteX9" fmla="*/ 1099889 w 1110161"/>
                <a:gd name="connsiteY9" fmla="*/ 255755 h 958433"/>
                <a:gd name="connsiteX10" fmla="*/ 1110162 w 1110161"/>
                <a:gd name="connsiteY10" fmla="*/ 255755 h 958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61" h="958433">
                  <a:moveTo>
                    <a:pt x="1110162" y="255755"/>
                  </a:moveTo>
                  <a:lnTo>
                    <a:pt x="1110162" y="637986"/>
                  </a:lnTo>
                  <a:lnTo>
                    <a:pt x="555081" y="958433"/>
                  </a:lnTo>
                  <a:lnTo>
                    <a:pt x="0" y="637986"/>
                  </a:lnTo>
                  <a:lnTo>
                    <a:pt x="0" y="0"/>
                  </a:lnTo>
                  <a:lnTo>
                    <a:pt x="10273" y="0"/>
                  </a:lnTo>
                  <a:lnTo>
                    <a:pt x="10273" y="632059"/>
                  </a:lnTo>
                  <a:lnTo>
                    <a:pt x="555081" y="946616"/>
                  </a:lnTo>
                  <a:lnTo>
                    <a:pt x="1099889" y="632059"/>
                  </a:lnTo>
                  <a:lnTo>
                    <a:pt x="1099889" y="255755"/>
                  </a:lnTo>
                  <a:lnTo>
                    <a:pt x="1110162" y="255755"/>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61" name="Freeform: Shape 60">
              <a:extLst>
                <a:ext uri="{FF2B5EF4-FFF2-40B4-BE49-F238E27FC236}">
                  <a16:creationId xmlns:a16="http://schemas.microsoft.com/office/drawing/2014/main" id="{223423B9-748C-4C08-0651-749164E17BAD}"/>
                </a:ext>
              </a:extLst>
            </p:cNvPr>
            <p:cNvSpPr/>
            <p:nvPr/>
          </p:nvSpPr>
          <p:spPr>
            <a:xfrm flipH="1">
              <a:off x="-16708320" y="2037476"/>
              <a:ext cx="1794664" cy="1549434"/>
            </a:xfrm>
            <a:custGeom>
              <a:avLst/>
              <a:gdLst>
                <a:gd name="connsiteX0" fmla="*/ 1794664 w 1794664"/>
                <a:gd name="connsiteY0" fmla="*/ 502242 h 1549434"/>
                <a:gd name="connsiteX1" fmla="*/ 1794664 w 1794664"/>
                <a:gd name="connsiteY1" fmla="*/ 1031352 h 1549434"/>
                <a:gd name="connsiteX2" fmla="*/ 1790498 w 1794664"/>
                <a:gd name="connsiteY2" fmla="*/ 1033723 h 1549434"/>
                <a:gd name="connsiteX3" fmla="*/ 897332 w 1794664"/>
                <a:gd name="connsiteY3" fmla="*/ 1549435 h 1549434"/>
                <a:gd name="connsiteX4" fmla="*/ 893202 w 1794664"/>
                <a:gd name="connsiteY4" fmla="*/ 1547028 h 1549434"/>
                <a:gd name="connsiteX5" fmla="*/ 0 w 1794664"/>
                <a:gd name="connsiteY5" fmla="*/ 1031352 h 1549434"/>
                <a:gd name="connsiteX6" fmla="*/ 0 w 1794664"/>
                <a:gd name="connsiteY6" fmla="*/ 0 h 1549434"/>
                <a:gd name="connsiteX7" fmla="*/ 16595 w 1794664"/>
                <a:gd name="connsiteY7" fmla="*/ 0 h 1549434"/>
                <a:gd name="connsiteX8" fmla="*/ 16595 w 1794664"/>
                <a:gd name="connsiteY8" fmla="*/ 1021797 h 1549434"/>
                <a:gd name="connsiteX9" fmla="*/ 897332 w 1794664"/>
                <a:gd name="connsiteY9" fmla="*/ 1530289 h 1549434"/>
                <a:gd name="connsiteX10" fmla="*/ 1778069 w 1794664"/>
                <a:gd name="connsiteY10" fmla="*/ 1021797 h 1549434"/>
                <a:gd name="connsiteX11" fmla="*/ 1778069 w 1794664"/>
                <a:gd name="connsiteY11" fmla="*/ 502242 h 1549434"/>
                <a:gd name="connsiteX12" fmla="*/ 1794664 w 1794664"/>
                <a:gd name="connsiteY12" fmla="*/ 502242 h 154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4664" h="1549434">
                  <a:moveTo>
                    <a:pt x="1794664" y="502242"/>
                  </a:moveTo>
                  <a:lnTo>
                    <a:pt x="1794664" y="1031352"/>
                  </a:lnTo>
                  <a:lnTo>
                    <a:pt x="1790498" y="1033723"/>
                  </a:lnTo>
                  <a:lnTo>
                    <a:pt x="897332" y="1549435"/>
                  </a:lnTo>
                  <a:lnTo>
                    <a:pt x="893202" y="1547028"/>
                  </a:lnTo>
                  <a:lnTo>
                    <a:pt x="0" y="1031352"/>
                  </a:lnTo>
                  <a:lnTo>
                    <a:pt x="0" y="0"/>
                  </a:lnTo>
                  <a:lnTo>
                    <a:pt x="16595" y="0"/>
                  </a:lnTo>
                  <a:lnTo>
                    <a:pt x="16595" y="1021797"/>
                  </a:lnTo>
                  <a:lnTo>
                    <a:pt x="897332" y="1530289"/>
                  </a:lnTo>
                  <a:lnTo>
                    <a:pt x="1778069" y="1021797"/>
                  </a:lnTo>
                  <a:lnTo>
                    <a:pt x="1778069" y="502242"/>
                  </a:lnTo>
                  <a:lnTo>
                    <a:pt x="1794664" y="502242"/>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62" name="Freeform: Shape 61">
              <a:extLst>
                <a:ext uri="{FF2B5EF4-FFF2-40B4-BE49-F238E27FC236}">
                  <a16:creationId xmlns:a16="http://schemas.microsoft.com/office/drawing/2014/main" id="{DC437CFF-780B-97B2-A9E3-378E9E328538}"/>
                </a:ext>
              </a:extLst>
            </p:cNvPr>
            <p:cNvSpPr/>
            <p:nvPr/>
          </p:nvSpPr>
          <p:spPr>
            <a:xfrm flipH="1">
              <a:off x="-16793453" y="2450991"/>
              <a:ext cx="186787" cy="186787"/>
            </a:xfrm>
            <a:custGeom>
              <a:avLst/>
              <a:gdLst>
                <a:gd name="connsiteX0" fmla="*/ -3560 w 186787"/>
                <a:gd name="connsiteY0" fmla="*/ 93148 h 186787"/>
                <a:gd name="connsiteX1" fmla="*/ 89833 w 186787"/>
                <a:gd name="connsiteY1" fmla="*/ -245 h 186787"/>
                <a:gd name="connsiteX2" fmla="*/ 183227 w 186787"/>
                <a:gd name="connsiteY2" fmla="*/ 93148 h 186787"/>
                <a:gd name="connsiteX3" fmla="*/ 89833 w 186787"/>
                <a:gd name="connsiteY3" fmla="*/ 186542 h 186787"/>
                <a:gd name="connsiteX4" fmla="*/ -3560 w 186787"/>
                <a:gd name="connsiteY4" fmla="*/ 93148 h 186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787" h="186787">
                  <a:moveTo>
                    <a:pt x="-3560" y="93148"/>
                  </a:moveTo>
                  <a:cubicBezTo>
                    <a:pt x="-3560" y="41570"/>
                    <a:pt x="38252" y="-245"/>
                    <a:pt x="89833" y="-245"/>
                  </a:cubicBezTo>
                  <a:cubicBezTo>
                    <a:pt x="141415" y="-245"/>
                    <a:pt x="183227" y="41570"/>
                    <a:pt x="183227" y="93148"/>
                  </a:cubicBezTo>
                  <a:cubicBezTo>
                    <a:pt x="183227" y="144727"/>
                    <a:pt x="141415" y="186542"/>
                    <a:pt x="89833" y="186542"/>
                  </a:cubicBezTo>
                  <a:cubicBezTo>
                    <a:pt x="38252" y="186542"/>
                    <a:pt x="-3560" y="144727"/>
                    <a:pt x="-3560" y="93148"/>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63" name="Freeform: Shape 62">
              <a:extLst>
                <a:ext uri="{FF2B5EF4-FFF2-40B4-BE49-F238E27FC236}">
                  <a16:creationId xmlns:a16="http://schemas.microsoft.com/office/drawing/2014/main" id="{A7E1A45E-F107-DB3B-8A9C-DFCC2B273019}"/>
                </a:ext>
              </a:extLst>
            </p:cNvPr>
            <p:cNvSpPr/>
            <p:nvPr/>
          </p:nvSpPr>
          <p:spPr>
            <a:xfrm flipH="1">
              <a:off x="-14267337" y="3728905"/>
              <a:ext cx="1281898" cy="1047552"/>
            </a:xfrm>
            <a:custGeom>
              <a:avLst/>
              <a:gdLst>
                <a:gd name="connsiteX0" fmla="*/ 1281898 w 1281898"/>
                <a:gd name="connsiteY0" fmla="*/ 0 h 1047552"/>
                <a:gd name="connsiteX1" fmla="*/ 1281898 w 1281898"/>
                <a:gd name="connsiteY1" fmla="*/ 677498 h 1047552"/>
                <a:gd name="connsiteX2" fmla="*/ 1278917 w 1281898"/>
                <a:gd name="connsiteY2" fmla="*/ 679222 h 1047552"/>
                <a:gd name="connsiteX3" fmla="*/ 640967 w 1281898"/>
                <a:gd name="connsiteY3" fmla="*/ 1047552 h 1047552"/>
                <a:gd name="connsiteX4" fmla="*/ 637986 w 1281898"/>
                <a:gd name="connsiteY4" fmla="*/ 1045864 h 1047552"/>
                <a:gd name="connsiteX5" fmla="*/ 0 w 1281898"/>
                <a:gd name="connsiteY5" fmla="*/ 677498 h 1047552"/>
                <a:gd name="connsiteX6" fmla="*/ 0 w 1281898"/>
                <a:gd name="connsiteY6" fmla="*/ 278421 h 1047552"/>
                <a:gd name="connsiteX7" fmla="*/ 11854 w 1281898"/>
                <a:gd name="connsiteY7" fmla="*/ 278421 h 1047552"/>
                <a:gd name="connsiteX8" fmla="*/ 11854 w 1281898"/>
                <a:gd name="connsiteY8" fmla="*/ 670673 h 1047552"/>
                <a:gd name="connsiteX9" fmla="*/ 640967 w 1281898"/>
                <a:gd name="connsiteY9" fmla="*/ 1033902 h 1047552"/>
                <a:gd name="connsiteX10" fmla="*/ 1270045 w 1281898"/>
                <a:gd name="connsiteY10" fmla="*/ 670673 h 1047552"/>
                <a:gd name="connsiteX11" fmla="*/ 1270045 w 1281898"/>
                <a:gd name="connsiteY11" fmla="*/ 0 h 1047552"/>
                <a:gd name="connsiteX12" fmla="*/ 1281898 w 1281898"/>
                <a:gd name="connsiteY12" fmla="*/ 0 h 1047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1898" h="1047552">
                  <a:moveTo>
                    <a:pt x="1281898" y="0"/>
                  </a:moveTo>
                  <a:lnTo>
                    <a:pt x="1281898" y="677498"/>
                  </a:lnTo>
                  <a:lnTo>
                    <a:pt x="1278917" y="679222"/>
                  </a:lnTo>
                  <a:lnTo>
                    <a:pt x="640967" y="1047552"/>
                  </a:lnTo>
                  <a:lnTo>
                    <a:pt x="637986" y="1045864"/>
                  </a:lnTo>
                  <a:lnTo>
                    <a:pt x="0" y="677498"/>
                  </a:lnTo>
                  <a:lnTo>
                    <a:pt x="0" y="278421"/>
                  </a:lnTo>
                  <a:lnTo>
                    <a:pt x="11854" y="278421"/>
                  </a:lnTo>
                  <a:lnTo>
                    <a:pt x="11854" y="670673"/>
                  </a:lnTo>
                  <a:lnTo>
                    <a:pt x="640967" y="1033902"/>
                  </a:lnTo>
                  <a:lnTo>
                    <a:pt x="1270045" y="670673"/>
                  </a:lnTo>
                  <a:lnTo>
                    <a:pt x="1270045" y="0"/>
                  </a:lnTo>
                  <a:lnTo>
                    <a:pt x="1281898" y="0"/>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64" name="Freeform: Shape 63">
              <a:extLst>
                <a:ext uri="{FF2B5EF4-FFF2-40B4-BE49-F238E27FC236}">
                  <a16:creationId xmlns:a16="http://schemas.microsoft.com/office/drawing/2014/main" id="{35242FE2-E173-3672-7FD9-FA06A260F7DE}"/>
                </a:ext>
              </a:extLst>
            </p:cNvPr>
            <p:cNvSpPr/>
            <p:nvPr/>
          </p:nvSpPr>
          <p:spPr>
            <a:xfrm flipH="1">
              <a:off x="-13035836" y="3965045"/>
              <a:ext cx="89012" cy="89012"/>
            </a:xfrm>
            <a:custGeom>
              <a:avLst/>
              <a:gdLst>
                <a:gd name="connsiteX0" fmla="*/ 85452 w 89012"/>
                <a:gd name="connsiteY0" fmla="*/ 44260 h 89011"/>
                <a:gd name="connsiteX1" fmla="*/ 40946 w 89012"/>
                <a:gd name="connsiteY1" fmla="*/ -245 h 89011"/>
                <a:gd name="connsiteX2" fmla="*/ -3560 w 89012"/>
                <a:gd name="connsiteY2" fmla="*/ 44260 h 89011"/>
                <a:gd name="connsiteX3" fmla="*/ 40946 w 89012"/>
                <a:gd name="connsiteY3" fmla="*/ 88766 h 89011"/>
                <a:gd name="connsiteX4" fmla="*/ 40981 w 89012"/>
                <a:gd name="connsiteY4" fmla="*/ 88766 h 89011"/>
                <a:gd name="connsiteX5" fmla="*/ 85452 w 89012"/>
                <a:gd name="connsiteY5" fmla="*/ 44260 h 8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012" h="89011">
                  <a:moveTo>
                    <a:pt x="85452" y="44260"/>
                  </a:moveTo>
                  <a:cubicBezTo>
                    <a:pt x="85452" y="19691"/>
                    <a:pt x="65515" y="-245"/>
                    <a:pt x="40946" y="-245"/>
                  </a:cubicBezTo>
                  <a:cubicBezTo>
                    <a:pt x="16377" y="-245"/>
                    <a:pt x="-3560" y="19691"/>
                    <a:pt x="-3560" y="44260"/>
                  </a:cubicBezTo>
                  <a:cubicBezTo>
                    <a:pt x="-3560" y="68830"/>
                    <a:pt x="16377" y="88766"/>
                    <a:pt x="40946" y="88766"/>
                  </a:cubicBezTo>
                  <a:cubicBezTo>
                    <a:pt x="40946" y="88766"/>
                    <a:pt x="40981" y="88766"/>
                    <a:pt x="40981" y="88766"/>
                  </a:cubicBezTo>
                  <a:cubicBezTo>
                    <a:pt x="65552" y="88730"/>
                    <a:pt x="85452" y="68830"/>
                    <a:pt x="85452" y="44260"/>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65" name="Freeform: Shape 64">
              <a:extLst>
                <a:ext uri="{FF2B5EF4-FFF2-40B4-BE49-F238E27FC236}">
                  <a16:creationId xmlns:a16="http://schemas.microsoft.com/office/drawing/2014/main" id="{0466612D-A533-77B6-C4C4-150217FEF68E}"/>
                </a:ext>
              </a:extLst>
            </p:cNvPr>
            <p:cNvSpPr/>
            <p:nvPr/>
          </p:nvSpPr>
          <p:spPr>
            <a:xfrm rot="339000" flipH="1">
              <a:off x="-14323488" y="3671367"/>
              <a:ext cx="124572" cy="124572"/>
            </a:xfrm>
            <a:custGeom>
              <a:avLst/>
              <a:gdLst>
                <a:gd name="connsiteX0" fmla="*/ 121012 w 124572"/>
                <a:gd name="connsiteY0" fmla="*/ 62041 h 124572"/>
                <a:gd name="connsiteX1" fmla="*/ 58726 w 124572"/>
                <a:gd name="connsiteY1" fmla="*/ 124327 h 124572"/>
                <a:gd name="connsiteX2" fmla="*/ -3559 w 124572"/>
                <a:gd name="connsiteY2" fmla="*/ 62041 h 124572"/>
                <a:gd name="connsiteX3" fmla="*/ 58726 w 124572"/>
                <a:gd name="connsiteY3" fmla="*/ -245 h 124572"/>
                <a:gd name="connsiteX4" fmla="*/ 121012 w 124572"/>
                <a:gd name="connsiteY4" fmla="*/ 62041 h 124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72" h="124572">
                  <a:moveTo>
                    <a:pt x="121012" y="62041"/>
                  </a:moveTo>
                  <a:cubicBezTo>
                    <a:pt x="121012" y="96441"/>
                    <a:pt x="93126" y="124327"/>
                    <a:pt x="58726" y="124327"/>
                  </a:cubicBezTo>
                  <a:cubicBezTo>
                    <a:pt x="24327" y="124327"/>
                    <a:pt x="-3559" y="96441"/>
                    <a:pt x="-3559" y="62041"/>
                  </a:cubicBezTo>
                  <a:cubicBezTo>
                    <a:pt x="-3559" y="27641"/>
                    <a:pt x="24327" y="-245"/>
                    <a:pt x="58726" y="-245"/>
                  </a:cubicBezTo>
                  <a:cubicBezTo>
                    <a:pt x="93126" y="-245"/>
                    <a:pt x="121012" y="27642"/>
                    <a:pt x="121012" y="62041"/>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66" name="Freeform: Shape 65">
              <a:extLst>
                <a:ext uri="{FF2B5EF4-FFF2-40B4-BE49-F238E27FC236}">
                  <a16:creationId xmlns:a16="http://schemas.microsoft.com/office/drawing/2014/main" id="{58CCCD7C-7BFF-253C-E08E-FCB2AD794514}"/>
                </a:ext>
              </a:extLst>
            </p:cNvPr>
            <p:cNvSpPr/>
            <p:nvPr/>
          </p:nvSpPr>
          <p:spPr>
            <a:xfrm flipH="1">
              <a:off x="-12270225" y="661177"/>
              <a:ext cx="786051" cy="327883"/>
            </a:xfrm>
            <a:custGeom>
              <a:avLst/>
              <a:gdLst>
                <a:gd name="connsiteX0" fmla="*/ 786050 w 786050"/>
                <a:gd name="connsiteY0" fmla="*/ 134846 h 327883"/>
                <a:gd name="connsiteX1" fmla="*/ 780914 w 786050"/>
                <a:gd name="connsiteY1" fmla="*/ 143718 h 327883"/>
                <a:gd name="connsiteX2" fmla="*/ 552530 w 786050"/>
                <a:gd name="connsiteY2" fmla="*/ 11854 h 327883"/>
                <a:gd name="connsiteX3" fmla="*/ 5137 w 786050"/>
                <a:gd name="connsiteY3" fmla="*/ 327883 h 327883"/>
                <a:gd name="connsiteX4" fmla="*/ 0 w 786050"/>
                <a:gd name="connsiteY4" fmla="*/ 319011 h 327883"/>
                <a:gd name="connsiteX5" fmla="*/ 552530 w 786050"/>
                <a:gd name="connsiteY5" fmla="*/ 0 h 327883"/>
                <a:gd name="connsiteX6" fmla="*/ 786050 w 786050"/>
                <a:gd name="connsiteY6" fmla="*/ 134846 h 32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050" h="327883">
                  <a:moveTo>
                    <a:pt x="786050" y="134846"/>
                  </a:moveTo>
                  <a:lnTo>
                    <a:pt x="780914" y="143718"/>
                  </a:lnTo>
                  <a:lnTo>
                    <a:pt x="552530" y="11854"/>
                  </a:lnTo>
                  <a:lnTo>
                    <a:pt x="5137" y="327883"/>
                  </a:lnTo>
                  <a:lnTo>
                    <a:pt x="0" y="319011"/>
                  </a:lnTo>
                  <a:lnTo>
                    <a:pt x="552530" y="0"/>
                  </a:lnTo>
                  <a:lnTo>
                    <a:pt x="786050" y="134846"/>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67" name="Freeform: Shape 66">
              <a:extLst>
                <a:ext uri="{FF2B5EF4-FFF2-40B4-BE49-F238E27FC236}">
                  <a16:creationId xmlns:a16="http://schemas.microsoft.com/office/drawing/2014/main" id="{51CA7D55-A032-E15E-B2E1-C012F9C105A7}"/>
                </a:ext>
              </a:extLst>
            </p:cNvPr>
            <p:cNvSpPr/>
            <p:nvPr/>
          </p:nvSpPr>
          <p:spPr>
            <a:xfrm flipH="1">
              <a:off x="-13257177" y="2013192"/>
              <a:ext cx="1110125" cy="910838"/>
            </a:xfrm>
            <a:custGeom>
              <a:avLst/>
              <a:gdLst>
                <a:gd name="connsiteX0" fmla="*/ 1110126 w 1110125"/>
                <a:gd name="connsiteY0" fmla="*/ 320448 h 910838"/>
                <a:gd name="connsiteX1" fmla="*/ 1110126 w 1110125"/>
                <a:gd name="connsiteY1" fmla="*/ 910839 h 910838"/>
                <a:gd name="connsiteX2" fmla="*/ 1099889 w 1110125"/>
                <a:gd name="connsiteY2" fmla="*/ 910839 h 910838"/>
                <a:gd name="connsiteX3" fmla="*/ 1099889 w 1110125"/>
                <a:gd name="connsiteY3" fmla="*/ 326375 h 910838"/>
                <a:gd name="connsiteX4" fmla="*/ 555081 w 1110125"/>
                <a:gd name="connsiteY4" fmla="*/ 11818 h 910838"/>
                <a:gd name="connsiteX5" fmla="*/ 10237 w 1110125"/>
                <a:gd name="connsiteY5" fmla="*/ 326375 h 910838"/>
                <a:gd name="connsiteX6" fmla="*/ 10237 w 1110125"/>
                <a:gd name="connsiteY6" fmla="*/ 611620 h 910838"/>
                <a:gd name="connsiteX7" fmla="*/ 0 w 1110125"/>
                <a:gd name="connsiteY7" fmla="*/ 611620 h 910838"/>
                <a:gd name="connsiteX8" fmla="*/ 0 w 1110125"/>
                <a:gd name="connsiteY8" fmla="*/ 320448 h 910838"/>
                <a:gd name="connsiteX9" fmla="*/ 555081 w 1110125"/>
                <a:gd name="connsiteY9" fmla="*/ 0 h 910838"/>
                <a:gd name="connsiteX10" fmla="*/ 1110126 w 1110125"/>
                <a:gd name="connsiteY10" fmla="*/ 320448 h 9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25" h="910838">
                  <a:moveTo>
                    <a:pt x="1110126" y="320448"/>
                  </a:moveTo>
                  <a:lnTo>
                    <a:pt x="1110126" y="910839"/>
                  </a:lnTo>
                  <a:lnTo>
                    <a:pt x="1099889" y="910839"/>
                  </a:lnTo>
                  <a:lnTo>
                    <a:pt x="1099889" y="326375"/>
                  </a:lnTo>
                  <a:lnTo>
                    <a:pt x="555081" y="11818"/>
                  </a:lnTo>
                  <a:lnTo>
                    <a:pt x="10237" y="326375"/>
                  </a:lnTo>
                  <a:lnTo>
                    <a:pt x="10237" y="611620"/>
                  </a:lnTo>
                  <a:lnTo>
                    <a:pt x="0" y="611620"/>
                  </a:lnTo>
                  <a:lnTo>
                    <a:pt x="0" y="320448"/>
                  </a:lnTo>
                  <a:lnTo>
                    <a:pt x="555081" y="0"/>
                  </a:lnTo>
                  <a:lnTo>
                    <a:pt x="1110126" y="320448"/>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68" name="Freeform: Shape 67">
              <a:extLst>
                <a:ext uri="{FF2B5EF4-FFF2-40B4-BE49-F238E27FC236}">
                  <a16:creationId xmlns:a16="http://schemas.microsoft.com/office/drawing/2014/main" id="{FBD00374-777B-E135-D2A8-0D2F24E83316}"/>
                </a:ext>
              </a:extLst>
            </p:cNvPr>
            <p:cNvSpPr/>
            <p:nvPr/>
          </p:nvSpPr>
          <p:spPr>
            <a:xfrm flipH="1">
              <a:off x="-12182973" y="2592448"/>
              <a:ext cx="61640" cy="61639"/>
            </a:xfrm>
            <a:custGeom>
              <a:avLst/>
              <a:gdLst>
                <a:gd name="connsiteX0" fmla="*/ 58080 w 61640"/>
                <a:gd name="connsiteY0" fmla="*/ 30574 h 61639"/>
                <a:gd name="connsiteX1" fmla="*/ 27260 w 61640"/>
                <a:gd name="connsiteY1" fmla="*/ 61394 h 61639"/>
                <a:gd name="connsiteX2" fmla="*/ -3560 w 61640"/>
                <a:gd name="connsiteY2" fmla="*/ 30574 h 61639"/>
                <a:gd name="connsiteX3" fmla="*/ 27260 w 61640"/>
                <a:gd name="connsiteY3" fmla="*/ -245 h 61639"/>
                <a:gd name="connsiteX4" fmla="*/ 58080 w 61640"/>
                <a:gd name="connsiteY4" fmla="*/ 30574 h 6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40" h="61639">
                  <a:moveTo>
                    <a:pt x="58080" y="30574"/>
                  </a:moveTo>
                  <a:cubicBezTo>
                    <a:pt x="58080" y="47597"/>
                    <a:pt x="44287" y="61394"/>
                    <a:pt x="27260" y="61394"/>
                  </a:cubicBezTo>
                  <a:cubicBezTo>
                    <a:pt x="10235" y="61394"/>
                    <a:pt x="-3560" y="47597"/>
                    <a:pt x="-3560" y="30574"/>
                  </a:cubicBezTo>
                  <a:cubicBezTo>
                    <a:pt x="-3560" y="13552"/>
                    <a:pt x="10235" y="-245"/>
                    <a:pt x="27260" y="-245"/>
                  </a:cubicBezTo>
                  <a:cubicBezTo>
                    <a:pt x="44287" y="-224"/>
                    <a:pt x="58045" y="13562"/>
                    <a:pt x="58080" y="30574"/>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69" name="Freeform: Shape 68">
              <a:extLst>
                <a:ext uri="{FF2B5EF4-FFF2-40B4-BE49-F238E27FC236}">
                  <a16:creationId xmlns:a16="http://schemas.microsoft.com/office/drawing/2014/main" id="{7082B2FB-C7C1-8BBB-097E-4B7AB46992EB}"/>
                </a:ext>
              </a:extLst>
            </p:cNvPr>
            <p:cNvSpPr/>
            <p:nvPr/>
          </p:nvSpPr>
          <p:spPr>
            <a:xfrm flipH="1">
              <a:off x="-13302510" y="2871407"/>
              <a:ext cx="100577" cy="100577"/>
            </a:xfrm>
            <a:custGeom>
              <a:avLst/>
              <a:gdLst>
                <a:gd name="connsiteX0" fmla="*/ -3560 w 100578"/>
                <a:gd name="connsiteY0" fmla="*/ 49864 h 100578"/>
                <a:gd name="connsiteX1" fmla="*/ 46550 w 100578"/>
                <a:gd name="connsiteY1" fmla="*/ 100332 h 100578"/>
                <a:gd name="connsiteX2" fmla="*/ 97018 w 100578"/>
                <a:gd name="connsiteY2" fmla="*/ 50223 h 100578"/>
                <a:gd name="connsiteX3" fmla="*/ 46910 w 100578"/>
                <a:gd name="connsiteY3" fmla="*/ -245 h 100578"/>
                <a:gd name="connsiteX4" fmla="*/ 46729 w 100578"/>
                <a:gd name="connsiteY4" fmla="*/ -245 h 100578"/>
                <a:gd name="connsiteX5" fmla="*/ -3560 w 100578"/>
                <a:gd name="connsiteY5" fmla="*/ 49864 h 10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78" h="100578">
                  <a:moveTo>
                    <a:pt x="-3560" y="49864"/>
                  </a:moveTo>
                  <a:cubicBezTo>
                    <a:pt x="-3667" y="77630"/>
                    <a:pt x="18784" y="100224"/>
                    <a:pt x="46550" y="100332"/>
                  </a:cubicBezTo>
                  <a:cubicBezTo>
                    <a:pt x="74317" y="100440"/>
                    <a:pt x="96911" y="77990"/>
                    <a:pt x="97018" y="50223"/>
                  </a:cubicBezTo>
                  <a:cubicBezTo>
                    <a:pt x="97127" y="22456"/>
                    <a:pt x="74676" y="-145"/>
                    <a:pt x="46910" y="-245"/>
                  </a:cubicBezTo>
                  <a:cubicBezTo>
                    <a:pt x="46838" y="-245"/>
                    <a:pt x="46801" y="-245"/>
                    <a:pt x="46729" y="-245"/>
                  </a:cubicBezTo>
                  <a:cubicBezTo>
                    <a:pt x="19034" y="-245"/>
                    <a:pt x="-3451" y="22169"/>
                    <a:pt x="-3560" y="49864"/>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70" name="Freeform: Shape 69">
              <a:extLst>
                <a:ext uri="{FF2B5EF4-FFF2-40B4-BE49-F238E27FC236}">
                  <a16:creationId xmlns:a16="http://schemas.microsoft.com/office/drawing/2014/main" id="{2D0486BF-AF22-47F0-C1FC-10855F143BF3}"/>
                </a:ext>
              </a:extLst>
            </p:cNvPr>
            <p:cNvSpPr/>
            <p:nvPr/>
          </p:nvSpPr>
          <p:spPr>
            <a:xfrm flipH="1">
              <a:off x="-12820168" y="2867814"/>
              <a:ext cx="738491" cy="300403"/>
            </a:xfrm>
            <a:custGeom>
              <a:avLst/>
              <a:gdLst>
                <a:gd name="connsiteX0" fmla="*/ 738491 w 738491"/>
                <a:gd name="connsiteY0" fmla="*/ 134846 h 300403"/>
                <a:gd name="connsiteX1" fmla="*/ 733355 w 738491"/>
                <a:gd name="connsiteY1" fmla="*/ 143718 h 300403"/>
                <a:gd name="connsiteX2" fmla="*/ 504936 w 738491"/>
                <a:gd name="connsiteY2" fmla="*/ 11818 h 300403"/>
                <a:gd name="connsiteX3" fmla="*/ 5137 w 738491"/>
                <a:gd name="connsiteY3" fmla="*/ 300404 h 300403"/>
                <a:gd name="connsiteX4" fmla="*/ 0 w 738491"/>
                <a:gd name="connsiteY4" fmla="*/ 291532 h 300403"/>
                <a:gd name="connsiteX5" fmla="*/ 504936 w 738491"/>
                <a:gd name="connsiteY5" fmla="*/ 0 h 300403"/>
                <a:gd name="connsiteX6" fmla="*/ 738491 w 738491"/>
                <a:gd name="connsiteY6" fmla="*/ 134846 h 30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491" h="300403">
                  <a:moveTo>
                    <a:pt x="738491" y="134846"/>
                  </a:moveTo>
                  <a:lnTo>
                    <a:pt x="733355" y="143718"/>
                  </a:lnTo>
                  <a:lnTo>
                    <a:pt x="504936" y="11818"/>
                  </a:lnTo>
                  <a:lnTo>
                    <a:pt x="5137" y="300404"/>
                  </a:lnTo>
                  <a:lnTo>
                    <a:pt x="0" y="291532"/>
                  </a:lnTo>
                  <a:lnTo>
                    <a:pt x="504936" y="0"/>
                  </a:lnTo>
                  <a:lnTo>
                    <a:pt x="738491" y="134846"/>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71" name="Freeform: Shape 70">
              <a:extLst>
                <a:ext uri="{FF2B5EF4-FFF2-40B4-BE49-F238E27FC236}">
                  <a16:creationId xmlns:a16="http://schemas.microsoft.com/office/drawing/2014/main" id="{48B9FF7F-35B6-97EB-3631-4AA783615FA3}"/>
                </a:ext>
              </a:extLst>
            </p:cNvPr>
            <p:cNvSpPr/>
            <p:nvPr/>
          </p:nvSpPr>
          <p:spPr>
            <a:xfrm flipH="1">
              <a:off x="-12144556" y="3104528"/>
              <a:ext cx="115603" cy="115608"/>
            </a:xfrm>
            <a:custGeom>
              <a:avLst/>
              <a:gdLst>
                <a:gd name="connsiteX0" fmla="*/ 83110 w 115603"/>
                <a:gd name="connsiteY0" fmla="*/ 107629 h 115608"/>
                <a:gd name="connsiteX1" fmla="*/ 4157 w 115603"/>
                <a:gd name="connsiteY1" fmla="*/ 86436 h 115608"/>
                <a:gd name="connsiteX2" fmla="*/ 25386 w 115603"/>
                <a:gd name="connsiteY2" fmla="*/ 7483 h 115608"/>
                <a:gd name="connsiteX3" fmla="*/ 104268 w 115603"/>
                <a:gd name="connsiteY3" fmla="*/ 28604 h 115608"/>
                <a:gd name="connsiteX4" fmla="*/ 83147 w 115603"/>
                <a:gd name="connsiteY4" fmla="*/ 107629 h 115608"/>
                <a:gd name="connsiteX5" fmla="*/ 83110 w 115603"/>
                <a:gd name="connsiteY5" fmla="*/ 107629 h 11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603" h="115608">
                  <a:moveTo>
                    <a:pt x="83110" y="107629"/>
                  </a:moveTo>
                  <a:cubicBezTo>
                    <a:pt x="55450" y="123578"/>
                    <a:pt x="20105" y="114059"/>
                    <a:pt x="4157" y="86436"/>
                  </a:cubicBezTo>
                  <a:cubicBezTo>
                    <a:pt x="-11757" y="58777"/>
                    <a:pt x="-2273" y="23431"/>
                    <a:pt x="25386" y="7483"/>
                  </a:cubicBezTo>
                  <a:cubicBezTo>
                    <a:pt x="53009" y="-8430"/>
                    <a:pt x="88282" y="1017"/>
                    <a:pt x="104268" y="28604"/>
                  </a:cubicBezTo>
                  <a:cubicBezTo>
                    <a:pt x="120251" y="56263"/>
                    <a:pt x="110805" y="91645"/>
                    <a:pt x="83147" y="107629"/>
                  </a:cubicBezTo>
                  <a:cubicBezTo>
                    <a:pt x="83110" y="107629"/>
                    <a:pt x="83110" y="107629"/>
                    <a:pt x="83110" y="107629"/>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72" name="Freeform: Shape 71">
              <a:extLst>
                <a:ext uri="{FF2B5EF4-FFF2-40B4-BE49-F238E27FC236}">
                  <a16:creationId xmlns:a16="http://schemas.microsoft.com/office/drawing/2014/main" id="{350E6298-CA20-388D-D162-565DA63DEB8F}"/>
                </a:ext>
              </a:extLst>
            </p:cNvPr>
            <p:cNvSpPr/>
            <p:nvPr/>
          </p:nvSpPr>
          <p:spPr>
            <a:xfrm flipH="1">
              <a:off x="-15397326" y="2364747"/>
              <a:ext cx="1368969" cy="409172"/>
            </a:xfrm>
            <a:custGeom>
              <a:avLst/>
              <a:gdLst>
                <a:gd name="connsiteX0" fmla="*/ 1368970 w 1368969"/>
                <a:gd name="connsiteY0" fmla="*/ 392792 h 409171"/>
                <a:gd name="connsiteX1" fmla="*/ 1362289 w 1368969"/>
                <a:gd name="connsiteY1" fmla="*/ 404394 h 409171"/>
                <a:gd name="connsiteX2" fmla="*/ 688634 w 1368969"/>
                <a:gd name="connsiteY2" fmla="*/ 15446 h 409171"/>
                <a:gd name="connsiteX3" fmla="*/ 6717 w 1368969"/>
                <a:gd name="connsiteY3" fmla="*/ 409172 h 409171"/>
                <a:gd name="connsiteX4" fmla="*/ 0 w 1368969"/>
                <a:gd name="connsiteY4" fmla="*/ 397569 h 409171"/>
                <a:gd name="connsiteX5" fmla="*/ 688634 w 1368969"/>
                <a:gd name="connsiteY5" fmla="*/ 0 h 409171"/>
                <a:gd name="connsiteX6" fmla="*/ 1368970 w 1368969"/>
                <a:gd name="connsiteY6" fmla="*/ 392792 h 409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8969" h="409171">
                  <a:moveTo>
                    <a:pt x="1368970" y="392792"/>
                  </a:moveTo>
                  <a:lnTo>
                    <a:pt x="1362289" y="404394"/>
                  </a:lnTo>
                  <a:lnTo>
                    <a:pt x="688634" y="15446"/>
                  </a:lnTo>
                  <a:lnTo>
                    <a:pt x="6717" y="409172"/>
                  </a:lnTo>
                  <a:lnTo>
                    <a:pt x="0" y="397569"/>
                  </a:lnTo>
                  <a:lnTo>
                    <a:pt x="688634" y="0"/>
                  </a:lnTo>
                  <a:lnTo>
                    <a:pt x="1368970" y="392792"/>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73" name="Freeform: Shape 72">
              <a:extLst>
                <a:ext uri="{FF2B5EF4-FFF2-40B4-BE49-F238E27FC236}">
                  <a16:creationId xmlns:a16="http://schemas.microsoft.com/office/drawing/2014/main" id="{68CF3A31-3A12-51A5-FAD3-F65EBCF28578}"/>
                </a:ext>
              </a:extLst>
            </p:cNvPr>
            <p:cNvSpPr/>
            <p:nvPr/>
          </p:nvSpPr>
          <p:spPr>
            <a:xfrm flipH="1">
              <a:off x="-14073719" y="2726835"/>
              <a:ext cx="80559" cy="80548"/>
            </a:xfrm>
            <a:custGeom>
              <a:avLst/>
              <a:gdLst>
                <a:gd name="connsiteX0" fmla="*/ 56854 w 80559"/>
                <a:gd name="connsiteY0" fmla="*/ 74893 h 80548"/>
                <a:gd name="connsiteX1" fmla="*/ 1859 w 80559"/>
                <a:gd name="connsiteY1" fmla="*/ 60177 h 80548"/>
                <a:gd name="connsiteX2" fmla="*/ 16550 w 80559"/>
                <a:gd name="connsiteY2" fmla="*/ 5164 h 80548"/>
                <a:gd name="connsiteX3" fmla="*/ 71580 w 80559"/>
                <a:gd name="connsiteY3" fmla="*/ 19881 h 80548"/>
                <a:gd name="connsiteX4" fmla="*/ 71580 w 80559"/>
                <a:gd name="connsiteY4" fmla="*/ 19899 h 80548"/>
                <a:gd name="connsiteX5" fmla="*/ 56889 w 80559"/>
                <a:gd name="connsiteY5" fmla="*/ 74868 h 80548"/>
                <a:gd name="connsiteX6" fmla="*/ 56854 w 80559"/>
                <a:gd name="connsiteY6" fmla="*/ 74893 h 8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559" h="80548">
                  <a:moveTo>
                    <a:pt x="56854" y="74893"/>
                  </a:moveTo>
                  <a:cubicBezTo>
                    <a:pt x="37599" y="86021"/>
                    <a:pt x="12958" y="79430"/>
                    <a:pt x="1859" y="60177"/>
                  </a:cubicBezTo>
                  <a:cubicBezTo>
                    <a:pt x="-9276" y="40920"/>
                    <a:pt x="-2703" y="16292"/>
                    <a:pt x="16550" y="5164"/>
                  </a:cubicBezTo>
                  <a:cubicBezTo>
                    <a:pt x="35803" y="-5964"/>
                    <a:pt x="60446" y="627"/>
                    <a:pt x="71580" y="19881"/>
                  </a:cubicBezTo>
                  <a:cubicBezTo>
                    <a:pt x="71580" y="19888"/>
                    <a:pt x="71580" y="19895"/>
                    <a:pt x="71580" y="19899"/>
                  </a:cubicBezTo>
                  <a:cubicBezTo>
                    <a:pt x="82716" y="39131"/>
                    <a:pt x="76142" y="63744"/>
                    <a:pt x="56889" y="74868"/>
                  </a:cubicBezTo>
                  <a:cubicBezTo>
                    <a:pt x="56889" y="74875"/>
                    <a:pt x="56854" y="74886"/>
                    <a:pt x="56854" y="74893"/>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74" name="Freeform: Shape 73">
              <a:extLst>
                <a:ext uri="{FF2B5EF4-FFF2-40B4-BE49-F238E27FC236}">
                  <a16:creationId xmlns:a16="http://schemas.microsoft.com/office/drawing/2014/main" id="{15618841-1E00-EF39-78B4-E3ACE8AC89D9}"/>
                </a:ext>
              </a:extLst>
            </p:cNvPr>
            <p:cNvSpPr/>
            <p:nvPr/>
          </p:nvSpPr>
          <p:spPr>
            <a:xfrm flipH="1">
              <a:off x="-15442019" y="2711802"/>
              <a:ext cx="100593" cy="100595"/>
            </a:xfrm>
            <a:custGeom>
              <a:avLst/>
              <a:gdLst>
                <a:gd name="connsiteX0" fmla="*/ 21627 w 100593"/>
                <a:gd name="connsiteY0" fmla="*/ 93626 h 100594"/>
                <a:gd name="connsiteX1" fmla="*/ 90308 w 100593"/>
                <a:gd name="connsiteY1" fmla="*/ 75156 h 100594"/>
                <a:gd name="connsiteX2" fmla="*/ 71844 w 100593"/>
                <a:gd name="connsiteY2" fmla="*/ 6479 h 100594"/>
                <a:gd name="connsiteX3" fmla="*/ 3201 w 100593"/>
                <a:gd name="connsiteY3" fmla="*/ 24874 h 100594"/>
                <a:gd name="connsiteX4" fmla="*/ 21556 w 100593"/>
                <a:gd name="connsiteY4" fmla="*/ 93583 h 100594"/>
                <a:gd name="connsiteX5" fmla="*/ 21627 w 100593"/>
                <a:gd name="connsiteY5" fmla="*/ 93626 h 10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93" h="100594">
                  <a:moveTo>
                    <a:pt x="21627" y="93626"/>
                  </a:moveTo>
                  <a:cubicBezTo>
                    <a:pt x="45695" y="107491"/>
                    <a:pt x="76443" y="99222"/>
                    <a:pt x="90308" y="75156"/>
                  </a:cubicBezTo>
                  <a:cubicBezTo>
                    <a:pt x="104173" y="51092"/>
                    <a:pt x="95912" y="20344"/>
                    <a:pt x="71844" y="6479"/>
                  </a:cubicBezTo>
                  <a:cubicBezTo>
                    <a:pt x="47814" y="-7372"/>
                    <a:pt x="17102" y="861"/>
                    <a:pt x="3201" y="24874"/>
                  </a:cubicBezTo>
                  <a:cubicBezTo>
                    <a:pt x="-10701" y="48915"/>
                    <a:pt x="-2475" y="79678"/>
                    <a:pt x="21556" y="93583"/>
                  </a:cubicBezTo>
                  <a:cubicBezTo>
                    <a:pt x="21592" y="93597"/>
                    <a:pt x="21592" y="93612"/>
                    <a:pt x="21627" y="93626"/>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75" name="Freeform: Shape 74">
              <a:extLst>
                <a:ext uri="{FF2B5EF4-FFF2-40B4-BE49-F238E27FC236}">
                  <a16:creationId xmlns:a16="http://schemas.microsoft.com/office/drawing/2014/main" id="{FC56CF9C-2A8B-577A-E094-8284CB2AEBBC}"/>
                </a:ext>
              </a:extLst>
            </p:cNvPr>
            <p:cNvSpPr/>
            <p:nvPr/>
          </p:nvSpPr>
          <p:spPr>
            <a:xfrm flipH="1">
              <a:off x="-9792780" y="1251999"/>
              <a:ext cx="516429" cy="1096368"/>
            </a:xfrm>
            <a:custGeom>
              <a:avLst/>
              <a:gdLst>
                <a:gd name="connsiteX0" fmla="*/ 516430 w 516430"/>
                <a:gd name="connsiteY0" fmla="*/ 295195 h 1096368"/>
                <a:gd name="connsiteX1" fmla="*/ 516430 w 516430"/>
                <a:gd name="connsiteY1" fmla="*/ 936127 h 1096368"/>
                <a:gd name="connsiteX2" fmla="*/ 238872 w 516430"/>
                <a:gd name="connsiteY2" fmla="*/ 1096369 h 1096368"/>
                <a:gd name="connsiteX3" fmla="*/ 233771 w 516430"/>
                <a:gd name="connsiteY3" fmla="*/ 1087496 h 1096368"/>
                <a:gd name="connsiteX4" fmla="*/ 506157 w 516430"/>
                <a:gd name="connsiteY4" fmla="*/ 930200 h 1096368"/>
                <a:gd name="connsiteX5" fmla="*/ 506157 w 516430"/>
                <a:gd name="connsiteY5" fmla="*/ 301086 h 1096368"/>
                <a:gd name="connsiteX6" fmla="*/ 0 w 516430"/>
                <a:gd name="connsiteY6" fmla="*/ 8872 h 1096368"/>
                <a:gd name="connsiteX7" fmla="*/ 5137 w 516430"/>
                <a:gd name="connsiteY7" fmla="*/ 0 h 1096368"/>
                <a:gd name="connsiteX8" fmla="*/ 516430 w 516430"/>
                <a:gd name="connsiteY8" fmla="*/ 295195 h 109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430" h="1096368">
                  <a:moveTo>
                    <a:pt x="516430" y="295195"/>
                  </a:moveTo>
                  <a:lnTo>
                    <a:pt x="516430" y="936127"/>
                  </a:lnTo>
                  <a:lnTo>
                    <a:pt x="238872" y="1096369"/>
                  </a:lnTo>
                  <a:lnTo>
                    <a:pt x="233771" y="1087496"/>
                  </a:lnTo>
                  <a:lnTo>
                    <a:pt x="506157" y="930200"/>
                  </a:lnTo>
                  <a:lnTo>
                    <a:pt x="506157" y="301086"/>
                  </a:lnTo>
                  <a:lnTo>
                    <a:pt x="0" y="8872"/>
                  </a:lnTo>
                  <a:lnTo>
                    <a:pt x="5137" y="0"/>
                  </a:lnTo>
                  <a:lnTo>
                    <a:pt x="516430" y="295195"/>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76" name="Freeform: Shape 75">
              <a:extLst>
                <a:ext uri="{FF2B5EF4-FFF2-40B4-BE49-F238E27FC236}">
                  <a16:creationId xmlns:a16="http://schemas.microsoft.com/office/drawing/2014/main" id="{AC5DFE96-C8C8-5732-B204-F047EE795916}"/>
                </a:ext>
              </a:extLst>
            </p:cNvPr>
            <p:cNvSpPr/>
            <p:nvPr/>
          </p:nvSpPr>
          <p:spPr>
            <a:xfrm flipH="1">
              <a:off x="-9331160" y="1207540"/>
              <a:ext cx="100220" cy="100169"/>
            </a:xfrm>
            <a:custGeom>
              <a:avLst/>
              <a:gdLst>
                <a:gd name="connsiteX0" fmla="*/ 21519 w 100221"/>
                <a:gd name="connsiteY0" fmla="*/ 93281 h 100169"/>
                <a:gd name="connsiteX1" fmla="*/ 3128 w 100221"/>
                <a:gd name="connsiteY1" fmla="*/ 24841 h 100169"/>
                <a:gd name="connsiteX2" fmla="*/ 71593 w 100221"/>
                <a:gd name="connsiteY2" fmla="*/ 6464 h 100169"/>
                <a:gd name="connsiteX3" fmla="*/ 89948 w 100221"/>
                <a:gd name="connsiteY3" fmla="*/ 74904 h 100169"/>
                <a:gd name="connsiteX4" fmla="*/ 89948 w 100221"/>
                <a:gd name="connsiteY4" fmla="*/ 74926 h 100169"/>
                <a:gd name="connsiteX5" fmla="*/ 21519 w 100221"/>
                <a:gd name="connsiteY5" fmla="*/ 93281 h 10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21" h="100169">
                  <a:moveTo>
                    <a:pt x="21519" y="93281"/>
                  </a:moveTo>
                  <a:cubicBezTo>
                    <a:pt x="-2440" y="79455"/>
                    <a:pt x="-10666" y="48815"/>
                    <a:pt x="3128" y="24841"/>
                  </a:cubicBezTo>
                  <a:cubicBezTo>
                    <a:pt x="16958" y="864"/>
                    <a:pt x="47597" y="-7361"/>
                    <a:pt x="71593" y="6464"/>
                  </a:cubicBezTo>
                  <a:cubicBezTo>
                    <a:pt x="95552" y="20287"/>
                    <a:pt x="103777" y="50931"/>
                    <a:pt x="89948" y="74904"/>
                  </a:cubicBezTo>
                  <a:cubicBezTo>
                    <a:pt x="89948" y="74911"/>
                    <a:pt x="89948" y="74918"/>
                    <a:pt x="89948" y="74926"/>
                  </a:cubicBezTo>
                  <a:cubicBezTo>
                    <a:pt x="76047" y="98798"/>
                    <a:pt x="45514" y="106995"/>
                    <a:pt x="21519" y="93281"/>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77" name="Freeform: Shape 76">
              <a:extLst>
                <a:ext uri="{FF2B5EF4-FFF2-40B4-BE49-F238E27FC236}">
                  <a16:creationId xmlns:a16="http://schemas.microsoft.com/office/drawing/2014/main" id="{03881B92-0ADC-CA3D-0DB7-736445332F34}"/>
                </a:ext>
              </a:extLst>
            </p:cNvPr>
            <p:cNvSpPr/>
            <p:nvPr/>
          </p:nvSpPr>
          <p:spPr>
            <a:xfrm flipH="1">
              <a:off x="-13639947" y="2943679"/>
              <a:ext cx="1953433" cy="1077330"/>
            </a:xfrm>
            <a:custGeom>
              <a:avLst/>
              <a:gdLst>
                <a:gd name="connsiteX0" fmla="*/ 1953434 w 1953433"/>
                <a:gd name="connsiteY0" fmla="*/ 531373 h 1077330"/>
                <a:gd name="connsiteX1" fmla="*/ 1007824 w 1953433"/>
                <a:gd name="connsiteY1" fmla="*/ 1077331 h 1077330"/>
                <a:gd name="connsiteX2" fmla="*/ 1003154 w 1953433"/>
                <a:gd name="connsiteY2" fmla="*/ 1074636 h 1077330"/>
                <a:gd name="connsiteX3" fmla="*/ 0 w 1953433"/>
                <a:gd name="connsiteY3" fmla="*/ 495453 h 1077330"/>
                <a:gd name="connsiteX4" fmla="*/ 0 w 1953433"/>
                <a:gd name="connsiteY4" fmla="*/ 0 h 1077330"/>
                <a:gd name="connsiteX5" fmla="*/ 18607 w 1953433"/>
                <a:gd name="connsiteY5" fmla="*/ 0 h 1077330"/>
                <a:gd name="connsiteX6" fmla="*/ 18607 w 1953433"/>
                <a:gd name="connsiteY6" fmla="*/ 484713 h 1077330"/>
                <a:gd name="connsiteX7" fmla="*/ 1007824 w 1953433"/>
                <a:gd name="connsiteY7" fmla="*/ 1055850 h 1077330"/>
                <a:gd name="connsiteX8" fmla="*/ 1944130 w 1953433"/>
                <a:gd name="connsiteY8" fmla="*/ 515281 h 1077330"/>
                <a:gd name="connsiteX9" fmla="*/ 1953434 w 1953433"/>
                <a:gd name="connsiteY9" fmla="*/ 531373 h 107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3433" h="1077330">
                  <a:moveTo>
                    <a:pt x="1953434" y="531373"/>
                  </a:moveTo>
                  <a:lnTo>
                    <a:pt x="1007824" y="1077331"/>
                  </a:lnTo>
                  <a:lnTo>
                    <a:pt x="1003154" y="1074636"/>
                  </a:lnTo>
                  <a:lnTo>
                    <a:pt x="0" y="495453"/>
                  </a:lnTo>
                  <a:lnTo>
                    <a:pt x="0" y="0"/>
                  </a:lnTo>
                  <a:lnTo>
                    <a:pt x="18607" y="0"/>
                  </a:lnTo>
                  <a:lnTo>
                    <a:pt x="18607" y="484713"/>
                  </a:lnTo>
                  <a:lnTo>
                    <a:pt x="1007824" y="1055850"/>
                  </a:lnTo>
                  <a:lnTo>
                    <a:pt x="1944130" y="515281"/>
                  </a:lnTo>
                  <a:lnTo>
                    <a:pt x="1953434" y="531373"/>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78" name="Freeform: Shape 77">
              <a:extLst>
                <a:ext uri="{FF2B5EF4-FFF2-40B4-BE49-F238E27FC236}">
                  <a16:creationId xmlns:a16="http://schemas.microsoft.com/office/drawing/2014/main" id="{96C75B86-1C55-7CB9-DAB8-E07DDDB5917A}"/>
                </a:ext>
              </a:extLst>
            </p:cNvPr>
            <p:cNvSpPr/>
            <p:nvPr/>
          </p:nvSpPr>
          <p:spPr>
            <a:xfrm flipH="1">
              <a:off x="-13702247" y="3398743"/>
              <a:ext cx="139952" cy="139974"/>
            </a:xfrm>
            <a:custGeom>
              <a:avLst/>
              <a:gdLst>
                <a:gd name="connsiteX0" fmla="*/ 31417 w 139952"/>
                <a:gd name="connsiteY0" fmla="*/ 9145 h 139975"/>
                <a:gd name="connsiteX1" fmla="*/ 127001 w 139952"/>
                <a:gd name="connsiteY1" fmla="*/ 34756 h 139975"/>
                <a:gd name="connsiteX2" fmla="*/ 101391 w 139952"/>
                <a:gd name="connsiteY2" fmla="*/ 130341 h 139975"/>
                <a:gd name="connsiteX3" fmla="*/ 5806 w 139952"/>
                <a:gd name="connsiteY3" fmla="*/ 104729 h 139975"/>
                <a:gd name="connsiteX4" fmla="*/ 5806 w 139952"/>
                <a:gd name="connsiteY4" fmla="*/ 104729 h 139975"/>
                <a:gd name="connsiteX5" fmla="*/ 31417 w 139952"/>
                <a:gd name="connsiteY5" fmla="*/ 9145 h 13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952" h="139975">
                  <a:moveTo>
                    <a:pt x="31417" y="9145"/>
                  </a:moveTo>
                  <a:cubicBezTo>
                    <a:pt x="64895" y="-10181"/>
                    <a:pt x="107677" y="1278"/>
                    <a:pt x="127001" y="34756"/>
                  </a:cubicBezTo>
                  <a:cubicBezTo>
                    <a:pt x="146328" y="68234"/>
                    <a:pt x="134868" y="111015"/>
                    <a:pt x="101391" y="130341"/>
                  </a:cubicBezTo>
                  <a:cubicBezTo>
                    <a:pt x="67913" y="149666"/>
                    <a:pt x="25131" y="138207"/>
                    <a:pt x="5806" y="104729"/>
                  </a:cubicBezTo>
                  <a:cubicBezTo>
                    <a:pt x="5806" y="104729"/>
                    <a:pt x="5806" y="104729"/>
                    <a:pt x="5806" y="104729"/>
                  </a:cubicBezTo>
                  <a:cubicBezTo>
                    <a:pt x="-13483" y="71251"/>
                    <a:pt x="-2025" y="28506"/>
                    <a:pt x="31417" y="9145"/>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79" name="Freeform: Shape 78">
              <a:extLst>
                <a:ext uri="{FF2B5EF4-FFF2-40B4-BE49-F238E27FC236}">
                  <a16:creationId xmlns:a16="http://schemas.microsoft.com/office/drawing/2014/main" id="{9833C0FF-8461-D797-CB7E-7443A74C66A6}"/>
                </a:ext>
              </a:extLst>
            </p:cNvPr>
            <p:cNvSpPr/>
            <p:nvPr/>
          </p:nvSpPr>
          <p:spPr>
            <a:xfrm flipH="1">
              <a:off x="-11786768" y="2857218"/>
              <a:ext cx="181973" cy="181973"/>
            </a:xfrm>
            <a:custGeom>
              <a:avLst/>
              <a:gdLst>
                <a:gd name="connsiteX0" fmla="*/ 178414 w 181974"/>
                <a:gd name="connsiteY0" fmla="*/ 90741 h 181973"/>
                <a:gd name="connsiteX1" fmla="*/ 87427 w 181974"/>
                <a:gd name="connsiteY1" fmla="*/ -245 h 181973"/>
                <a:gd name="connsiteX2" fmla="*/ -3560 w 181974"/>
                <a:gd name="connsiteY2" fmla="*/ 90741 h 181973"/>
                <a:gd name="connsiteX3" fmla="*/ 87427 w 181974"/>
                <a:gd name="connsiteY3" fmla="*/ 181728 h 181973"/>
                <a:gd name="connsiteX4" fmla="*/ 178414 w 181974"/>
                <a:gd name="connsiteY4" fmla="*/ 90741 h 1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974" h="181973">
                  <a:moveTo>
                    <a:pt x="178414" y="90741"/>
                  </a:moveTo>
                  <a:cubicBezTo>
                    <a:pt x="178414" y="40489"/>
                    <a:pt x="137679" y="-245"/>
                    <a:pt x="87427" y="-245"/>
                  </a:cubicBezTo>
                  <a:cubicBezTo>
                    <a:pt x="37173" y="-245"/>
                    <a:pt x="-3560" y="40489"/>
                    <a:pt x="-3560" y="90741"/>
                  </a:cubicBezTo>
                  <a:cubicBezTo>
                    <a:pt x="-3560" y="140994"/>
                    <a:pt x="37173" y="181728"/>
                    <a:pt x="87427" y="181728"/>
                  </a:cubicBezTo>
                  <a:cubicBezTo>
                    <a:pt x="137679" y="181728"/>
                    <a:pt x="178414" y="140994"/>
                    <a:pt x="178414" y="90741"/>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80" name="Freeform: Shape 79">
              <a:extLst>
                <a:ext uri="{FF2B5EF4-FFF2-40B4-BE49-F238E27FC236}">
                  <a16:creationId xmlns:a16="http://schemas.microsoft.com/office/drawing/2014/main" id="{5C29C3E1-5EF2-3224-4B3F-C760FC0F52AF}"/>
                </a:ext>
              </a:extLst>
            </p:cNvPr>
            <p:cNvSpPr/>
            <p:nvPr/>
          </p:nvSpPr>
          <p:spPr>
            <a:xfrm rot="1800001" flipH="1">
              <a:off x="-12150341" y="1967587"/>
              <a:ext cx="450192" cy="18606"/>
            </a:xfrm>
            <a:custGeom>
              <a:avLst/>
              <a:gdLst>
                <a:gd name="connsiteX0" fmla="*/ -3561 w 450192"/>
                <a:gd name="connsiteY0" fmla="*/ -245 h 18606"/>
                <a:gd name="connsiteX1" fmla="*/ 446632 w 450192"/>
                <a:gd name="connsiteY1" fmla="*/ -245 h 18606"/>
                <a:gd name="connsiteX2" fmla="*/ 446632 w 450192"/>
                <a:gd name="connsiteY2" fmla="*/ 18361 h 18606"/>
                <a:gd name="connsiteX3" fmla="*/ -3561 w 450192"/>
                <a:gd name="connsiteY3" fmla="*/ 18361 h 18606"/>
              </a:gdLst>
              <a:ahLst/>
              <a:cxnLst>
                <a:cxn ang="0">
                  <a:pos x="connsiteX0" y="connsiteY0"/>
                </a:cxn>
                <a:cxn ang="0">
                  <a:pos x="connsiteX1" y="connsiteY1"/>
                </a:cxn>
                <a:cxn ang="0">
                  <a:pos x="connsiteX2" y="connsiteY2"/>
                </a:cxn>
                <a:cxn ang="0">
                  <a:pos x="connsiteX3" y="connsiteY3"/>
                </a:cxn>
              </a:cxnLst>
              <a:rect l="l" t="t" r="r" b="b"/>
              <a:pathLst>
                <a:path w="450192" h="18606">
                  <a:moveTo>
                    <a:pt x="-3561" y="-245"/>
                  </a:moveTo>
                  <a:lnTo>
                    <a:pt x="446632" y="-245"/>
                  </a:lnTo>
                  <a:lnTo>
                    <a:pt x="446632" y="18361"/>
                  </a:lnTo>
                  <a:lnTo>
                    <a:pt x="-3561" y="18361"/>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81" name="Freeform: Shape 80">
              <a:extLst>
                <a:ext uri="{FF2B5EF4-FFF2-40B4-BE49-F238E27FC236}">
                  <a16:creationId xmlns:a16="http://schemas.microsoft.com/office/drawing/2014/main" id="{77CC3296-4B3A-5AE8-4031-47693531B433}"/>
                </a:ext>
              </a:extLst>
            </p:cNvPr>
            <p:cNvSpPr/>
            <p:nvPr/>
          </p:nvSpPr>
          <p:spPr>
            <a:xfrm flipH="1">
              <a:off x="-12207236" y="1775740"/>
              <a:ext cx="181935" cy="181930"/>
            </a:xfrm>
            <a:custGeom>
              <a:avLst/>
              <a:gdLst>
                <a:gd name="connsiteX0" fmla="*/ 41933 w 181935"/>
                <a:gd name="connsiteY0" fmla="*/ 11948 h 181931"/>
                <a:gd name="connsiteX1" fmla="*/ 166181 w 181935"/>
                <a:gd name="connsiteY1" fmla="*/ 45254 h 181931"/>
                <a:gd name="connsiteX2" fmla="*/ 132848 w 181935"/>
                <a:gd name="connsiteY2" fmla="*/ 169493 h 181931"/>
                <a:gd name="connsiteX3" fmla="*/ 8634 w 181935"/>
                <a:gd name="connsiteY3" fmla="*/ 136198 h 181931"/>
                <a:gd name="connsiteX4" fmla="*/ 41933 w 181935"/>
                <a:gd name="connsiteY4" fmla="*/ 11956 h 181931"/>
                <a:gd name="connsiteX5" fmla="*/ 41933 w 181935"/>
                <a:gd name="connsiteY5" fmla="*/ 11948 h 18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35" h="181931">
                  <a:moveTo>
                    <a:pt x="41933" y="11948"/>
                  </a:moveTo>
                  <a:cubicBezTo>
                    <a:pt x="85432" y="-13160"/>
                    <a:pt x="141074" y="1751"/>
                    <a:pt x="166181" y="45254"/>
                  </a:cubicBezTo>
                  <a:cubicBezTo>
                    <a:pt x="191291" y="88757"/>
                    <a:pt x="176384" y="144381"/>
                    <a:pt x="132848" y="169493"/>
                  </a:cubicBezTo>
                  <a:cubicBezTo>
                    <a:pt x="89349" y="194598"/>
                    <a:pt x="33744" y="179694"/>
                    <a:pt x="8634" y="136198"/>
                  </a:cubicBezTo>
                  <a:cubicBezTo>
                    <a:pt x="-16473" y="92698"/>
                    <a:pt x="-1567" y="37071"/>
                    <a:pt x="41933" y="11956"/>
                  </a:cubicBezTo>
                  <a:cubicBezTo>
                    <a:pt x="41933" y="11952"/>
                    <a:pt x="41933" y="11952"/>
                    <a:pt x="41933" y="11948"/>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82" name="Freeform: Shape 81">
              <a:extLst>
                <a:ext uri="{FF2B5EF4-FFF2-40B4-BE49-F238E27FC236}">
                  <a16:creationId xmlns:a16="http://schemas.microsoft.com/office/drawing/2014/main" id="{FA65F0F2-D591-8413-05E6-C30B589DB1AB}"/>
                </a:ext>
              </a:extLst>
            </p:cNvPr>
            <p:cNvSpPr/>
            <p:nvPr/>
          </p:nvSpPr>
          <p:spPr>
            <a:xfrm flipH="1">
              <a:off x="-11774233" y="2046450"/>
              <a:ext cx="83985" cy="83996"/>
            </a:xfrm>
            <a:custGeom>
              <a:avLst/>
              <a:gdLst>
                <a:gd name="connsiteX0" fmla="*/ 17348 w 83985"/>
                <a:gd name="connsiteY0" fmla="*/ 5436 h 83996"/>
                <a:gd name="connsiteX1" fmla="*/ 2119 w 83985"/>
                <a:gd name="connsiteY1" fmla="*/ 62830 h 83996"/>
                <a:gd name="connsiteX2" fmla="*/ 59520 w 83985"/>
                <a:gd name="connsiteY2" fmla="*/ 78071 h 83996"/>
                <a:gd name="connsiteX3" fmla="*/ 74821 w 83985"/>
                <a:gd name="connsiteY3" fmla="*/ 20810 h 83996"/>
                <a:gd name="connsiteX4" fmla="*/ 17492 w 83985"/>
                <a:gd name="connsiteY4" fmla="*/ 5357 h 83996"/>
                <a:gd name="connsiteX5" fmla="*/ 17348 w 83985"/>
                <a:gd name="connsiteY5" fmla="*/ 5436 h 83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985" h="83996">
                  <a:moveTo>
                    <a:pt x="17348" y="5436"/>
                  </a:moveTo>
                  <a:cubicBezTo>
                    <a:pt x="-2696" y="17078"/>
                    <a:pt x="-9520" y="42775"/>
                    <a:pt x="2119" y="62830"/>
                  </a:cubicBezTo>
                  <a:cubicBezTo>
                    <a:pt x="13756" y="82888"/>
                    <a:pt x="39439" y="89713"/>
                    <a:pt x="59520" y="78071"/>
                  </a:cubicBezTo>
                  <a:cubicBezTo>
                    <a:pt x="79527" y="66461"/>
                    <a:pt x="86352" y="40857"/>
                    <a:pt x="74821" y="20810"/>
                  </a:cubicBezTo>
                  <a:cubicBezTo>
                    <a:pt x="63256" y="709"/>
                    <a:pt x="37571" y="-6209"/>
                    <a:pt x="17492" y="5357"/>
                  </a:cubicBezTo>
                  <a:cubicBezTo>
                    <a:pt x="17420" y="5386"/>
                    <a:pt x="17385" y="5411"/>
                    <a:pt x="17348" y="5436"/>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83" name="Freeform: Shape 82">
              <a:extLst>
                <a:ext uri="{FF2B5EF4-FFF2-40B4-BE49-F238E27FC236}">
                  <a16:creationId xmlns:a16="http://schemas.microsoft.com/office/drawing/2014/main" id="{B644EB84-5C4B-9D45-88CE-DFB214F0F8C8}"/>
                </a:ext>
              </a:extLst>
            </p:cNvPr>
            <p:cNvSpPr/>
            <p:nvPr/>
          </p:nvSpPr>
          <p:spPr>
            <a:xfrm flipH="1">
              <a:off x="-13702162" y="1451179"/>
              <a:ext cx="937635" cy="1990646"/>
            </a:xfrm>
            <a:custGeom>
              <a:avLst/>
              <a:gdLst>
                <a:gd name="connsiteX0" fmla="*/ 937635 w 937635"/>
                <a:gd name="connsiteY0" fmla="*/ 535971 h 1990647"/>
                <a:gd name="connsiteX1" fmla="*/ 937635 w 937635"/>
                <a:gd name="connsiteY1" fmla="*/ 1699727 h 1990647"/>
                <a:gd name="connsiteX2" fmla="*/ 433705 w 937635"/>
                <a:gd name="connsiteY2" fmla="*/ 1990648 h 1990647"/>
                <a:gd name="connsiteX3" fmla="*/ 424402 w 937635"/>
                <a:gd name="connsiteY3" fmla="*/ 1974519 h 1990647"/>
                <a:gd name="connsiteX4" fmla="*/ 919028 w 937635"/>
                <a:gd name="connsiteY4" fmla="*/ 1688986 h 1990647"/>
                <a:gd name="connsiteX5" fmla="*/ 919028 w 937635"/>
                <a:gd name="connsiteY5" fmla="*/ 546711 h 1990647"/>
                <a:gd name="connsiteX6" fmla="*/ 0 w 937635"/>
                <a:gd name="connsiteY6" fmla="*/ 16092 h 1990647"/>
                <a:gd name="connsiteX7" fmla="*/ 9304 w 937635"/>
                <a:gd name="connsiteY7" fmla="*/ 0 h 1990647"/>
                <a:gd name="connsiteX8" fmla="*/ 937635 w 937635"/>
                <a:gd name="connsiteY8" fmla="*/ 535971 h 199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7635" h="1990647">
                  <a:moveTo>
                    <a:pt x="937635" y="535971"/>
                  </a:moveTo>
                  <a:lnTo>
                    <a:pt x="937635" y="1699727"/>
                  </a:lnTo>
                  <a:lnTo>
                    <a:pt x="433705" y="1990648"/>
                  </a:lnTo>
                  <a:lnTo>
                    <a:pt x="424402" y="1974519"/>
                  </a:lnTo>
                  <a:lnTo>
                    <a:pt x="919028" y="1688986"/>
                  </a:lnTo>
                  <a:lnTo>
                    <a:pt x="919028" y="546711"/>
                  </a:lnTo>
                  <a:lnTo>
                    <a:pt x="0" y="16092"/>
                  </a:lnTo>
                  <a:lnTo>
                    <a:pt x="9304" y="0"/>
                  </a:lnTo>
                  <a:lnTo>
                    <a:pt x="937635" y="535971"/>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84" name="Freeform: Shape 83">
              <a:extLst>
                <a:ext uri="{FF2B5EF4-FFF2-40B4-BE49-F238E27FC236}">
                  <a16:creationId xmlns:a16="http://schemas.microsoft.com/office/drawing/2014/main" id="{A6C26792-03EA-0165-3E9A-822A78E34756}"/>
                </a:ext>
              </a:extLst>
            </p:cNvPr>
            <p:cNvSpPr/>
            <p:nvPr/>
          </p:nvSpPr>
          <p:spPr>
            <a:xfrm flipH="1">
              <a:off x="-12864066" y="1370549"/>
              <a:ext cx="181921" cy="181932"/>
            </a:xfrm>
            <a:custGeom>
              <a:avLst/>
              <a:gdLst>
                <a:gd name="connsiteX0" fmla="*/ 41895 w 181921"/>
                <a:gd name="connsiteY0" fmla="*/ 169469 h 181932"/>
                <a:gd name="connsiteX1" fmla="*/ 8669 w 181921"/>
                <a:gd name="connsiteY1" fmla="*/ 45216 h 181932"/>
                <a:gd name="connsiteX2" fmla="*/ 132918 w 181921"/>
                <a:gd name="connsiteY2" fmla="*/ 11971 h 181932"/>
                <a:gd name="connsiteX3" fmla="*/ 166181 w 181921"/>
                <a:gd name="connsiteY3" fmla="*/ 136170 h 181932"/>
                <a:gd name="connsiteX4" fmla="*/ 41967 w 181921"/>
                <a:gd name="connsiteY4" fmla="*/ 169501 h 181932"/>
                <a:gd name="connsiteX5" fmla="*/ 41895 w 181921"/>
                <a:gd name="connsiteY5" fmla="*/ 169469 h 18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21" h="181932">
                  <a:moveTo>
                    <a:pt x="41895" y="169469"/>
                  </a:moveTo>
                  <a:cubicBezTo>
                    <a:pt x="-1604" y="144339"/>
                    <a:pt x="-16476" y="88708"/>
                    <a:pt x="8669" y="45216"/>
                  </a:cubicBezTo>
                  <a:cubicBezTo>
                    <a:pt x="33776" y="1723"/>
                    <a:pt x="89418" y="-13159"/>
                    <a:pt x="132918" y="11971"/>
                  </a:cubicBezTo>
                  <a:cubicBezTo>
                    <a:pt x="176382" y="37090"/>
                    <a:pt x="191254" y="92681"/>
                    <a:pt x="166181" y="136170"/>
                  </a:cubicBezTo>
                  <a:cubicBezTo>
                    <a:pt x="141072" y="179681"/>
                    <a:pt x="85467" y="194602"/>
                    <a:pt x="41967" y="169501"/>
                  </a:cubicBezTo>
                  <a:cubicBezTo>
                    <a:pt x="41930" y="169490"/>
                    <a:pt x="41895" y="169479"/>
                    <a:pt x="41895" y="169469"/>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85" name="Freeform: Shape 84">
              <a:extLst>
                <a:ext uri="{FF2B5EF4-FFF2-40B4-BE49-F238E27FC236}">
                  <a16:creationId xmlns:a16="http://schemas.microsoft.com/office/drawing/2014/main" id="{A39121FA-391D-13D8-B4AB-2A8B5FF64644}"/>
                </a:ext>
              </a:extLst>
            </p:cNvPr>
            <p:cNvSpPr/>
            <p:nvPr/>
          </p:nvSpPr>
          <p:spPr>
            <a:xfrm flipH="1">
              <a:off x="-10013765" y="325319"/>
              <a:ext cx="1131965" cy="928763"/>
            </a:xfrm>
            <a:custGeom>
              <a:avLst/>
              <a:gdLst>
                <a:gd name="connsiteX0" fmla="*/ 1131966 w 1131965"/>
                <a:gd name="connsiteY0" fmla="*/ 326770 h 928762"/>
                <a:gd name="connsiteX1" fmla="*/ 1131966 w 1131965"/>
                <a:gd name="connsiteY1" fmla="*/ 928763 h 928762"/>
                <a:gd name="connsiteX2" fmla="*/ 1121513 w 1131965"/>
                <a:gd name="connsiteY2" fmla="*/ 928763 h 928762"/>
                <a:gd name="connsiteX3" fmla="*/ 1121513 w 1131965"/>
                <a:gd name="connsiteY3" fmla="*/ 332804 h 928762"/>
                <a:gd name="connsiteX4" fmla="*/ 565965 w 1131965"/>
                <a:gd name="connsiteY4" fmla="*/ 12069 h 928762"/>
                <a:gd name="connsiteX5" fmla="*/ 10453 w 1131965"/>
                <a:gd name="connsiteY5" fmla="*/ 332804 h 928762"/>
                <a:gd name="connsiteX6" fmla="*/ 10453 w 1131965"/>
                <a:gd name="connsiteY6" fmla="*/ 623689 h 928762"/>
                <a:gd name="connsiteX7" fmla="*/ 0 w 1131965"/>
                <a:gd name="connsiteY7" fmla="*/ 623689 h 928762"/>
                <a:gd name="connsiteX8" fmla="*/ 0 w 1131965"/>
                <a:gd name="connsiteY8" fmla="*/ 326770 h 928762"/>
                <a:gd name="connsiteX9" fmla="*/ 565965 w 1131965"/>
                <a:gd name="connsiteY9" fmla="*/ 0 h 928762"/>
                <a:gd name="connsiteX10" fmla="*/ 1131966 w 1131965"/>
                <a:gd name="connsiteY10" fmla="*/ 326770 h 92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1965" h="928762">
                  <a:moveTo>
                    <a:pt x="1131966" y="326770"/>
                  </a:moveTo>
                  <a:lnTo>
                    <a:pt x="1131966" y="928763"/>
                  </a:lnTo>
                  <a:lnTo>
                    <a:pt x="1121513" y="928763"/>
                  </a:lnTo>
                  <a:lnTo>
                    <a:pt x="1121513" y="332804"/>
                  </a:lnTo>
                  <a:lnTo>
                    <a:pt x="565965" y="12069"/>
                  </a:lnTo>
                  <a:lnTo>
                    <a:pt x="10453" y="332804"/>
                  </a:lnTo>
                  <a:lnTo>
                    <a:pt x="10453" y="623689"/>
                  </a:lnTo>
                  <a:lnTo>
                    <a:pt x="0" y="623689"/>
                  </a:lnTo>
                  <a:lnTo>
                    <a:pt x="0" y="326770"/>
                  </a:lnTo>
                  <a:lnTo>
                    <a:pt x="565965" y="0"/>
                  </a:lnTo>
                  <a:lnTo>
                    <a:pt x="1131966" y="326770"/>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86" name="Freeform: Shape 85">
              <a:extLst>
                <a:ext uri="{FF2B5EF4-FFF2-40B4-BE49-F238E27FC236}">
                  <a16:creationId xmlns:a16="http://schemas.microsoft.com/office/drawing/2014/main" id="{24DF475E-C98D-B431-3CB7-655A6BB667DC}"/>
                </a:ext>
              </a:extLst>
            </p:cNvPr>
            <p:cNvSpPr/>
            <p:nvPr/>
          </p:nvSpPr>
          <p:spPr>
            <a:xfrm flipH="1">
              <a:off x="-8918437" y="915997"/>
              <a:ext cx="62861" cy="62861"/>
            </a:xfrm>
            <a:custGeom>
              <a:avLst/>
              <a:gdLst>
                <a:gd name="connsiteX0" fmla="*/ 59301 w 62861"/>
                <a:gd name="connsiteY0" fmla="*/ 31185 h 62861"/>
                <a:gd name="connsiteX1" fmla="*/ 27870 w 62861"/>
                <a:gd name="connsiteY1" fmla="*/ 62616 h 62861"/>
                <a:gd name="connsiteX2" fmla="*/ -3560 w 62861"/>
                <a:gd name="connsiteY2" fmla="*/ 31185 h 62861"/>
                <a:gd name="connsiteX3" fmla="*/ 27870 w 62861"/>
                <a:gd name="connsiteY3" fmla="*/ -245 h 62861"/>
                <a:gd name="connsiteX4" fmla="*/ 59301 w 62861"/>
                <a:gd name="connsiteY4" fmla="*/ 31185 h 6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61" h="62861">
                  <a:moveTo>
                    <a:pt x="59301" y="31185"/>
                  </a:moveTo>
                  <a:cubicBezTo>
                    <a:pt x="59301" y="48542"/>
                    <a:pt x="45220" y="62616"/>
                    <a:pt x="27870" y="62616"/>
                  </a:cubicBezTo>
                  <a:cubicBezTo>
                    <a:pt x="10521" y="62616"/>
                    <a:pt x="-3560" y="48542"/>
                    <a:pt x="-3560" y="31185"/>
                  </a:cubicBezTo>
                  <a:cubicBezTo>
                    <a:pt x="-3560" y="13828"/>
                    <a:pt x="10521" y="-245"/>
                    <a:pt x="27870" y="-245"/>
                  </a:cubicBezTo>
                  <a:cubicBezTo>
                    <a:pt x="45220" y="-245"/>
                    <a:pt x="59301" y="13828"/>
                    <a:pt x="59301" y="31185"/>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87" name="Freeform: Shape 86">
              <a:extLst>
                <a:ext uri="{FF2B5EF4-FFF2-40B4-BE49-F238E27FC236}">
                  <a16:creationId xmlns:a16="http://schemas.microsoft.com/office/drawing/2014/main" id="{A074B71D-0C57-B99B-9830-C624798D80F0}"/>
                </a:ext>
              </a:extLst>
            </p:cNvPr>
            <p:cNvSpPr/>
            <p:nvPr/>
          </p:nvSpPr>
          <p:spPr>
            <a:xfrm flipH="1">
              <a:off x="-10059598" y="1200452"/>
              <a:ext cx="102158" cy="102158"/>
            </a:xfrm>
            <a:custGeom>
              <a:avLst/>
              <a:gdLst>
                <a:gd name="connsiteX0" fmla="*/ -3560 w 102158"/>
                <a:gd name="connsiteY0" fmla="*/ 50834 h 102158"/>
                <a:gd name="connsiteX1" fmla="*/ 47519 w 102158"/>
                <a:gd name="connsiteY1" fmla="*/ 101913 h 102158"/>
                <a:gd name="connsiteX2" fmla="*/ 98599 w 102158"/>
                <a:gd name="connsiteY2" fmla="*/ 50834 h 102158"/>
                <a:gd name="connsiteX3" fmla="*/ 47519 w 102158"/>
                <a:gd name="connsiteY3" fmla="*/ -245 h 102158"/>
                <a:gd name="connsiteX4" fmla="*/ -3560 w 102158"/>
                <a:gd name="connsiteY4" fmla="*/ 50834 h 10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58" h="102158">
                  <a:moveTo>
                    <a:pt x="-3560" y="50834"/>
                  </a:moveTo>
                  <a:cubicBezTo>
                    <a:pt x="-3560" y="79046"/>
                    <a:pt x="19322" y="101913"/>
                    <a:pt x="47519" y="101913"/>
                  </a:cubicBezTo>
                  <a:cubicBezTo>
                    <a:pt x="75717" y="101913"/>
                    <a:pt x="98599" y="79042"/>
                    <a:pt x="98599" y="50834"/>
                  </a:cubicBezTo>
                  <a:cubicBezTo>
                    <a:pt x="98599" y="22625"/>
                    <a:pt x="75717" y="-245"/>
                    <a:pt x="47519" y="-245"/>
                  </a:cubicBezTo>
                  <a:cubicBezTo>
                    <a:pt x="19322" y="-245"/>
                    <a:pt x="-3560" y="22625"/>
                    <a:pt x="-3560" y="50834"/>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88" name="Freeform: Shape 87">
              <a:extLst>
                <a:ext uri="{FF2B5EF4-FFF2-40B4-BE49-F238E27FC236}">
                  <a16:creationId xmlns:a16="http://schemas.microsoft.com/office/drawing/2014/main" id="{78954850-95B5-9593-A90B-0D3A9B33BC77}"/>
                </a:ext>
              </a:extLst>
            </p:cNvPr>
            <p:cNvSpPr/>
            <p:nvPr/>
          </p:nvSpPr>
          <p:spPr>
            <a:xfrm flipH="1">
              <a:off x="-16205791" y="4546564"/>
              <a:ext cx="880736" cy="556985"/>
            </a:xfrm>
            <a:custGeom>
              <a:avLst/>
              <a:gdLst>
                <a:gd name="connsiteX0" fmla="*/ 880737 w 880736"/>
                <a:gd name="connsiteY0" fmla="*/ 326770 h 556984"/>
                <a:gd name="connsiteX1" fmla="*/ 880737 w 880736"/>
                <a:gd name="connsiteY1" fmla="*/ 556985 h 556984"/>
                <a:gd name="connsiteX2" fmla="*/ 870284 w 880736"/>
                <a:gd name="connsiteY2" fmla="*/ 556985 h 556984"/>
                <a:gd name="connsiteX3" fmla="*/ 870284 w 880736"/>
                <a:gd name="connsiteY3" fmla="*/ 332804 h 556984"/>
                <a:gd name="connsiteX4" fmla="*/ 314736 w 880736"/>
                <a:gd name="connsiteY4" fmla="*/ 12069 h 556984"/>
                <a:gd name="connsiteX5" fmla="*/ 5208 w 880736"/>
                <a:gd name="connsiteY5" fmla="*/ 190774 h 556984"/>
                <a:gd name="connsiteX6" fmla="*/ 0 w 880736"/>
                <a:gd name="connsiteY6" fmla="*/ 181722 h 556984"/>
                <a:gd name="connsiteX7" fmla="*/ 314736 w 880736"/>
                <a:gd name="connsiteY7" fmla="*/ 0 h 556984"/>
                <a:gd name="connsiteX8" fmla="*/ 880737 w 880736"/>
                <a:gd name="connsiteY8" fmla="*/ 326770 h 556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0736" h="556984">
                  <a:moveTo>
                    <a:pt x="880737" y="326770"/>
                  </a:moveTo>
                  <a:lnTo>
                    <a:pt x="880737" y="556985"/>
                  </a:lnTo>
                  <a:lnTo>
                    <a:pt x="870284" y="556985"/>
                  </a:lnTo>
                  <a:lnTo>
                    <a:pt x="870284" y="332804"/>
                  </a:lnTo>
                  <a:lnTo>
                    <a:pt x="314736" y="12069"/>
                  </a:lnTo>
                  <a:lnTo>
                    <a:pt x="5208" y="190774"/>
                  </a:lnTo>
                  <a:lnTo>
                    <a:pt x="0" y="181722"/>
                  </a:lnTo>
                  <a:lnTo>
                    <a:pt x="314736" y="0"/>
                  </a:lnTo>
                  <a:lnTo>
                    <a:pt x="880737" y="326770"/>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89" name="Freeform: Shape 88">
              <a:extLst>
                <a:ext uri="{FF2B5EF4-FFF2-40B4-BE49-F238E27FC236}">
                  <a16:creationId xmlns:a16="http://schemas.microsoft.com/office/drawing/2014/main" id="{4DF94A8F-E28D-C752-14D5-217BC9BA590E}"/>
                </a:ext>
              </a:extLst>
            </p:cNvPr>
            <p:cNvSpPr/>
            <p:nvPr/>
          </p:nvSpPr>
          <p:spPr>
            <a:xfrm flipH="1">
              <a:off x="-15376856" y="4684459"/>
              <a:ext cx="94275" cy="94277"/>
            </a:xfrm>
            <a:custGeom>
              <a:avLst/>
              <a:gdLst>
                <a:gd name="connsiteX0" fmla="*/ 67114 w 94275"/>
                <a:gd name="connsiteY0" fmla="*/ 87728 h 94277"/>
                <a:gd name="connsiteX1" fmla="*/ 2745 w 94275"/>
                <a:gd name="connsiteY1" fmla="*/ 70414 h 94277"/>
                <a:gd name="connsiteX2" fmla="*/ 20058 w 94275"/>
                <a:gd name="connsiteY2" fmla="*/ 6044 h 94277"/>
                <a:gd name="connsiteX3" fmla="*/ 84392 w 94275"/>
                <a:gd name="connsiteY3" fmla="*/ 23322 h 94277"/>
                <a:gd name="connsiteX4" fmla="*/ 67149 w 94275"/>
                <a:gd name="connsiteY4" fmla="*/ 87692 h 94277"/>
                <a:gd name="connsiteX5" fmla="*/ 67114 w 94275"/>
                <a:gd name="connsiteY5" fmla="*/ 87728 h 9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275" h="94277">
                  <a:moveTo>
                    <a:pt x="67114" y="87728"/>
                  </a:moveTo>
                  <a:cubicBezTo>
                    <a:pt x="44555" y="100731"/>
                    <a:pt x="15747" y="92973"/>
                    <a:pt x="2745" y="70414"/>
                  </a:cubicBezTo>
                  <a:cubicBezTo>
                    <a:pt x="-10259" y="47892"/>
                    <a:pt x="-2500" y="19048"/>
                    <a:pt x="20058" y="6044"/>
                  </a:cubicBezTo>
                  <a:cubicBezTo>
                    <a:pt x="42580" y="-6923"/>
                    <a:pt x="71388" y="800"/>
                    <a:pt x="84392" y="23322"/>
                  </a:cubicBezTo>
                  <a:cubicBezTo>
                    <a:pt x="97396" y="45845"/>
                    <a:pt x="89708" y="74689"/>
                    <a:pt x="67149" y="87692"/>
                  </a:cubicBezTo>
                  <a:cubicBezTo>
                    <a:pt x="67149" y="87728"/>
                    <a:pt x="67114" y="87728"/>
                    <a:pt x="67114" y="87728"/>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90" name="Freeform: Shape 89">
              <a:extLst>
                <a:ext uri="{FF2B5EF4-FFF2-40B4-BE49-F238E27FC236}">
                  <a16:creationId xmlns:a16="http://schemas.microsoft.com/office/drawing/2014/main" id="{7805C325-922A-8E9F-8FB7-4936ABFFEF55}"/>
                </a:ext>
              </a:extLst>
            </p:cNvPr>
            <p:cNvSpPr/>
            <p:nvPr/>
          </p:nvSpPr>
          <p:spPr>
            <a:xfrm flipH="1">
              <a:off x="-16235964" y="5066408"/>
              <a:ext cx="70763" cy="70763"/>
            </a:xfrm>
            <a:custGeom>
              <a:avLst/>
              <a:gdLst>
                <a:gd name="connsiteX0" fmla="*/ -3560 w 70762"/>
                <a:gd name="connsiteY0" fmla="*/ 35100 h 70763"/>
                <a:gd name="connsiteX1" fmla="*/ 31785 w 70762"/>
                <a:gd name="connsiteY1" fmla="*/ 70518 h 70763"/>
                <a:gd name="connsiteX2" fmla="*/ 67202 w 70762"/>
                <a:gd name="connsiteY2" fmla="*/ 35172 h 70763"/>
                <a:gd name="connsiteX3" fmla="*/ 31857 w 70762"/>
                <a:gd name="connsiteY3" fmla="*/ -245 h 70763"/>
                <a:gd name="connsiteX4" fmla="*/ 31785 w 70762"/>
                <a:gd name="connsiteY4" fmla="*/ -245 h 70763"/>
                <a:gd name="connsiteX5" fmla="*/ -3560 w 70762"/>
                <a:gd name="connsiteY5" fmla="*/ 35100 h 7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762" h="70763">
                  <a:moveTo>
                    <a:pt x="-3560" y="35100"/>
                  </a:moveTo>
                  <a:cubicBezTo>
                    <a:pt x="-3597" y="54641"/>
                    <a:pt x="12245" y="70482"/>
                    <a:pt x="31785" y="70518"/>
                  </a:cubicBezTo>
                  <a:cubicBezTo>
                    <a:pt x="51326" y="70554"/>
                    <a:pt x="67167" y="54713"/>
                    <a:pt x="67202" y="35172"/>
                  </a:cubicBezTo>
                  <a:cubicBezTo>
                    <a:pt x="67239" y="15631"/>
                    <a:pt x="51398" y="-210"/>
                    <a:pt x="31857" y="-245"/>
                  </a:cubicBezTo>
                  <a:cubicBezTo>
                    <a:pt x="31822" y="-245"/>
                    <a:pt x="31822" y="-245"/>
                    <a:pt x="31785" y="-245"/>
                  </a:cubicBezTo>
                  <a:cubicBezTo>
                    <a:pt x="12280" y="-210"/>
                    <a:pt x="-3525" y="15595"/>
                    <a:pt x="-3560" y="35100"/>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91" name="Freeform: Shape 90">
              <a:extLst>
                <a:ext uri="{FF2B5EF4-FFF2-40B4-BE49-F238E27FC236}">
                  <a16:creationId xmlns:a16="http://schemas.microsoft.com/office/drawing/2014/main" id="{77E55753-11AE-9A0E-8513-2B34FDB29CD9}"/>
                </a:ext>
              </a:extLst>
            </p:cNvPr>
            <p:cNvSpPr/>
            <p:nvPr/>
          </p:nvSpPr>
          <p:spPr>
            <a:xfrm flipH="1">
              <a:off x="-16190669" y="3600416"/>
              <a:ext cx="568623" cy="975783"/>
            </a:xfrm>
            <a:custGeom>
              <a:avLst/>
              <a:gdLst>
                <a:gd name="connsiteX0" fmla="*/ 568623 w 568623"/>
                <a:gd name="connsiteY0" fmla="*/ 966767 h 975783"/>
                <a:gd name="connsiteX1" fmla="*/ 563378 w 568623"/>
                <a:gd name="connsiteY1" fmla="*/ 975783 h 975783"/>
                <a:gd name="connsiteX2" fmla="*/ 0 w 568623"/>
                <a:gd name="connsiteY2" fmla="*/ 650522 h 975783"/>
                <a:gd name="connsiteX3" fmla="*/ 0 w 568623"/>
                <a:gd name="connsiteY3" fmla="*/ 0 h 975783"/>
                <a:gd name="connsiteX4" fmla="*/ 10453 w 568623"/>
                <a:gd name="connsiteY4" fmla="*/ 0 h 975783"/>
                <a:gd name="connsiteX5" fmla="*/ 10453 w 568623"/>
                <a:gd name="connsiteY5" fmla="*/ 644488 h 975783"/>
                <a:gd name="connsiteX6" fmla="*/ 568623 w 568623"/>
                <a:gd name="connsiteY6" fmla="*/ 966767 h 975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623" h="975783">
                  <a:moveTo>
                    <a:pt x="568623" y="966767"/>
                  </a:moveTo>
                  <a:lnTo>
                    <a:pt x="563378" y="975783"/>
                  </a:lnTo>
                  <a:lnTo>
                    <a:pt x="0" y="650522"/>
                  </a:lnTo>
                  <a:lnTo>
                    <a:pt x="0" y="0"/>
                  </a:lnTo>
                  <a:lnTo>
                    <a:pt x="10453" y="0"/>
                  </a:lnTo>
                  <a:lnTo>
                    <a:pt x="10453" y="644488"/>
                  </a:lnTo>
                  <a:lnTo>
                    <a:pt x="568623" y="966767"/>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92" name="Freeform: Shape 91">
              <a:extLst>
                <a:ext uri="{FF2B5EF4-FFF2-40B4-BE49-F238E27FC236}">
                  <a16:creationId xmlns:a16="http://schemas.microsoft.com/office/drawing/2014/main" id="{C7711547-FDF1-2BCB-B105-7AF809B38B74}"/>
                </a:ext>
              </a:extLst>
            </p:cNvPr>
            <p:cNvSpPr/>
            <p:nvPr/>
          </p:nvSpPr>
          <p:spPr>
            <a:xfrm flipH="1">
              <a:off x="-16325229" y="1365256"/>
              <a:ext cx="1131965" cy="928798"/>
            </a:xfrm>
            <a:custGeom>
              <a:avLst/>
              <a:gdLst>
                <a:gd name="connsiteX0" fmla="*/ 1131966 w 1131965"/>
                <a:gd name="connsiteY0" fmla="*/ 326770 h 928798"/>
                <a:gd name="connsiteX1" fmla="*/ 1131966 w 1131965"/>
                <a:gd name="connsiteY1" fmla="*/ 928799 h 928798"/>
                <a:gd name="connsiteX2" fmla="*/ 1121513 w 1131965"/>
                <a:gd name="connsiteY2" fmla="*/ 928799 h 928798"/>
                <a:gd name="connsiteX3" fmla="*/ 1121513 w 1131965"/>
                <a:gd name="connsiteY3" fmla="*/ 332804 h 928798"/>
                <a:gd name="connsiteX4" fmla="*/ 565965 w 1131965"/>
                <a:gd name="connsiteY4" fmla="*/ 12069 h 928798"/>
                <a:gd name="connsiteX5" fmla="*/ 10453 w 1131965"/>
                <a:gd name="connsiteY5" fmla="*/ 332804 h 928798"/>
                <a:gd name="connsiteX6" fmla="*/ 10453 w 1131965"/>
                <a:gd name="connsiteY6" fmla="*/ 623689 h 928798"/>
                <a:gd name="connsiteX7" fmla="*/ 0 w 1131965"/>
                <a:gd name="connsiteY7" fmla="*/ 623689 h 928798"/>
                <a:gd name="connsiteX8" fmla="*/ 0 w 1131965"/>
                <a:gd name="connsiteY8" fmla="*/ 326770 h 928798"/>
                <a:gd name="connsiteX9" fmla="*/ 2586 w 1131965"/>
                <a:gd name="connsiteY9" fmla="*/ 325261 h 928798"/>
                <a:gd name="connsiteX10" fmla="*/ 565965 w 1131965"/>
                <a:gd name="connsiteY10" fmla="*/ 0 h 928798"/>
                <a:gd name="connsiteX11" fmla="*/ 1131966 w 1131965"/>
                <a:gd name="connsiteY11" fmla="*/ 326770 h 92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1965" h="928798">
                  <a:moveTo>
                    <a:pt x="1131966" y="326770"/>
                  </a:moveTo>
                  <a:lnTo>
                    <a:pt x="1131966" y="928799"/>
                  </a:lnTo>
                  <a:lnTo>
                    <a:pt x="1121513" y="928799"/>
                  </a:lnTo>
                  <a:lnTo>
                    <a:pt x="1121513" y="332804"/>
                  </a:lnTo>
                  <a:lnTo>
                    <a:pt x="565965" y="12069"/>
                  </a:lnTo>
                  <a:lnTo>
                    <a:pt x="10453" y="332804"/>
                  </a:lnTo>
                  <a:lnTo>
                    <a:pt x="10453" y="623689"/>
                  </a:lnTo>
                  <a:lnTo>
                    <a:pt x="0" y="623689"/>
                  </a:lnTo>
                  <a:lnTo>
                    <a:pt x="0" y="326770"/>
                  </a:lnTo>
                  <a:lnTo>
                    <a:pt x="2586" y="325261"/>
                  </a:lnTo>
                  <a:lnTo>
                    <a:pt x="565965" y="0"/>
                  </a:lnTo>
                  <a:lnTo>
                    <a:pt x="1131966" y="326770"/>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93" name="Freeform: Shape 92">
              <a:extLst>
                <a:ext uri="{FF2B5EF4-FFF2-40B4-BE49-F238E27FC236}">
                  <a16:creationId xmlns:a16="http://schemas.microsoft.com/office/drawing/2014/main" id="{1D638F86-A1FC-1CCB-980B-76F3C78A89DE}"/>
                </a:ext>
              </a:extLst>
            </p:cNvPr>
            <p:cNvSpPr/>
            <p:nvPr/>
          </p:nvSpPr>
          <p:spPr>
            <a:xfrm flipH="1">
              <a:off x="-15229903" y="1955936"/>
              <a:ext cx="62861" cy="62861"/>
            </a:xfrm>
            <a:custGeom>
              <a:avLst/>
              <a:gdLst>
                <a:gd name="connsiteX0" fmla="*/ 59301 w 62861"/>
                <a:gd name="connsiteY0" fmla="*/ 31185 h 62861"/>
                <a:gd name="connsiteX1" fmla="*/ 27870 w 62861"/>
                <a:gd name="connsiteY1" fmla="*/ 62616 h 62861"/>
                <a:gd name="connsiteX2" fmla="*/ -3560 w 62861"/>
                <a:gd name="connsiteY2" fmla="*/ 31185 h 62861"/>
                <a:gd name="connsiteX3" fmla="*/ 27870 w 62861"/>
                <a:gd name="connsiteY3" fmla="*/ -245 h 62861"/>
                <a:gd name="connsiteX4" fmla="*/ 27977 w 62861"/>
                <a:gd name="connsiteY4" fmla="*/ -245 h 62861"/>
                <a:gd name="connsiteX5" fmla="*/ 59301 w 62861"/>
                <a:gd name="connsiteY5" fmla="*/ 31185 h 6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61" h="62861">
                  <a:moveTo>
                    <a:pt x="59301" y="31185"/>
                  </a:moveTo>
                  <a:cubicBezTo>
                    <a:pt x="59301" y="48546"/>
                    <a:pt x="45219" y="62616"/>
                    <a:pt x="27870" y="62616"/>
                  </a:cubicBezTo>
                  <a:cubicBezTo>
                    <a:pt x="10520" y="62616"/>
                    <a:pt x="-3560" y="48542"/>
                    <a:pt x="-3560" y="31185"/>
                  </a:cubicBezTo>
                  <a:cubicBezTo>
                    <a:pt x="-3560" y="13825"/>
                    <a:pt x="10520" y="-245"/>
                    <a:pt x="27870" y="-245"/>
                  </a:cubicBezTo>
                  <a:cubicBezTo>
                    <a:pt x="27905" y="-245"/>
                    <a:pt x="27942" y="-245"/>
                    <a:pt x="27977" y="-245"/>
                  </a:cubicBezTo>
                  <a:cubicBezTo>
                    <a:pt x="45290" y="-184"/>
                    <a:pt x="59301" y="13868"/>
                    <a:pt x="59301" y="31185"/>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94" name="Freeform: Shape 93">
              <a:extLst>
                <a:ext uri="{FF2B5EF4-FFF2-40B4-BE49-F238E27FC236}">
                  <a16:creationId xmlns:a16="http://schemas.microsoft.com/office/drawing/2014/main" id="{DFAAC887-F60B-035C-0CA6-EF5FE879806A}"/>
                </a:ext>
              </a:extLst>
            </p:cNvPr>
            <p:cNvSpPr/>
            <p:nvPr/>
          </p:nvSpPr>
          <p:spPr>
            <a:xfrm flipH="1">
              <a:off x="-16371171" y="2240390"/>
              <a:ext cx="102157" cy="102158"/>
            </a:xfrm>
            <a:custGeom>
              <a:avLst/>
              <a:gdLst>
                <a:gd name="connsiteX0" fmla="*/ -3560 w 102157"/>
                <a:gd name="connsiteY0" fmla="*/ 50834 h 102158"/>
                <a:gd name="connsiteX1" fmla="*/ 47520 w 102157"/>
                <a:gd name="connsiteY1" fmla="*/ 101913 h 102158"/>
                <a:gd name="connsiteX2" fmla="*/ 98598 w 102157"/>
                <a:gd name="connsiteY2" fmla="*/ 50834 h 102158"/>
                <a:gd name="connsiteX3" fmla="*/ 47520 w 102157"/>
                <a:gd name="connsiteY3" fmla="*/ -245 h 102158"/>
                <a:gd name="connsiteX4" fmla="*/ -3560 w 102157"/>
                <a:gd name="connsiteY4" fmla="*/ 50834 h 10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57" h="102158">
                  <a:moveTo>
                    <a:pt x="-3560" y="50834"/>
                  </a:moveTo>
                  <a:cubicBezTo>
                    <a:pt x="-3560" y="79042"/>
                    <a:pt x="19322" y="101913"/>
                    <a:pt x="47520" y="101913"/>
                  </a:cubicBezTo>
                  <a:cubicBezTo>
                    <a:pt x="75716" y="101913"/>
                    <a:pt x="98598" y="79042"/>
                    <a:pt x="98598" y="50834"/>
                  </a:cubicBezTo>
                  <a:cubicBezTo>
                    <a:pt x="98598" y="22622"/>
                    <a:pt x="75716" y="-245"/>
                    <a:pt x="47520" y="-245"/>
                  </a:cubicBezTo>
                  <a:cubicBezTo>
                    <a:pt x="19322" y="-245"/>
                    <a:pt x="-3560" y="22625"/>
                    <a:pt x="-3560" y="50834"/>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95" name="Freeform: Shape 94">
              <a:extLst>
                <a:ext uri="{FF2B5EF4-FFF2-40B4-BE49-F238E27FC236}">
                  <a16:creationId xmlns:a16="http://schemas.microsoft.com/office/drawing/2014/main" id="{3B2D851A-B438-444B-E77C-75A5FD21DD50}"/>
                </a:ext>
              </a:extLst>
            </p:cNvPr>
            <p:cNvSpPr/>
            <p:nvPr/>
          </p:nvSpPr>
          <p:spPr>
            <a:xfrm rot="1862398" flipH="1">
              <a:off x="-15597794" y="1049181"/>
              <a:ext cx="245157" cy="10238"/>
            </a:xfrm>
            <a:custGeom>
              <a:avLst/>
              <a:gdLst>
                <a:gd name="connsiteX0" fmla="*/ -3560 w 245158"/>
                <a:gd name="connsiteY0" fmla="*/ -245 h 10237"/>
                <a:gd name="connsiteX1" fmla="*/ 241598 w 245158"/>
                <a:gd name="connsiteY1" fmla="*/ -245 h 10237"/>
                <a:gd name="connsiteX2" fmla="*/ 241598 w 245158"/>
                <a:gd name="connsiteY2" fmla="*/ 9992 h 10237"/>
                <a:gd name="connsiteX3" fmla="*/ -3560 w 245158"/>
                <a:gd name="connsiteY3" fmla="*/ 9992 h 10237"/>
              </a:gdLst>
              <a:ahLst/>
              <a:cxnLst>
                <a:cxn ang="0">
                  <a:pos x="connsiteX0" y="connsiteY0"/>
                </a:cxn>
                <a:cxn ang="0">
                  <a:pos x="connsiteX1" y="connsiteY1"/>
                </a:cxn>
                <a:cxn ang="0">
                  <a:pos x="connsiteX2" y="connsiteY2"/>
                </a:cxn>
                <a:cxn ang="0">
                  <a:pos x="connsiteX3" y="connsiteY3"/>
                </a:cxn>
              </a:cxnLst>
              <a:rect l="l" t="t" r="r" b="b"/>
              <a:pathLst>
                <a:path w="245158" h="10237">
                  <a:moveTo>
                    <a:pt x="-3560" y="-245"/>
                  </a:moveTo>
                  <a:lnTo>
                    <a:pt x="241598" y="-245"/>
                  </a:lnTo>
                  <a:lnTo>
                    <a:pt x="241598" y="9992"/>
                  </a:lnTo>
                  <a:lnTo>
                    <a:pt x="-3560" y="9992"/>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96" name="Freeform: Shape 95">
              <a:extLst>
                <a:ext uri="{FF2B5EF4-FFF2-40B4-BE49-F238E27FC236}">
                  <a16:creationId xmlns:a16="http://schemas.microsoft.com/office/drawing/2014/main" id="{217CE247-2759-072C-E30D-6F74A20F07CB}"/>
                </a:ext>
              </a:extLst>
            </p:cNvPr>
            <p:cNvSpPr/>
            <p:nvPr/>
          </p:nvSpPr>
          <p:spPr>
            <a:xfrm flipH="1">
              <a:off x="-15627323" y="941573"/>
              <a:ext cx="98138" cy="102058"/>
            </a:xfrm>
            <a:custGeom>
              <a:avLst/>
              <a:gdLst>
                <a:gd name="connsiteX0" fmla="*/ 21015 w 98139"/>
                <a:gd name="connsiteY0" fmla="*/ 6544 h 102059"/>
                <a:gd name="connsiteX1" fmla="*/ 86786 w 98139"/>
                <a:gd name="connsiteY1" fmla="*/ 23132 h 102059"/>
                <a:gd name="connsiteX2" fmla="*/ 87972 w 98139"/>
                <a:gd name="connsiteY2" fmla="*/ 25259 h 102059"/>
                <a:gd name="connsiteX3" fmla="*/ 70012 w 98139"/>
                <a:gd name="connsiteY3" fmla="*/ 95016 h 102059"/>
                <a:gd name="connsiteX4" fmla="*/ 4241 w 98139"/>
                <a:gd name="connsiteY4" fmla="*/ 78453 h 102059"/>
                <a:gd name="connsiteX5" fmla="*/ 3055 w 98139"/>
                <a:gd name="connsiteY5" fmla="*/ 76338 h 102059"/>
                <a:gd name="connsiteX6" fmla="*/ 21015 w 98139"/>
                <a:gd name="connsiteY6" fmla="*/ 6544 h 1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39" h="102059">
                  <a:moveTo>
                    <a:pt x="21015" y="6544"/>
                  </a:moveTo>
                  <a:cubicBezTo>
                    <a:pt x="43753" y="-7034"/>
                    <a:pt x="73209" y="391"/>
                    <a:pt x="86786" y="23132"/>
                  </a:cubicBezTo>
                  <a:cubicBezTo>
                    <a:pt x="87181" y="23829"/>
                    <a:pt x="87577" y="24540"/>
                    <a:pt x="87972" y="25259"/>
                  </a:cubicBezTo>
                  <a:cubicBezTo>
                    <a:pt x="101514" y="49584"/>
                    <a:pt x="93611" y="80260"/>
                    <a:pt x="70012" y="95016"/>
                  </a:cubicBezTo>
                  <a:cubicBezTo>
                    <a:pt x="47274" y="108601"/>
                    <a:pt x="17820" y="101187"/>
                    <a:pt x="4241" y="78453"/>
                  </a:cubicBezTo>
                  <a:cubicBezTo>
                    <a:pt x="3846" y="77757"/>
                    <a:pt x="3415" y="77052"/>
                    <a:pt x="3055" y="76338"/>
                  </a:cubicBezTo>
                  <a:cubicBezTo>
                    <a:pt x="-10487" y="52001"/>
                    <a:pt x="-2621" y="21314"/>
                    <a:pt x="21015" y="6544"/>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97" name="Freeform: Shape 96">
              <a:extLst>
                <a:ext uri="{FF2B5EF4-FFF2-40B4-BE49-F238E27FC236}">
                  <a16:creationId xmlns:a16="http://schemas.microsoft.com/office/drawing/2014/main" id="{867BC6F4-CC74-C780-A05C-3ED7456EF995}"/>
                </a:ext>
              </a:extLst>
            </p:cNvPr>
            <p:cNvSpPr/>
            <p:nvPr/>
          </p:nvSpPr>
          <p:spPr>
            <a:xfrm flipH="1">
              <a:off x="-15394014" y="1093599"/>
              <a:ext cx="45425" cy="47251"/>
            </a:xfrm>
            <a:custGeom>
              <a:avLst/>
              <a:gdLst>
                <a:gd name="connsiteX0" fmla="*/ 7821 w 45425"/>
                <a:gd name="connsiteY0" fmla="*/ 2907 h 47251"/>
                <a:gd name="connsiteX1" fmla="*/ -442 w 45425"/>
                <a:gd name="connsiteY1" fmla="*/ 35235 h 47251"/>
                <a:gd name="connsiteX2" fmla="*/ 29409 w 45425"/>
                <a:gd name="connsiteY2" fmla="*/ 44441 h 47251"/>
                <a:gd name="connsiteX3" fmla="*/ 30450 w 45425"/>
                <a:gd name="connsiteY3" fmla="*/ 43856 h 47251"/>
                <a:gd name="connsiteX4" fmla="*/ 38748 w 45425"/>
                <a:gd name="connsiteY4" fmla="*/ 11527 h 47251"/>
                <a:gd name="connsiteX5" fmla="*/ 8826 w 45425"/>
                <a:gd name="connsiteY5" fmla="*/ 2332 h 47251"/>
                <a:gd name="connsiteX6" fmla="*/ 7821 w 45425"/>
                <a:gd name="connsiteY6" fmla="*/ 2907 h 4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425" h="47251">
                  <a:moveTo>
                    <a:pt x="7821" y="2907"/>
                  </a:moveTo>
                  <a:cubicBezTo>
                    <a:pt x="-3136" y="9728"/>
                    <a:pt x="-6800" y="23985"/>
                    <a:pt x="-442" y="35235"/>
                  </a:cubicBezTo>
                  <a:cubicBezTo>
                    <a:pt x="5271" y="46022"/>
                    <a:pt x="18632" y="50142"/>
                    <a:pt x="29409" y="44441"/>
                  </a:cubicBezTo>
                  <a:cubicBezTo>
                    <a:pt x="29768" y="44255"/>
                    <a:pt x="30128" y="44061"/>
                    <a:pt x="30450" y="43856"/>
                  </a:cubicBezTo>
                  <a:cubicBezTo>
                    <a:pt x="41442" y="37049"/>
                    <a:pt x="45106" y="22785"/>
                    <a:pt x="38748" y="11527"/>
                  </a:cubicBezTo>
                  <a:cubicBezTo>
                    <a:pt x="33037" y="730"/>
                    <a:pt x="19639" y="-3387"/>
                    <a:pt x="8826" y="2332"/>
                  </a:cubicBezTo>
                  <a:cubicBezTo>
                    <a:pt x="8503" y="2515"/>
                    <a:pt x="8144" y="2705"/>
                    <a:pt x="7821" y="2907"/>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98" name="Freeform: Shape 97">
              <a:extLst>
                <a:ext uri="{FF2B5EF4-FFF2-40B4-BE49-F238E27FC236}">
                  <a16:creationId xmlns:a16="http://schemas.microsoft.com/office/drawing/2014/main" id="{E72D4123-863A-2564-C654-9715B2C1661B}"/>
                </a:ext>
              </a:extLst>
            </p:cNvPr>
            <p:cNvSpPr/>
            <p:nvPr/>
          </p:nvSpPr>
          <p:spPr>
            <a:xfrm rot="1800001" flipH="1">
              <a:off x="-10679968" y="3051137"/>
              <a:ext cx="647504" cy="10452"/>
            </a:xfrm>
            <a:custGeom>
              <a:avLst/>
              <a:gdLst>
                <a:gd name="connsiteX0" fmla="*/ -3560 w 647504"/>
                <a:gd name="connsiteY0" fmla="*/ -245 h 10452"/>
                <a:gd name="connsiteX1" fmla="*/ 643944 w 647504"/>
                <a:gd name="connsiteY1" fmla="*/ -245 h 10452"/>
                <a:gd name="connsiteX2" fmla="*/ 643944 w 647504"/>
                <a:gd name="connsiteY2" fmla="*/ 10208 h 10452"/>
                <a:gd name="connsiteX3" fmla="*/ -3560 w 647504"/>
                <a:gd name="connsiteY3" fmla="*/ 10208 h 10452"/>
              </a:gdLst>
              <a:ahLst/>
              <a:cxnLst>
                <a:cxn ang="0">
                  <a:pos x="connsiteX0" y="connsiteY0"/>
                </a:cxn>
                <a:cxn ang="0">
                  <a:pos x="connsiteX1" y="connsiteY1"/>
                </a:cxn>
                <a:cxn ang="0">
                  <a:pos x="connsiteX2" y="connsiteY2"/>
                </a:cxn>
                <a:cxn ang="0">
                  <a:pos x="connsiteX3" y="connsiteY3"/>
                </a:cxn>
              </a:cxnLst>
              <a:rect l="l" t="t" r="r" b="b"/>
              <a:pathLst>
                <a:path w="647504" h="10452">
                  <a:moveTo>
                    <a:pt x="-3560" y="-245"/>
                  </a:moveTo>
                  <a:lnTo>
                    <a:pt x="643944" y="-245"/>
                  </a:lnTo>
                  <a:lnTo>
                    <a:pt x="643944" y="10208"/>
                  </a:lnTo>
                  <a:lnTo>
                    <a:pt x="-3560" y="10208"/>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99" name="Freeform: Shape 98">
              <a:extLst>
                <a:ext uri="{FF2B5EF4-FFF2-40B4-BE49-F238E27FC236}">
                  <a16:creationId xmlns:a16="http://schemas.microsoft.com/office/drawing/2014/main" id="{5D719032-D401-AFCB-BF72-0855890EDACF}"/>
                </a:ext>
              </a:extLst>
            </p:cNvPr>
            <p:cNvSpPr/>
            <p:nvPr/>
          </p:nvSpPr>
          <p:spPr>
            <a:xfrm flipH="1">
              <a:off x="-10413706" y="3389023"/>
              <a:ext cx="753003" cy="306331"/>
            </a:xfrm>
            <a:custGeom>
              <a:avLst/>
              <a:gdLst>
                <a:gd name="connsiteX0" fmla="*/ 753003 w 753003"/>
                <a:gd name="connsiteY0" fmla="*/ 137468 h 306330"/>
                <a:gd name="connsiteX1" fmla="*/ 747795 w 753003"/>
                <a:gd name="connsiteY1" fmla="*/ 146556 h 306330"/>
                <a:gd name="connsiteX2" fmla="*/ 514886 w 753003"/>
                <a:gd name="connsiteY2" fmla="*/ 12069 h 306330"/>
                <a:gd name="connsiteX3" fmla="*/ 5244 w 753003"/>
                <a:gd name="connsiteY3" fmla="*/ 306331 h 306330"/>
                <a:gd name="connsiteX4" fmla="*/ 0 w 753003"/>
                <a:gd name="connsiteY4" fmla="*/ 297279 h 306330"/>
                <a:gd name="connsiteX5" fmla="*/ 514886 w 753003"/>
                <a:gd name="connsiteY5" fmla="*/ 0 h 306330"/>
                <a:gd name="connsiteX6" fmla="*/ 753003 w 753003"/>
                <a:gd name="connsiteY6" fmla="*/ 137468 h 30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003" h="306330">
                  <a:moveTo>
                    <a:pt x="753003" y="137468"/>
                  </a:moveTo>
                  <a:lnTo>
                    <a:pt x="747795" y="146556"/>
                  </a:lnTo>
                  <a:lnTo>
                    <a:pt x="514886" y="12069"/>
                  </a:lnTo>
                  <a:lnTo>
                    <a:pt x="5244" y="306331"/>
                  </a:lnTo>
                  <a:lnTo>
                    <a:pt x="0" y="297279"/>
                  </a:lnTo>
                  <a:lnTo>
                    <a:pt x="514886" y="0"/>
                  </a:lnTo>
                  <a:lnTo>
                    <a:pt x="753003" y="137468"/>
                  </a:ln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sp>
          <p:nvSpPr>
            <p:cNvPr id="100" name="Freeform: Shape 99">
              <a:extLst>
                <a:ext uri="{FF2B5EF4-FFF2-40B4-BE49-F238E27FC236}">
                  <a16:creationId xmlns:a16="http://schemas.microsoft.com/office/drawing/2014/main" id="{7CE2581E-D473-BBFC-E3C5-904340AB4844}"/>
                </a:ext>
              </a:extLst>
            </p:cNvPr>
            <p:cNvSpPr/>
            <p:nvPr/>
          </p:nvSpPr>
          <p:spPr>
            <a:xfrm flipH="1">
              <a:off x="-9724792" y="3630401"/>
              <a:ext cx="117901" cy="117910"/>
            </a:xfrm>
            <a:custGeom>
              <a:avLst/>
              <a:gdLst>
                <a:gd name="connsiteX0" fmla="*/ 84877 w 117901"/>
                <a:gd name="connsiteY0" fmla="*/ 109753 h 117909"/>
                <a:gd name="connsiteX1" fmla="*/ 4344 w 117901"/>
                <a:gd name="connsiteY1" fmla="*/ 88200 h 117909"/>
                <a:gd name="connsiteX2" fmla="*/ 25896 w 117901"/>
                <a:gd name="connsiteY2" fmla="*/ 7666 h 117909"/>
                <a:gd name="connsiteX3" fmla="*/ 106430 w 117901"/>
                <a:gd name="connsiteY3" fmla="*/ 29218 h 117909"/>
                <a:gd name="connsiteX4" fmla="*/ 84877 w 117901"/>
                <a:gd name="connsiteY4" fmla="*/ 109753 h 117909"/>
                <a:gd name="connsiteX5" fmla="*/ 84877 w 117901"/>
                <a:gd name="connsiteY5" fmla="*/ 109753 h 11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01" h="117909">
                  <a:moveTo>
                    <a:pt x="84877" y="109753"/>
                  </a:moveTo>
                  <a:cubicBezTo>
                    <a:pt x="56680" y="126025"/>
                    <a:pt x="20652" y="116398"/>
                    <a:pt x="4344" y="88200"/>
                  </a:cubicBezTo>
                  <a:cubicBezTo>
                    <a:pt x="-11928" y="60003"/>
                    <a:pt x="-2266" y="23938"/>
                    <a:pt x="25896" y="7666"/>
                  </a:cubicBezTo>
                  <a:cubicBezTo>
                    <a:pt x="54094" y="-8606"/>
                    <a:pt x="90158" y="1021"/>
                    <a:pt x="106430" y="29218"/>
                  </a:cubicBezTo>
                  <a:cubicBezTo>
                    <a:pt x="122702" y="57416"/>
                    <a:pt x="113075" y="93445"/>
                    <a:pt x="84877" y="109753"/>
                  </a:cubicBezTo>
                  <a:cubicBezTo>
                    <a:pt x="84877" y="109753"/>
                    <a:pt x="84877" y="109753"/>
                    <a:pt x="84877" y="109753"/>
                  </a:cubicBezTo>
                  <a:close/>
                </a:path>
              </a:pathLst>
            </a:custGeom>
            <a:grpFill/>
            <a:ln w="3590" cap="flat">
              <a:noFill/>
              <a:prstDash val="solid"/>
              <a:miter/>
            </a:ln>
          </p:spPr>
          <p:txBody>
            <a:bodyPr rtlCol="0" anchor="ctr"/>
            <a:lstStyle/>
            <a:p>
              <a:endParaRPr lang="en-US">
                <a:latin typeface="Cairo" pitchFamily="2" charset="-78"/>
                <a:cs typeface="Cairo" pitchFamily="2" charset="-78"/>
              </a:endParaRPr>
            </a:p>
          </p:txBody>
        </p:sp>
      </p:grpSp>
      <p:sp>
        <p:nvSpPr>
          <p:cNvPr id="9" name="TextBox 8">
            <a:extLst>
              <a:ext uri="{FF2B5EF4-FFF2-40B4-BE49-F238E27FC236}">
                <a16:creationId xmlns:a16="http://schemas.microsoft.com/office/drawing/2014/main" id="{1A3C7561-0371-75C6-AADB-72C822A74483}"/>
              </a:ext>
            </a:extLst>
          </p:cNvPr>
          <p:cNvSpPr txBox="1"/>
          <p:nvPr userDrawn="1">
            <p:custDataLst>
              <p:tags r:id="rId1"/>
            </p:custDataLst>
          </p:nvPr>
        </p:nvSpPr>
        <p:spPr>
          <a:xfrm flipH="1">
            <a:off x="1294654" y="6538406"/>
            <a:ext cx="6853667" cy="250585"/>
          </a:xfrm>
          <a:prstGeom prst="rect">
            <a:avLst/>
          </a:prstGeom>
          <a:noFill/>
        </p:spPr>
        <p:txBody>
          <a:bodyPr wrap="square" lIns="0" tIns="0" rIns="0" bIns="0" rtlCol="1">
            <a:noAutofit/>
          </a:bodyPr>
          <a:lstStyle/>
          <a:p>
            <a:pPr algn="r" rtl="1"/>
            <a:r>
              <a:rPr lang="ar-SA" sz="635" kern="0" spc="-16" baseline="0">
                <a:solidFill>
                  <a:schemeClr val="bg1"/>
                </a:solidFill>
                <a:latin typeface="Cairo" pitchFamily="2" charset="-78"/>
                <a:cs typeface="Cairo" pitchFamily="2" charset="-78"/>
              </a:rPr>
              <a:t>2025 ©شركة كي بي إم جي للاستشارات المهنية مساهمة مهنية، شركة مساهمة مهنية مقفلة مسجلة في المملكة العربية السعودية، رأس مالها (110,000,000) ريال سعودي مدفوع بالكامل، وهي عضو غير شريك في الشبكة العالمية لشركات كي بي إم جي المستقلة والتابعة لـ كي بي إم جي العالمية المحدودة، شركة انجليزية خاصة محدودة بالضمان. جميع الحقوق محفوظة.</a:t>
            </a:r>
            <a:endParaRPr lang="en-US" sz="635" kern="0" spc="-16" baseline="0">
              <a:solidFill>
                <a:schemeClr val="bg1"/>
              </a:solidFill>
              <a:latin typeface="Cairo" pitchFamily="2" charset="-78"/>
              <a:cs typeface="Cairo" pitchFamily="2" charset="-78"/>
            </a:endParaRPr>
          </a:p>
        </p:txBody>
      </p:sp>
    </p:spTree>
    <p:extLst>
      <p:ext uri="{BB962C8B-B14F-4D97-AF65-F5344CB8AC3E}">
        <p14:creationId xmlns:p14="http://schemas.microsoft.com/office/powerpoint/2010/main" val="18837162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0"/>
          </p:nvPr>
        </p:nvSpPr>
        <p:spPr>
          <a:xfrm>
            <a:off x="995363" y="1330126"/>
            <a:ext cx="10198237"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05097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oleObject" Target="../embeddings/oleObject3.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A493C26-705D-E3D8-B8EA-8E9898053405}"/>
              </a:ext>
            </a:extLst>
          </p:cNvPr>
          <p:cNvGraphicFramePr>
            <a:graphicFrameLocks noChangeAspect="1"/>
          </p:cNvGraphicFramePr>
          <p:nvPr userDrawn="1">
            <p:custDataLst>
              <p:tags r:id="rId11"/>
            </p:custDataLst>
            <p:extLst>
              <p:ext uri="{D42A27DB-BD31-4B8C-83A1-F6EECF244321}">
                <p14:modId xmlns:p14="http://schemas.microsoft.com/office/powerpoint/2010/main" val="230796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86" imgH="486" progId="TCLayout.ActiveDocument.1">
                  <p:embed/>
                </p:oleObj>
              </mc:Choice>
              <mc:Fallback>
                <p:oleObj name="think-cell Slide" r:id="rId13" imgW="486" imgH="486" progId="TCLayout.ActiveDocument.1">
                  <p:embed/>
                  <p:pic>
                    <p:nvPicPr>
                      <p:cNvPr id="6" name="think-cell data - do not delete" hidden="1">
                        <a:extLst>
                          <a:ext uri="{FF2B5EF4-FFF2-40B4-BE49-F238E27FC236}">
                            <a16:creationId xmlns:a16="http://schemas.microsoft.com/office/drawing/2014/main" id="{4A493C26-705D-E3D8-B8EA-8E989805340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95364" y="431800"/>
            <a:ext cx="1020445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95362" y="1330325"/>
            <a:ext cx="10202401" cy="45468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C183D7F6-B498-43B3-948B-1728B52AA6E4}">
                <adec:decorative xmlns:adec="http://schemas.microsoft.com/office/drawing/2017/decorative" val="1"/>
              </a:ext>
            </a:extLst>
          </p:cNvPr>
          <p:cNvSpPr txBox="1"/>
          <p:nvPr userDrawn="1"/>
        </p:nvSpPr>
        <p:spPr>
          <a:xfrm>
            <a:off x="1885684" y="6266997"/>
            <a:ext cx="466751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5 KPMG LLP, a Delaware limited liability partnership and a member firm of the KPMG global organization of independent member firms affiliated with KPMG International Limited, a private English company limited by guarantee. All rights reserved. </a:t>
            </a:r>
          </a:p>
        </p:txBody>
      </p:sp>
      <p:sp>
        <p:nvSpPr>
          <p:cNvPr id="4" name="Graphic 8">
            <a:extLst>
              <a:ext uri="{FF2B5EF4-FFF2-40B4-BE49-F238E27FC236}">
                <a16:creationId xmlns:a16="http://schemas.microsoft.com/office/drawing/2014/main" id="{9AC77B96-D96C-4FA2-858B-DEE0A3A7B7B6}"/>
              </a:ext>
            </a:extLst>
          </p:cNvPr>
          <p:cNvSpPr/>
          <p:nvPr/>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
        <p:nvSpPr>
          <p:cNvPr id="7" name="Shape 8">
            <a:extLst>
              <a:ext uri="{FF2B5EF4-FFF2-40B4-BE49-F238E27FC236}">
                <a16:creationId xmlns:a16="http://schemas.microsoft.com/office/drawing/2014/main" id="{9B1FB9C4-4E60-EBDE-9FE3-165723F81C9F}"/>
              </a:ext>
            </a:extLst>
          </p:cNvPr>
          <p:cNvSpPr txBox="1">
            <a:spLocks/>
          </p:cNvSpPr>
          <p:nvPr userDrawn="1"/>
        </p:nvSpPr>
        <p:spPr>
          <a:xfrm>
            <a:off x="11292402" y="6266997"/>
            <a:ext cx="242486" cy="149412"/>
          </a:xfrm>
          <a:prstGeom prst="rect">
            <a:avLst/>
          </a:prstGeom>
        </p:spPr>
        <p:txBody>
          <a:bodyPr lIns="0" tIns="0" rIns="0" bIns="0" anchor="ctr"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86CB4B4D-7CA3-9044-876B-883B54F8677D}" type="slidenum">
              <a:rPr lang="en-GB" sz="800" smtClean="0">
                <a:solidFill>
                  <a:schemeClr val="bg1"/>
                </a:solidFill>
                <a:latin typeface="+mn-lt"/>
                <a:ea typeface="Arial"/>
                <a:cs typeface="Arial" panose="020B0604020202020204" pitchFamily="34" charset="0"/>
              </a:rPr>
              <a:pPr algn="ctr"/>
              <a:t>‹#›</a:t>
            </a:fld>
            <a:endParaRPr lang="en-GB" sz="800">
              <a:solidFill>
                <a:schemeClr val="bg1"/>
              </a:solidFill>
              <a:latin typeface="+mn-lt"/>
              <a:ea typeface="Arial"/>
              <a:cs typeface="Arial" panose="020B0604020202020204" pitchFamily="34" charset="0"/>
            </a:endParaRPr>
          </a:p>
        </p:txBody>
      </p:sp>
      <p:sp>
        <p:nvSpPr>
          <p:cNvPr id="5" name="Parallelogram 4">
            <a:extLst>
              <a:ext uri="{FF2B5EF4-FFF2-40B4-BE49-F238E27FC236}">
                <a16:creationId xmlns:a16="http://schemas.microsoft.com/office/drawing/2014/main" id="{0ABD09AC-B8C1-57F2-92EA-45DD98EE8A7F}"/>
              </a:ext>
            </a:extLst>
          </p:cNvPr>
          <p:cNvSpPr/>
          <p:nvPr userDrawn="1"/>
        </p:nvSpPr>
        <p:spPr>
          <a:xfrm>
            <a:off x="9737498" y="6241234"/>
            <a:ext cx="1333853" cy="222656"/>
          </a:xfrm>
          <a:prstGeom prst="parallelogram">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a:solidFill>
                <a:schemeClr val="bg1"/>
              </a:solidFill>
            </a:endParaRPr>
          </a:p>
        </p:txBody>
      </p:sp>
      <p:sp>
        <p:nvSpPr>
          <p:cNvPr id="9" name="Oval 8">
            <a:extLst>
              <a:ext uri="{FF2B5EF4-FFF2-40B4-BE49-F238E27FC236}">
                <a16:creationId xmlns:a16="http://schemas.microsoft.com/office/drawing/2014/main" id="{5772296F-DC8A-270B-002A-28FBF04BE3D4}"/>
              </a:ext>
            </a:extLst>
          </p:cNvPr>
          <p:cNvSpPr/>
          <p:nvPr userDrawn="1"/>
        </p:nvSpPr>
        <p:spPr>
          <a:xfrm>
            <a:off x="10942370" y="6169550"/>
            <a:ext cx="347135" cy="347135"/>
          </a:xfrm>
          <a:prstGeom prst="ellips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10" name="Shape 8">
            <a:extLst>
              <a:ext uri="{FF2B5EF4-FFF2-40B4-BE49-F238E27FC236}">
                <a16:creationId xmlns:a16="http://schemas.microsoft.com/office/drawing/2014/main" id="{9D54BCBA-286D-1B16-F97E-0BE38B729A0D}"/>
              </a:ext>
            </a:extLst>
          </p:cNvPr>
          <p:cNvSpPr txBox="1">
            <a:spLocks/>
          </p:cNvSpPr>
          <p:nvPr userDrawn="1"/>
        </p:nvSpPr>
        <p:spPr>
          <a:xfrm>
            <a:off x="10994232"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86CB4B4D-7CA3-9044-876B-883B54F8677D}" type="slidenum">
              <a:rPr lang="en-GB" sz="1200" b="0" smtClean="0">
                <a:solidFill>
                  <a:schemeClr val="accent2"/>
                </a:solidFill>
                <a:latin typeface="+mj-lt"/>
                <a:ea typeface="Arial"/>
                <a:cs typeface="Arial" panose="020B0604020202020204" pitchFamily="34" charset="0"/>
              </a:rPr>
              <a:pPr algn="ctr"/>
              <a:t>‹#›</a:t>
            </a:fld>
            <a:endParaRPr lang="en-GB" sz="1200" b="0">
              <a:solidFill>
                <a:schemeClr val="accent2"/>
              </a:solidFill>
              <a:latin typeface="+mj-lt"/>
              <a:ea typeface="Arial"/>
              <a:cs typeface="Arial" panose="020B0604020202020204" pitchFamily="34" charset="0"/>
            </a:endParaRPr>
          </a:p>
        </p:txBody>
      </p:sp>
      <p:sp>
        <p:nvSpPr>
          <p:cNvPr id="11" name="TextBox 10">
            <a:extLst>
              <a:ext uri="{FF2B5EF4-FFF2-40B4-BE49-F238E27FC236}">
                <a16:creationId xmlns:a16="http://schemas.microsoft.com/office/drawing/2014/main" id="{3AA807A7-AEEB-6CE9-FAB4-E8EC57E5BE99}"/>
              </a:ext>
              <a:ext uri="{C183D7F6-B498-43B3-948B-1728B52AA6E4}">
                <adec:decorative xmlns:adec="http://schemas.microsoft.com/office/drawing/2017/decorative" val="1"/>
              </a:ext>
            </a:extLst>
          </p:cNvPr>
          <p:cNvSpPr txBox="1"/>
          <p:nvPr userDrawn="1">
            <p:custDataLst>
              <p:tags r:id="rId12"/>
            </p:custDataLst>
          </p:nvPr>
        </p:nvSpPr>
        <p:spPr>
          <a:xfrm>
            <a:off x="9763431" y="6305468"/>
            <a:ext cx="1153007" cy="10772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1" kern="1200" noProof="0">
                <a:solidFill>
                  <a:schemeClr val="tx1">
                    <a:lumMod val="50000"/>
                    <a:lumOff val="50000"/>
                  </a:schemeClr>
                </a:solidFill>
                <a:latin typeface="+mn-lt"/>
                <a:ea typeface="+mn-ea"/>
                <a:cs typeface="+mn-cs"/>
              </a:rPr>
              <a:t>Proposal to serve</a:t>
            </a:r>
            <a:r>
              <a:rPr lang="en-GB" sz="600" b="0" kern="1200" noProof="0">
                <a:solidFill>
                  <a:schemeClr val="tx1">
                    <a:lumMod val="50000"/>
                    <a:lumOff val="50000"/>
                  </a:schemeClr>
                </a:solidFill>
                <a:latin typeface="+mn-lt"/>
                <a:ea typeface="+mn-ea"/>
                <a:cs typeface="+mn-cs"/>
              </a:rPr>
              <a:t> </a:t>
            </a:r>
            <a:r>
              <a:rPr lang="en-GB" sz="700" b="1" kern="1200" noProof="0">
                <a:solidFill>
                  <a:schemeClr val="tx2"/>
                </a:solidFill>
                <a:latin typeface="+mn-lt"/>
                <a:ea typeface="+mn-ea"/>
                <a:cs typeface="+mn-cs"/>
              </a:rPr>
              <a:t>Cigna</a:t>
            </a:r>
            <a:endParaRPr lang="en-GB" sz="600" b="1" kern="1200" noProof="0">
              <a:solidFill>
                <a:schemeClr val="tx2"/>
              </a:solidFill>
              <a:latin typeface="+mn-lt"/>
              <a:ea typeface="+mn-ea"/>
              <a:cs typeface="+mn-cs"/>
            </a:endParaRPr>
          </a:p>
        </p:txBody>
      </p:sp>
    </p:spTree>
    <p:extLst>
      <p:ext uri="{BB962C8B-B14F-4D97-AF65-F5344CB8AC3E}">
        <p14:creationId xmlns:p14="http://schemas.microsoft.com/office/powerpoint/2010/main" val="1407562073"/>
      </p:ext>
    </p:extLst>
  </p:cSld>
  <p:clrMap bg1="lt1" tx1="dk1" bg2="lt2" tx2="dk2" accent1="accent1" accent2="accent2" accent3="accent3" accent4="accent4" accent5="accent5" accent6="accent6" hlink="hlink" folHlink="folHlink"/>
  <p:sldLayoutIdLst>
    <p:sldLayoutId id="2147483662" r:id="rId1"/>
    <p:sldLayoutId id="2147483905" r:id="rId2"/>
    <p:sldLayoutId id="2147484156" r:id="rId3"/>
    <p:sldLayoutId id="2147484158" r:id="rId4"/>
    <p:sldLayoutId id="2147484220" r:id="rId5"/>
    <p:sldLayoutId id="2147484162" r:id="rId6"/>
    <p:sldLayoutId id="2147484163" r:id="rId7"/>
    <p:sldLayoutId id="2147484188" r:id="rId8"/>
    <p:sldLayoutId id="2147484221" r:id="rId9"/>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0" kern="1200">
          <a:solidFill>
            <a:schemeClr val="tx1"/>
          </a:solidFill>
          <a:latin typeface="+mn-lt"/>
          <a:ea typeface="+mn-ea"/>
          <a:cs typeface="+mn-cs"/>
        </a:defRPr>
      </a:lvl1pPr>
      <a:lvl2pPr marL="171450" indent="-17145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2pPr>
      <a:lvl3pPr marL="341313" indent="-1651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3pPr>
      <a:lvl4pPr marL="573088" indent="-2317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4pPr>
      <a:lvl5pPr marL="803275"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9DC7553-A24E-B93F-3A57-E3007860E4C5}"/>
              </a:ext>
            </a:extLst>
          </p:cNvPr>
          <p:cNvGraphicFramePr>
            <a:graphicFrameLocks noChangeAspect="1"/>
          </p:cNvGraphicFramePr>
          <p:nvPr userDrawn="1">
            <p:custDataLst>
              <p:tags r:id="rId5"/>
            </p:custDataLst>
            <p:extLst>
              <p:ext uri="{D42A27DB-BD31-4B8C-83A1-F6EECF244321}">
                <p14:modId xmlns:p14="http://schemas.microsoft.com/office/powerpoint/2010/main" val="85182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86" imgH="486" progId="TCLayout.ActiveDocument.1">
                  <p:embed/>
                </p:oleObj>
              </mc:Choice>
              <mc:Fallback>
                <p:oleObj name="think-cell Slide" r:id="rId7" imgW="486" imgH="486" progId="TCLayout.ActiveDocument.1">
                  <p:embed/>
                  <p:pic>
                    <p:nvPicPr>
                      <p:cNvPr id="10" name="think-cell data - do not delete" hidden="1">
                        <a:extLst>
                          <a:ext uri="{FF2B5EF4-FFF2-40B4-BE49-F238E27FC236}">
                            <a16:creationId xmlns:a16="http://schemas.microsoft.com/office/drawing/2014/main" id="{79DC7553-A24E-B93F-3A57-E3007860E4C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Parallelogram 4">
            <a:extLst>
              <a:ext uri="{FF2B5EF4-FFF2-40B4-BE49-F238E27FC236}">
                <a16:creationId xmlns:a16="http://schemas.microsoft.com/office/drawing/2014/main" id="{0BD2B79F-214B-5AB7-7042-56F75E146EFA}"/>
              </a:ext>
            </a:extLst>
          </p:cNvPr>
          <p:cNvSpPr/>
          <p:nvPr userDrawn="1"/>
        </p:nvSpPr>
        <p:spPr>
          <a:xfrm>
            <a:off x="9737498" y="6241234"/>
            <a:ext cx="1333853" cy="222656"/>
          </a:xfrm>
          <a:prstGeom prst="parallelogram">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a:solidFill>
                <a:schemeClr val="bg1"/>
              </a:solidFill>
            </a:endParaRPr>
          </a:p>
        </p:txBody>
      </p:sp>
      <p:sp>
        <p:nvSpPr>
          <p:cNvPr id="4" name="Oval 3">
            <a:extLst>
              <a:ext uri="{FF2B5EF4-FFF2-40B4-BE49-F238E27FC236}">
                <a16:creationId xmlns:a16="http://schemas.microsoft.com/office/drawing/2014/main" id="{9B79B25B-E993-64BB-EAC9-699F238E41D2}"/>
              </a:ext>
            </a:extLst>
          </p:cNvPr>
          <p:cNvSpPr/>
          <p:nvPr userDrawn="1"/>
        </p:nvSpPr>
        <p:spPr>
          <a:xfrm>
            <a:off x="10942370" y="6169550"/>
            <a:ext cx="347135" cy="347135"/>
          </a:xfrm>
          <a:prstGeom prst="ellipse">
            <a:avLst/>
          </a:prstGeom>
          <a:solidFill>
            <a:schemeClr val="bg1"/>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1003201" y="1330126"/>
            <a:ext cx="10194470" cy="4546799"/>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0994232"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86CB4B4D-7CA3-9044-876B-883B54F8677D}" type="slidenum">
              <a:rPr lang="en-GB" sz="1200" b="0" smtClean="0">
                <a:solidFill>
                  <a:schemeClr val="accent2"/>
                </a:solidFill>
                <a:latin typeface="+mj-lt"/>
                <a:ea typeface="Arial"/>
                <a:cs typeface="Arial" panose="020B0604020202020204" pitchFamily="34" charset="0"/>
              </a:rPr>
              <a:pPr algn="ctr"/>
              <a:t>‹#›</a:t>
            </a:fld>
            <a:endParaRPr lang="en-GB" sz="1200" b="0">
              <a:solidFill>
                <a:schemeClr val="accent2"/>
              </a:solidFill>
              <a:latin typeface="+mj-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6"/>
            </p:custDataLst>
          </p:nvPr>
        </p:nvSpPr>
        <p:spPr>
          <a:xfrm>
            <a:off x="9763431" y="6305468"/>
            <a:ext cx="1153007" cy="10772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1" kern="1200" noProof="0">
                <a:solidFill>
                  <a:schemeClr val="tx1">
                    <a:lumMod val="50000"/>
                    <a:lumOff val="50000"/>
                  </a:schemeClr>
                </a:solidFill>
                <a:latin typeface="+mn-lt"/>
                <a:ea typeface="+mn-ea"/>
                <a:cs typeface="+mn-cs"/>
              </a:rPr>
              <a:t>Proposal to serve</a:t>
            </a:r>
            <a:r>
              <a:rPr lang="en-GB" sz="600" b="0" kern="1200" noProof="0">
                <a:solidFill>
                  <a:schemeClr val="tx1">
                    <a:lumMod val="50000"/>
                    <a:lumOff val="50000"/>
                  </a:schemeClr>
                </a:solidFill>
                <a:latin typeface="+mn-lt"/>
                <a:ea typeface="+mn-ea"/>
                <a:cs typeface="+mn-cs"/>
              </a:rPr>
              <a:t> </a:t>
            </a:r>
            <a:r>
              <a:rPr lang="en-GB" sz="700" b="1" kern="1200" noProof="0">
                <a:solidFill>
                  <a:schemeClr val="tx2"/>
                </a:solidFill>
                <a:latin typeface="+mn-lt"/>
                <a:ea typeface="+mn-ea"/>
                <a:cs typeface="+mn-cs"/>
              </a:rPr>
              <a:t>Cigna</a:t>
            </a:r>
            <a:endParaRPr lang="en-GB" sz="600" b="1" kern="1200" noProof="0">
              <a:solidFill>
                <a:schemeClr val="tx2"/>
              </a:solidFill>
              <a:latin typeface="+mn-lt"/>
              <a:ea typeface="+mn-ea"/>
              <a:cs typeface="+mn-cs"/>
            </a:endParaRPr>
          </a:p>
        </p:txBody>
      </p:sp>
      <p:sp>
        <p:nvSpPr>
          <p:cNvPr id="26" name="Freeform 19">
            <a:extLs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TextBox 7">
            <a:extLs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65000"/>
                  </a:srgbClr>
                </a:solidFill>
                <a:effectLst/>
                <a:uLnTx/>
                <a:uFillTx/>
              </a:rPr>
              <a:t>© 2025 KPMG LLP, a Delaware limited liability partnership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2741203741"/>
      </p:ext>
    </p:extLst>
  </p:cSld>
  <p:clrMap bg1="lt1" tx1="dk1" bg2="lt2" tx2="dk2" accent1="accent1" accent2="accent2" accent3="accent3" accent4="accent4" accent5="accent5" accent6="accent6" hlink="hlink" folHlink="folHlink"/>
  <p:sldLayoutIdLst>
    <p:sldLayoutId id="2147483810" r:id="rId1"/>
    <p:sldLayoutId id="2147483813" r:id="rId2"/>
    <p:sldLayoutId id="2147484157" r:id="rId3"/>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guide id="7" orient="horz" pos="370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9.xml"/><Relationship Id="rId5" Type="http://schemas.openxmlformats.org/officeDocument/2006/relationships/image" Target="../media/image9.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hyperlink" Target="mailto:katieboswell@kpmg.com" TargetMode="External"/><Relationship Id="rId18" Type="http://schemas.openxmlformats.org/officeDocument/2006/relationships/image" Target="../media/image75.png"/><Relationship Id="rId3" Type="http://schemas.openxmlformats.org/officeDocument/2006/relationships/oleObject" Target="../embeddings/oleObject14.bin"/><Relationship Id="rId7" Type="http://schemas.openxmlformats.org/officeDocument/2006/relationships/image" Target="../media/image68.png"/><Relationship Id="rId12" Type="http://schemas.openxmlformats.org/officeDocument/2006/relationships/image" Target="../media/image72.png"/><Relationship Id="rId17" Type="http://schemas.openxmlformats.org/officeDocument/2006/relationships/hyperlink" Target="mailto:arwhite@KPMG.com" TargetMode="External"/><Relationship Id="rId2" Type="http://schemas.openxmlformats.org/officeDocument/2006/relationships/slideLayout" Target="../slideLayouts/slideLayout2.xml"/><Relationship Id="rId16" Type="http://schemas.openxmlformats.org/officeDocument/2006/relationships/image" Target="../media/image74.jpeg"/><Relationship Id="rId20" Type="http://schemas.openxmlformats.org/officeDocument/2006/relationships/image" Target="../media/image76.jpeg"/><Relationship Id="rId1" Type="http://schemas.openxmlformats.org/officeDocument/2006/relationships/tags" Target="../tags/tag20.xml"/><Relationship Id="rId6" Type="http://schemas.openxmlformats.org/officeDocument/2006/relationships/image" Target="../media/image67.png"/><Relationship Id="rId11" Type="http://schemas.openxmlformats.org/officeDocument/2006/relationships/hyperlink" Target="mailto:anuragrai@KPMG.com" TargetMode="External"/><Relationship Id="rId5" Type="http://schemas.openxmlformats.org/officeDocument/2006/relationships/image" Target="../media/image66.png"/><Relationship Id="rId15" Type="http://schemas.openxmlformats.org/officeDocument/2006/relationships/hyperlink" Target="mailto:rtuggle@KPMG.com" TargetMode="External"/><Relationship Id="rId10" Type="http://schemas.openxmlformats.org/officeDocument/2006/relationships/image" Target="../media/image71.png"/><Relationship Id="rId19" Type="http://schemas.openxmlformats.org/officeDocument/2006/relationships/hyperlink" Target="mailto:markmuto@KPMG.com" TargetMode="External"/><Relationship Id="rId4" Type="http://schemas.openxmlformats.org/officeDocument/2006/relationships/image" Target="../media/image1.emf"/><Relationship Id="rId9" Type="http://schemas.openxmlformats.org/officeDocument/2006/relationships/image" Target="../media/image70.png"/><Relationship Id="rId14" Type="http://schemas.openxmlformats.org/officeDocument/2006/relationships/image" Target="../media/image73.jpe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slideLayout" Target="../slideLayouts/slideLayout6.xml"/><Relationship Id="rId7" Type="http://schemas.openxmlformats.org/officeDocument/2006/relationships/image" Target="../media/image10.jpeg"/><Relationship Id="rId12" Type="http://schemas.openxmlformats.org/officeDocument/2006/relationships/image" Target="../media/image15.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emf"/><Relationship Id="rId11" Type="http://schemas.openxmlformats.org/officeDocument/2006/relationships/image" Target="../media/image14.jpeg"/><Relationship Id="rId5" Type="http://schemas.openxmlformats.org/officeDocument/2006/relationships/oleObject" Target="../embeddings/oleObject6.bin"/><Relationship Id="rId15" Type="http://schemas.openxmlformats.org/officeDocument/2006/relationships/image" Target="../media/image18.jpeg"/><Relationship Id="rId10" Type="http://schemas.openxmlformats.org/officeDocument/2006/relationships/image" Target="../media/image13.png"/><Relationship Id="rId4" Type="http://schemas.openxmlformats.org/officeDocument/2006/relationships/notesSlide" Target="../notesSlides/notesSlide2.xml"/><Relationship Id="rId9" Type="http://schemas.openxmlformats.org/officeDocument/2006/relationships/image" Target="../media/image12.jpeg"/><Relationship Id="rId14" Type="http://schemas.openxmlformats.org/officeDocument/2006/relationships/image" Target="../media/image17.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9.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18" Type="http://schemas.openxmlformats.org/officeDocument/2006/relationships/image" Target="../media/image31.png"/><Relationship Id="rId3" Type="http://schemas.openxmlformats.org/officeDocument/2006/relationships/notesSlide" Target="../notesSlides/notesSlide4.xml"/><Relationship Id="rId21" Type="http://schemas.openxmlformats.org/officeDocument/2006/relationships/image" Target="../media/image34.svg"/><Relationship Id="rId7" Type="http://schemas.openxmlformats.org/officeDocument/2006/relationships/image" Target="../media/image20.svg"/><Relationship Id="rId12" Type="http://schemas.openxmlformats.org/officeDocument/2006/relationships/image" Target="../media/image25.png"/><Relationship Id="rId17" Type="http://schemas.openxmlformats.org/officeDocument/2006/relationships/image" Target="../media/image30.svg"/><Relationship Id="rId2" Type="http://schemas.openxmlformats.org/officeDocument/2006/relationships/slideLayout" Target="../slideLayouts/slideLayout4.xml"/><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tags" Target="../tags/tag13.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9.emf"/><Relationship Id="rId15" Type="http://schemas.openxmlformats.org/officeDocument/2006/relationships/image" Target="../media/image28.svg"/><Relationship Id="rId10" Type="http://schemas.openxmlformats.org/officeDocument/2006/relationships/image" Target="../media/image23.png"/><Relationship Id="rId19" Type="http://schemas.openxmlformats.org/officeDocument/2006/relationships/image" Target="../media/image32.svg"/><Relationship Id="rId4" Type="http://schemas.openxmlformats.org/officeDocument/2006/relationships/oleObject" Target="../embeddings/oleObject8.bin"/><Relationship Id="rId9" Type="http://schemas.openxmlformats.org/officeDocument/2006/relationships/image" Target="../media/image22.svg"/><Relationship Id="rId14" Type="http://schemas.openxmlformats.org/officeDocument/2006/relationships/image" Target="../media/image27.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5.jpeg"/><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image" Target="../media/image9.emf"/><Relationship Id="rId5" Type="http://schemas.openxmlformats.org/officeDocument/2006/relationships/oleObject" Target="../embeddings/oleObject9.bin"/><Relationship Id="rId4" Type="http://schemas.microsoft.com/office/2018/10/relationships/comments" Target="../comments/modernComment_10D_B743F2FB.xml"/></Relationships>
</file>

<file path=ppt/slides/_rels/slide6.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notesSlide" Target="../notesSlides/notesSlide6.xml"/><Relationship Id="rId7" Type="http://schemas.openxmlformats.org/officeDocument/2006/relationships/image" Target="../media/image35.png"/><Relationship Id="rId12" Type="http://schemas.openxmlformats.org/officeDocument/2006/relationships/image" Target="../media/image40.svg"/><Relationship Id="rId2" Type="http://schemas.openxmlformats.org/officeDocument/2006/relationships/slideLayout" Target="../slideLayouts/slideLayout1.xml"/><Relationship Id="rId1" Type="http://schemas.openxmlformats.org/officeDocument/2006/relationships/tags" Target="../tags/tag15.xml"/><Relationship Id="rId6" Type="http://schemas.openxmlformats.org/officeDocument/2006/relationships/image" Target="../media/image5.jpeg"/><Relationship Id="rId11" Type="http://schemas.openxmlformats.org/officeDocument/2006/relationships/image" Target="../media/image39.png"/><Relationship Id="rId5" Type="http://schemas.openxmlformats.org/officeDocument/2006/relationships/image" Target="../media/image9.emf"/><Relationship Id="rId10" Type="http://schemas.openxmlformats.org/officeDocument/2006/relationships/image" Target="../media/image38.svg"/><Relationship Id="rId4" Type="http://schemas.openxmlformats.org/officeDocument/2006/relationships/oleObject" Target="../embeddings/oleObject10.bin"/><Relationship Id="rId9" Type="http://schemas.openxmlformats.org/officeDocument/2006/relationships/image" Target="../media/image37.png"/></Relationships>
</file>

<file path=ppt/slides/_rels/slide7.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18" Type="http://schemas.openxmlformats.org/officeDocument/2006/relationships/image" Target="../media/image54.png"/><Relationship Id="rId3" Type="http://schemas.openxmlformats.org/officeDocument/2006/relationships/notesSlide" Target="../notesSlides/notesSlide7.xml"/><Relationship Id="rId21" Type="http://schemas.openxmlformats.org/officeDocument/2006/relationships/image" Target="../media/image57.svg"/><Relationship Id="rId7" Type="http://schemas.openxmlformats.org/officeDocument/2006/relationships/image" Target="../media/image43.svg"/><Relationship Id="rId12" Type="http://schemas.openxmlformats.org/officeDocument/2006/relationships/image" Target="../media/image48.png"/><Relationship Id="rId17" Type="http://schemas.openxmlformats.org/officeDocument/2006/relationships/image" Target="../media/image53.svg"/><Relationship Id="rId2" Type="http://schemas.openxmlformats.org/officeDocument/2006/relationships/slideLayout" Target="../slideLayouts/slideLayout4.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tags" Target="../tags/tag16.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41.emf"/><Relationship Id="rId15" Type="http://schemas.openxmlformats.org/officeDocument/2006/relationships/image" Target="../media/image51.svg"/><Relationship Id="rId10" Type="http://schemas.openxmlformats.org/officeDocument/2006/relationships/image" Target="../media/image46.png"/><Relationship Id="rId19" Type="http://schemas.openxmlformats.org/officeDocument/2006/relationships/image" Target="../media/image55.svg"/><Relationship Id="rId4" Type="http://schemas.openxmlformats.org/officeDocument/2006/relationships/oleObject" Target="../embeddings/oleObject11.bin"/><Relationship Id="rId9" Type="http://schemas.openxmlformats.org/officeDocument/2006/relationships/image" Target="../media/image45.svg"/><Relationship Id="rId14" Type="http://schemas.openxmlformats.org/officeDocument/2006/relationships/image" Target="../media/image50.png"/></Relationships>
</file>

<file path=ppt/slides/_rels/slide8.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62.png"/><Relationship Id="rId3" Type="http://schemas.openxmlformats.org/officeDocument/2006/relationships/notesSlide" Target="../notesSlides/notesSlide8.xml"/><Relationship Id="rId7" Type="http://schemas.openxmlformats.org/officeDocument/2006/relationships/image" Target="../media/image58.png"/><Relationship Id="rId12" Type="http://schemas.openxmlformats.org/officeDocument/2006/relationships/image" Target="../media/image61.svg"/><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9.emf"/><Relationship Id="rId11" Type="http://schemas.openxmlformats.org/officeDocument/2006/relationships/image" Target="../media/image60.png"/><Relationship Id="rId5" Type="http://schemas.openxmlformats.org/officeDocument/2006/relationships/oleObject" Target="../embeddings/oleObject12.bin"/><Relationship Id="rId10" Type="http://schemas.microsoft.com/office/2007/relationships/hdphoto" Target="../media/hdphoto3.wdp"/><Relationship Id="rId4" Type="http://schemas.microsoft.com/office/2018/10/relationships/comments" Target="../comments/modernComment_103_96322BFC.xml"/><Relationship Id="rId9" Type="http://schemas.openxmlformats.org/officeDocument/2006/relationships/image" Target="../media/image59.png"/><Relationship Id="rId14" Type="http://schemas.openxmlformats.org/officeDocument/2006/relationships/image" Target="../media/image63.svg"/></Relationships>
</file>

<file path=ppt/slides/_rels/slide9.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4.xml"/><Relationship Id="rId7" Type="http://schemas.openxmlformats.org/officeDocument/2006/relationships/image" Target="../media/image9.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13.bin"/><Relationship Id="rId5" Type="http://schemas.microsoft.com/office/2018/10/relationships/comments" Target="../comments/modernComment_7FFFF62A_E0637B62.xml"/><Relationship Id="rId4" Type="http://schemas.openxmlformats.org/officeDocument/2006/relationships/notesSlide" Target="../notesSlides/notesSlide9.xml"/><Relationship Id="rId9" Type="http://schemas.openxmlformats.org/officeDocument/2006/relationships/image" Target="../media/image6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9F93F6A-B480-DBCD-DEDF-C74182F2610C}"/>
              </a:ext>
            </a:extLst>
          </p:cNvPr>
          <p:cNvGraphicFramePr>
            <a:graphicFrameLocks noChangeAspect="1"/>
          </p:cNvGraphicFramePr>
          <p:nvPr>
            <p:custDataLst>
              <p:tags r:id="rId1"/>
            </p:custDataLst>
            <p:extLst>
              <p:ext uri="{D42A27DB-BD31-4B8C-83A1-F6EECF244321}">
                <p14:modId xmlns:p14="http://schemas.microsoft.com/office/powerpoint/2010/main" val="3856405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think-cell data - do not delete" hidden="1">
                        <a:extLst>
                          <a:ext uri="{FF2B5EF4-FFF2-40B4-BE49-F238E27FC236}">
                            <a16:creationId xmlns:a16="http://schemas.microsoft.com/office/drawing/2014/main" id="{A9F93F6A-B480-DBCD-DEDF-C74182F261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E123FEB-F547-BCF8-124B-DD2E13B2EA59}"/>
              </a:ext>
            </a:extLst>
          </p:cNvPr>
          <p:cNvSpPr>
            <a:spLocks noGrp="1"/>
          </p:cNvSpPr>
          <p:nvPr>
            <p:ph type="ctrTitle"/>
          </p:nvPr>
        </p:nvSpPr>
        <p:spPr>
          <a:xfrm flipH="1">
            <a:off x="720721" y="1275188"/>
            <a:ext cx="6518277" cy="1829519"/>
          </a:xfrm>
        </p:spPr>
        <p:txBody>
          <a:bodyPr vert="horz" lIns="0" rIns="0" rtlCol="1"/>
          <a:lstStyle/>
          <a:p>
            <a:pPr algn="l" rtl="0">
              <a:lnSpc>
                <a:spcPct val="70000"/>
              </a:lnSpc>
            </a:pPr>
            <a:r>
              <a:rPr kumimoji="0" lang="pt-BR" sz="9600" b="0" i="0" u="none" strike="noStrike" kern="1200" cap="none" spc="0" normalizeH="0" baseline="0" noProof="0">
                <a:ln>
                  <a:noFill/>
                </a:ln>
                <a:solidFill>
                  <a:srgbClr val="FFFFFF"/>
                </a:solidFill>
                <a:effectLst/>
                <a:uLnTx/>
                <a:uFillTx/>
                <a:latin typeface="KPMG Bold"/>
                <a:ea typeface="+mj-ea"/>
                <a:cs typeface="Arial"/>
              </a:rPr>
              <a:t>GIAM AI Enhanced IAM Controls &amp; Governance</a:t>
            </a:r>
            <a:br>
              <a:rPr kumimoji="0" lang="en-US" sz="8800" b="0" i="0" u="none" strike="noStrike" kern="1200" cap="none" spc="0" normalizeH="0" baseline="0" noProof="0">
                <a:ln>
                  <a:noFill/>
                </a:ln>
                <a:solidFill>
                  <a:srgbClr val="FFFFFF"/>
                </a:solidFill>
                <a:effectLst/>
                <a:uLnTx/>
                <a:uFillTx/>
                <a:latin typeface="KPMG Bold"/>
                <a:ea typeface="+mj-ea"/>
                <a:cs typeface="Arial"/>
              </a:rPr>
            </a:br>
            <a:endParaRPr lang="ar-SA" noProof="1"/>
          </a:p>
        </p:txBody>
      </p:sp>
      <p:sp>
        <p:nvSpPr>
          <p:cNvPr id="5" name="Text Placeholder 4">
            <a:extLst>
              <a:ext uri="{FF2B5EF4-FFF2-40B4-BE49-F238E27FC236}">
                <a16:creationId xmlns:a16="http://schemas.microsoft.com/office/drawing/2014/main" id="{803F6D5E-8A23-9E71-1187-1A4DDA8644EB}"/>
              </a:ext>
            </a:extLst>
          </p:cNvPr>
          <p:cNvSpPr>
            <a:spLocks noGrp="1"/>
          </p:cNvSpPr>
          <p:nvPr>
            <p:ph type="body" sz="quarter" idx="11"/>
          </p:nvPr>
        </p:nvSpPr>
        <p:spPr/>
        <p:txBody>
          <a:bodyPr lIns="0" rIns="0" rtlCol="1"/>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a:ea typeface="+mn-ea"/>
                <a:cs typeface="+mn-cs"/>
              </a:rPr>
              <a:t>Orals</a:t>
            </a:r>
            <a:r>
              <a:rPr kumimoji="0" lang="en-GB" sz="1100" b="1" i="0" u="none" strike="noStrike" kern="1200" cap="none" spc="0" normalizeH="0" baseline="0" noProof="0">
                <a:ln>
                  <a:noFill/>
                </a:ln>
                <a:solidFill>
                  <a:srgbClr val="FFFFFF"/>
                </a:solidFill>
                <a:effectLst/>
                <a:uLnTx/>
                <a:uFillTx/>
                <a:latin typeface="Arial"/>
                <a:ea typeface="+mn-ea"/>
                <a:cs typeface="+mn-cs"/>
                <a:sym typeface="Webdings" panose="05030102010509060703" pitchFamily="18" charset="2"/>
              </a:rPr>
              <a:t> </a:t>
            </a:r>
            <a:r>
              <a:rPr lang="en-GB" sz="1100">
                <a:solidFill>
                  <a:srgbClr val="FFFFFF"/>
                </a:solidFill>
                <a:latin typeface="Arial"/>
                <a:cs typeface="+mn-cs"/>
                <a:sym typeface="Webdings" panose="05030102010509060703" pitchFamily="18" charset="2"/>
              </a:rPr>
              <a:t>9</a:t>
            </a:r>
            <a:r>
              <a:rPr kumimoji="0" lang="en-GB" sz="1100" b="1" i="0" u="none" strike="noStrike" kern="1200" cap="none" spc="0" normalizeH="0" baseline="0" noProof="0">
                <a:ln>
                  <a:noFill/>
                </a:ln>
                <a:solidFill>
                  <a:srgbClr val="FFFFFF"/>
                </a:solidFill>
                <a:effectLst/>
                <a:uLnTx/>
                <a:uFillTx/>
                <a:latin typeface="Arial"/>
                <a:ea typeface="+mn-ea"/>
                <a:cs typeface="+mn-cs"/>
                <a:sym typeface="Webdings" panose="05030102010509060703" pitchFamily="18" charset="2"/>
              </a:rPr>
              <a:t> December 2025</a:t>
            </a:r>
            <a:endParaRPr kumimoji="0" lang="en-GB" sz="1100" b="1" i="0" u="none" strike="noStrike" kern="1200" cap="none" spc="0" normalizeH="0" baseline="0" noProof="0">
              <a:ln>
                <a:noFill/>
              </a:ln>
              <a:solidFill>
                <a:srgbClr val="FFFFFF"/>
              </a:solidFill>
              <a:effectLst/>
              <a:uLnTx/>
              <a:uFillTx/>
              <a:latin typeface="Arial"/>
              <a:ea typeface="+mn-ea"/>
              <a:cs typeface="+mn-cs"/>
            </a:endParaRPr>
          </a:p>
        </p:txBody>
      </p:sp>
      <p:sp>
        <p:nvSpPr>
          <p:cNvPr id="105" name="Rectangle: Rounded Corners 104">
            <a:extLst>
              <a:ext uri="{FF2B5EF4-FFF2-40B4-BE49-F238E27FC236}">
                <a16:creationId xmlns:a16="http://schemas.microsoft.com/office/drawing/2014/main" id="{5B82D226-79E9-0448-0C98-8562AB07A561}"/>
              </a:ext>
            </a:extLst>
          </p:cNvPr>
          <p:cNvSpPr/>
          <p:nvPr/>
        </p:nvSpPr>
        <p:spPr>
          <a:xfrm flipH="1">
            <a:off x="720726" y="5071253"/>
            <a:ext cx="1163637" cy="77407"/>
          </a:xfrm>
          <a:prstGeom prst="roundRect">
            <a:avLst>
              <a:gd name="adj" fmla="val 50000"/>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ndParaRPr>
          </a:p>
        </p:txBody>
      </p:sp>
      <p:sp>
        <p:nvSpPr>
          <p:cNvPr id="2" name="TextBox 1">
            <a:extLst>
              <a:ext uri="{FF2B5EF4-FFF2-40B4-BE49-F238E27FC236}">
                <a16:creationId xmlns:a16="http://schemas.microsoft.com/office/drawing/2014/main" id="{79323024-CF2A-C69A-808B-4BA6710B84F7}"/>
              </a:ext>
            </a:extLst>
          </p:cNvPr>
          <p:cNvSpPr txBox="1"/>
          <p:nvPr/>
        </p:nvSpPr>
        <p:spPr>
          <a:xfrm>
            <a:off x="720725" y="5305813"/>
            <a:ext cx="4119613" cy="276999"/>
          </a:xfrm>
          <a:prstGeom prst="rect">
            <a:avLst/>
          </a:prstGeom>
        </p:spPr>
        <p:txBody>
          <a:bodyPr vert="horz" wrap="square" lIns="0" tIns="0" rIns="0" bIns="0" rtlCol="0" anchor="t" anchorCtr="0">
            <a:spAutoFit/>
          </a:bodyPr>
          <a:lstStyle/>
          <a:p>
            <a:pPr algn="l">
              <a:spcAft>
                <a:spcPts val="600"/>
              </a:spcAft>
            </a:pPr>
            <a:r>
              <a:rPr lang="en-US" b="1">
                <a:solidFill>
                  <a:srgbClr val="FFFFFF"/>
                </a:solidFill>
                <a:latin typeface="Arial"/>
                <a:sym typeface="DIN Next LT Arabic" panose="020B0503020203050203" pitchFamily="34" charset="-78"/>
              </a:rPr>
              <a:t>The Journey to Intelligent Healthcare</a:t>
            </a:r>
          </a:p>
        </p:txBody>
      </p:sp>
      <p:sp>
        <p:nvSpPr>
          <p:cNvPr id="3" name="Title 3">
            <a:extLst>
              <a:ext uri="{FF2B5EF4-FFF2-40B4-BE49-F238E27FC236}">
                <a16:creationId xmlns:a16="http://schemas.microsoft.com/office/drawing/2014/main" id="{4730B951-42E5-0E9B-C8D4-1B8BC2D64F9F}"/>
              </a:ext>
            </a:extLst>
          </p:cNvPr>
          <p:cNvSpPr txBox="1">
            <a:spLocks/>
          </p:cNvSpPr>
          <p:nvPr/>
        </p:nvSpPr>
        <p:spPr>
          <a:xfrm flipH="1">
            <a:off x="720721" y="4500259"/>
            <a:ext cx="3851277" cy="405544"/>
          </a:xfrm>
          <a:prstGeom prst="rect">
            <a:avLst/>
          </a:prstGeom>
          <a:noFill/>
          <a:ln w="3175">
            <a:noFill/>
            <a:prstDash val="lgDash"/>
          </a:ln>
        </p:spPr>
        <p:txBody>
          <a:bodyPr vert="horz" lIns="0" tIns="0" rIns="0" bIns="0" rtlCol="1" anchor="t" anchorCtr="0">
            <a:noAutofit/>
          </a:bodyPr>
          <a:lstStyle>
            <a:lvl1pPr algn="l" defTabSz="914400" rtl="0" eaLnBrk="1" latinLnBrk="0" hangingPunct="1">
              <a:lnSpc>
                <a:spcPct val="90000"/>
              </a:lnSpc>
              <a:spcBef>
                <a:spcPct val="0"/>
              </a:spcBef>
              <a:buNone/>
              <a:tabLst>
                <a:tab pos="990000" algn="l"/>
              </a:tabLst>
              <a:defRPr sz="4800" b="1" kern="1200" baseline="0">
                <a:solidFill>
                  <a:schemeClr val="bg1"/>
                </a:solidFill>
                <a:latin typeface="DIN Next LT Arabic" panose="020B0503020203050203" pitchFamily="34" charset="-78"/>
                <a:ea typeface="+mj-ea"/>
                <a:cs typeface="DIN Next LT Arabic" panose="020B0503020203050203" pitchFamily="34" charset="-78"/>
                <a:sym typeface="DIN Next LT Arabic" panose="020B0503020203050203" pitchFamily="34" charset="-78"/>
              </a:defRPr>
            </a:lvl1pPr>
            <a:lvl2pPr>
              <a:lnSpc>
                <a:spcPct val="70000"/>
              </a:lnSpc>
              <a:defRPr sz="2800">
                <a:solidFill>
                  <a:schemeClr val="accent1"/>
                </a:solidFill>
                <a:latin typeface="+mj-lt"/>
              </a:defRPr>
            </a:lvl2pPr>
            <a:lvl3pPr>
              <a:defRPr sz="1600" b="1">
                <a:solidFill>
                  <a:schemeClr val="accent1"/>
                </a:solidFill>
                <a:latin typeface="+mn-lt"/>
              </a:defRPr>
            </a:lvl3pPr>
          </a:lstStyle>
          <a:p>
            <a:pPr>
              <a:lnSpc>
                <a:spcPct val="70000"/>
              </a:lnSpc>
            </a:pPr>
            <a:r>
              <a:rPr kumimoji="0" lang="en-US" sz="3600" b="0" i="0" u="none" strike="noStrike" kern="1200" cap="none" spc="0" normalizeH="0" baseline="0" noProof="0">
                <a:ln>
                  <a:noFill/>
                </a:ln>
                <a:solidFill>
                  <a:srgbClr val="63EBDA"/>
                </a:solidFill>
                <a:effectLst/>
                <a:uLnTx/>
                <a:uFillTx/>
                <a:latin typeface="KPMG Bold"/>
                <a:ea typeface="+mj-ea"/>
                <a:cs typeface="Arial"/>
                <a:sym typeface="DIN Next LT Arabic" panose="020B0503020203050203" pitchFamily="34" charset="-78"/>
              </a:rPr>
              <a:t>Data &amp; AI Strategy</a:t>
            </a:r>
            <a:endParaRPr lang="ar-SA" sz="4500" noProof="1">
              <a:solidFill>
                <a:srgbClr val="63EBDA"/>
              </a:solidFill>
            </a:endParaRPr>
          </a:p>
        </p:txBody>
      </p:sp>
    </p:spTree>
    <p:extLst>
      <p:ext uri="{BB962C8B-B14F-4D97-AF65-F5344CB8AC3E}">
        <p14:creationId xmlns:p14="http://schemas.microsoft.com/office/powerpoint/2010/main" val="13309901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bg>
      <p:bgPr>
        <a:gradFill flip="none" rotWithShape="1">
          <a:gsLst>
            <a:gs pos="0">
              <a:srgbClr val="2EC8BA"/>
            </a:gs>
            <a:gs pos="50000">
              <a:srgbClr val="2AAAF0"/>
            </a:gs>
            <a:gs pos="100000">
              <a:srgbClr val="3B63E4"/>
            </a:gs>
          </a:gsLst>
          <a:lin ang="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0D31C58-C7DA-C4C0-9790-1501B0C85B01}"/>
              </a:ext>
            </a:extLst>
          </p:cNvPr>
          <p:cNvGraphicFramePr>
            <a:graphicFrameLocks noChangeAspect="1"/>
          </p:cNvGraphicFramePr>
          <p:nvPr>
            <p:custDataLst>
              <p:tags r:id="rId1"/>
            </p:custDataLst>
            <p:extLst>
              <p:ext uri="{D42A27DB-BD31-4B8C-83A1-F6EECF244321}">
                <p14:modId xmlns:p14="http://schemas.microsoft.com/office/powerpoint/2010/main" val="72955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6" imgH="486" progId="TCLayout.ActiveDocument.1">
                  <p:embed/>
                </p:oleObj>
              </mc:Choice>
              <mc:Fallback>
                <p:oleObj name="think-cell Slide" r:id="rId3" imgW="486" imgH="486" progId="TCLayout.ActiveDocument.1">
                  <p:embed/>
                  <p:pic>
                    <p:nvPicPr>
                      <p:cNvPr id="2" name="think-cell data - do not delete" hidden="1">
                        <a:extLst>
                          <a:ext uri="{FF2B5EF4-FFF2-40B4-BE49-F238E27FC236}">
                            <a16:creationId xmlns:a16="http://schemas.microsoft.com/office/drawing/2014/main" id="{90D31C58-C7DA-C4C0-9790-1501B0C85B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object 8"/>
          <p:cNvSpPr txBox="1"/>
          <p:nvPr/>
        </p:nvSpPr>
        <p:spPr>
          <a:xfrm>
            <a:off x="1031876" y="4418756"/>
            <a:ext cx="6494145"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Arial"/>
              </a:rPr>
              <a:t>Some </a:t>
            </a:r>
            <a:r>
              <a:rPr kumimoji="0" lang="en-US" sz="800" b="0" i="0" u="none" strike="noStrike" kern="1200" cap="none" spc="-5" normalizeH="0" baseline="0" noProof="0">
                <a:ln>
                  <a:noFill/>
                </a:ln>
                <a:solidFill>
                  <a:srgbClr val="FFFFFF"/>
                </a:solidFill>
                <a:effectLst/>
                <a:uLnTx/>
                <a:uFillTx/>
                <a:latin typeface="Arial"/>
                <a:ea typeface="+mn-ea"/>
                <a:cs typeface="Arial"/>
              </a:rPr>
              <a:t>or all </a:t>
            </a:r>
            <a:r>
              <a:rPr kumimoji="0" lang="en-US" sz="800" b="0" i="0" u="none" strike="noStrike" kern="1200" cap="none" spc="0" normalizeH="0" baseline="0" noProof="0">
                <a:ln>
                  <a:noFill/>
                </a:ln>
                <a:solidFill>
                  <a:srgbClr val="FFFFFF"/>
                </a:solidFill>
                <a:effectLst/>
                <a:uLnTx/>
                <a:uFillTx/>
                <a:latin typeface="Arial"/>
                <a:ea typeface="+mn-ea"/>
                <a:cs typeface="Arial"/>
              </a:rPr>
              <a:t>of the </a:t>
            </a:r>
            <a:r>
              <a:rPr kumimoji="0" lang="en-US" sz="800" b="0" i="0" u="none" strike="noStrike" kern="1200" cap="none" spc="-5" normalizeH="0" baseline="0" noProof="0">
                <a:ln>
                  <a:noFill/>
                </a:ln>
                <a:solidFill>
                  <a:srgbClr val="FFFFFF"/>
                </a:solidFill>
                <a:effectLst/>
                <a:uLnTx/>
                <a:uFillTx/>
                <a:latin typeface="Arial"/>
                <a:ea typeface="+mn-ea"/>
                <a:cs typeface="Arial"/>
              </a:rPr>
              <a:t>services </a:t>
            </a:r>
            <a:r>
              <a:rPr kumimoji="0" lang="en-US" sz="800" b="0" i="0" u="none" strike="noStrike" kern="1200" cap="none" spc="0" normalizeH="0" baseline="0" noProof="0">
                <a:ln>
                  <a:noFill/>
                </a:ln>
                <a:solidFill>
                  <a:srgbClr val="FFFFFF"/>
                </a:solidFill>
                <a:effectLst/>
                <a:uLnTx/>
                <a:uFillTx/>
                <a:latin typeface="Arial"/>
                <a:ea typeface="+mn-ea"/>
                <a:cs typeface="Arial"/>
              </a:rPr>
              <a:t>described </a:t>
            </a:r>
            <a:r>
              <a:rPr kumimoji="0" lang="en-US" sz="800" b="0" i="0" u="none" strike="noStrike" kern="1200" cap="none" spc="-5" normalizeH="0" baseline="0" noProof="0">
                <a:ln>
                  <a:noFill/>
                </a:ln>
                <a:solidFill>
                  <a:srgbClr val="FFFFFF"/>
                </a:solidFill>
                <a:effectLst/>
                <a:uLnTx/>
                <a:uFillTx/>
                <a:latin typeface="Arial"/>
                <a:ea typeface="+mn-ea"/>
                <a:cs typeface="Arial"/>
              </a:rPr>
              <a:t>herein </a:t>
            </a:r>
            <a:r>
              <a:rPr kumimoji="0" lang="en-US" sz="800" b="0" i="0" u="none" strike="noStrike" kern="1200" cap="none" spc="0" normalizeH="0" baseline="0" noProof="0">
                <a:ln>
                  <a:noFill/>
                </a:ln>
                <a:solidFill>
                  <a:srgbClr val="FFFFFF"/>
                </a:solidFill>
                <a:effectLst/>
                <a:uLnTx/>
                <a:uFillTx/>
                <a:latin typeface="Arial"/>
                <a:ea typeface="+mn-ea"/>
                <a:cs typeface="Arial"/>
              </a:rPr>
              <a:t>may not </a:t>
            </a:r>
            <a:r>
              <a:rPr kumimoji="0" lang="en-US" sz="800" b="0" i="0" u="none" strike="noStrike" kern="1200" cap="none" spc="-5" normalizeH="0" baseline="0" noProof="0">
                <a:ln>
                  <a:noFill/>
                </a:ln>
                <a:solidFill>
                  <a:srgbClr val="FFFFFF"/>
                </a:solidFill>
                <a:effectLst/>
                <a:uLnTx/>
                <a:uFillTx/>
                <a:latin typeface="Arial"/>
                <a:ea typeface="+mn-ea"/>
                <a:cs typeface="Arial"/>
              </a:rPr>
              <a:t>be </a:t>
            </a:r>
            <a:r>
              <a:rPr kumimoji="0" lang="en-US" sz="800" b="0" i="0" u="none" strike="noStrike" kern="1200" cap="none" spc="0" normalizeH="0" baseline="0" noProof="0">
                <a:ln>
                  <a:noFill/>
                </a:ln>
                <a:solidFill>
                  <a:srgbClr val="FFFFFF"/>
                </a:solidFill>
                <a:effectLst/>
                <a:uLnTx/>
                <a:uFillTx/>
                <a:latin typeface="Arial"/>
                <a:ea typeface="+mn-ea"/>
                <a:cs typeface="Arial"/>
              </a:rPr>
              <a:t>permissible for </a:t>
            </a:r>
            <a:r>
              <a:rPr kumimoji="0" lang="en-US" sz="800" b="0" i="0" u="none" strike="noStrike" kern="1200" cap="none" spc="-5" normalizeH="0" baseline="0" noProof="0">
                <a:ln>
                  <a:noFill/>
                </a:ln>
                <a:solidFill>
                  <a:srgbClr val="FFFFFF"/>
                </a:solidFill>
                <a:effectLst/>
                <a:uLnTx/>
                <a:uFillTx/>
                <a:latin typeface="Arial"/>
                <a:ea typeface="+mn-ea"/>
                <a:cs typeface="Arial"/>
              </a:rPr>
              <a:t>KPMG audit </a:t>
            </a:r>
            <a:r>
              <a:rPr kumimoji="0" lang="en-US" sz="800" b="0" i="0" u="none" strike="noStrike" kern="1200" cap="none" spc="0" normalizeH="0" baseline="0" noProof="0">
                <a:ln>
                  <a:noFill/>
                </a:ln>
                <a:solidFill>
                  <a:srgbClr val="FFFFFF"/>
                </a:solidFill>
                <a:effectLst/>
                <a:uLnTx/>
                <a:uFillTx/>
                <a:latin typeface="Arial"/>
                <a:ea typeface="+mn-ea"/>
                <a:cs typeface="Arial"/>
              </a:rPr>
              <a:t>clients </a:t>
            </a:r>
            <a:r>
              <a:rPr kumimoji="0" lang="en-US" sz="800" b="0" i="0" u="none" strike="noStrike" kern="1200" cap="none" spc="-5" normalizeH="0" baseline="0" noProof="0">
                <a:ln>
                  <a:noFill/>
                </a:ln>
                <a:solidFill>
                  <a:srgbClr val="FFFFFF"/>
                </a:solidFill>
                <a:effectLst/>
                <a:uLnTx/>
                <a:uFillTx/>
                <a:latin typeface="Arial"/>
                <a:ea typeface="+mn-ea"/>
                <a:cs typeface="Arial"/>
              </a:rPr>
              <a:t>and their </a:t>
            </a:r>
            <a:r>
              <a:rPr kumimoji="0" lang="en-US" sz="800" b="0" i="0" u="none" strike="noStrike" kern="1200" cap="none" spc="0" normalizeH="0" baseline="0" noProof="0">
                <a:ln>
                  <a:noFill/>
                </a:ln>
                <a:solidFill>
                  <a:srgbClr val="FFFFFF"/>
                </a:solidFill>
                <a:effectLst/>
                <a:uLnTx/>
                <a:uFillTx/>
                <a:latin typeface="Arial"/>
                <a:ea typeface="+mn-ea"/>
                <a:cs typeface="Arial"/>
              </a:rPr>
              <a:t>affiliates </a:t>
            </a:r>
            <a:r>
              <a:rPr kumimoji="0" lang="en-US" sz="800" b="0" i="0" u="none" strike="noStrike" kern="1200" cap="none" spc="-5" normalizeH="0" baseline="0" noProof="0">
                <a:ln>
                  <a:noFill/>
                </a:ln>
                <a:solidFill>
                  <a:srgbClr val="FFFFFF"/>
                </a:solidFill>
                <a:effectLst/>
                <a:uLnTx/>
                <a:uFillTx/>
                <a:latin typeface="Arial"/>
                <a:ea typeface="+mn-ea"/>
                <a:cs typeface="Arial"/>
              </a:rPr>
              <a:t>or related</a:t>
            </a:r>
            <a:r>
              <a:rPr kumimoji="0" lang="en-US" sz="800" b="0" i="0" u="none" strike="noStrike" kern="1200" cap="none" spc="-105" normalizeH="0" baseline="0" noProof="0">
                <a:ln>
                  <a:noFill/>
                </a:ln>
                <a:solidFill>
                  <a:srgbClr val="FFFFFF"/>
                </a:solidFill>
                <a:effectLst/>
                <a:uLnTx/>
                <a:uFillTx/>
                <a:latin typeface="Arial"/>
                <a:ea typeface="+mn-ea"/>
                <a:cs typeface="Arial"/>
              </a:rPr>
              <a:t> </a:t>
            </a:r>
            <a:r>
              <a:rPr kumimoji="0" lang="en-US" sz="800" b="0" i="0" u="none" strike="noStrike" kern="1200" cap="none" spc="5" normalizeH="0" baseline="0" noProof="0">
                <a:ln>
                  <a:noFill/>
                </a:ln>
                <a:solidFill>
                  <a:srgbClr val="FFFFFF"/>
                </a:solidFill>
                <a:effectLst/>
                <a:uLnTx/>
                <a:uFillTx/>
                <a:latin typeface="Arial"/>
                <a:ea typeface="+mn-ea"/>
                <a:cs typeface="Arial"/>
              </a:rPr>
              <a:t>entities.</a:t>
            </a:r>
            <a:endParaRPr kumimoji="0" lang="en-US" sz="800" b="0" i="0" u="none" strike="noStrike" kern="1200" cap="none" spc="0" normalizeH="0" baseline="0" noProof="0">
              <a:ln>
                <a:noFill/>
              </a:ln>
              <a:solidFill>
                <a:prstClr val="black"/>
              </a:solidFill>
              <a:effectLst/>
              <a:uLnTx/>
              <a:uFillTx/>
              <a:latin typeface="Arial"/>
              <a:ea typeface="+mn-ea"/>
              <a:cs typeface="Arial"/>
            </a:endParaRPr>
          </a:p>
        </p:txBody>
      </p:sp>
      <p:sp>
        <p:nvSpPr>
          <p:cNvPr id="9" name="object 9"/>
          <p:cNvSpPr txBox="1"/>
          <p:nvPr/>
        </p:nvSpPr>
        <p:spPr>
          <a:xfrm>
            <a:off x="1031876" y="4682407"/>
            <a:ext cx="7011670" cy="505267"/>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lang="en-US" sz="800" b="0" i="0" u="none" strike="noStrike" kern="1200" cap="none" spc="-5" normalizeH="0" baseline="0" noProof="0">
                <a:ln>
                  <a:noFill/>
                </a:ln>
                <a:solidFill>
                  <a:srgbClr val="FFFFFF"/>
                </a:solidFill>
                <a:effectLst/>
                <a:uLnTx/>
                <a:uFillTx/>
                <a:latin typeface="Arial"/>
                <a:ea typeface="+mn-ea"/>
                <a:cs typeface="Arial"/>
              </a:rPr>
              <a:t>The </a:t>
            </a:r>
            <a:r>
              <a:rPr kumimoji="0" lang="en-US" sz="800" b="0" i="0" u="none" strike="noStrike" kern="1200" cap="none" spc="0" normalizeH="0" baseline="0" noProof="0">
                <a:ln>
                  <a:noFill/>
                </a:ln>
                <a:solidFill>
                  <a:srgbClr val="FFFFFF"/>
                </a:solidFill>
                <a:effectLst/>
                <a:uLnTx/>
                <a:uFillTx/>
                <a:latin typeface="Arial"/>
                <a:ea typeface="+mn-ea"/>
                <a:cs typeface="Arial"/>
              </a:rPr>
              <a:t>information contained </a:t>
            </a:r>
            <a:r>
              <a:rPr kumimoji="0" lang="en-US" sz="800" b="0" i="0" u="none" strike="noStrike" kern="1200" cap="none" spc="-5" normalizeH="0" baseline="0" noProof="0">
                <a:ln>
                  <a:noFill/>
                </a:ln>
                <a:solidFill>
                  <a:srgbClr val="FFFFFF"/>
                </a:solidFill>
                <a:effectLst/>
                <a:uLnTx/>
                <a:uFillTx/>
                <a:latin typeface="Arial"/>
                <a:ea typeface="+mn-ea"/>
                <a:cs typeface="Arial"/>
              </a:rPr>
              <a:t>herein is </a:t>
            </a:r>
            <a:r>
              <a:rPr kumimoji="0" lang="en-US" sz="800" b="0" i="0" u="none" strike="noStrike" kern="1200" cap="none" spc="0" normalizeH="0" baseline="0" noProof="0">
                <a:ln>
                  <a:noFill/>
                </a:ln>
                <a:solidFill>
                  <a:srgbClr val="FFFFFF"/>
                </a:solidFill>
                <a:effectLst/>
                <a:uLnTx/>
                <a:uFillTx/>
                <a:latin typeface="Arial"/>
                <a:ea typeface="+mn-ea"/>
                <a:cs typeface="Arial"/>
              </a:rPr>
              <a:t>of </a:t>
            </a:r>
            <a:r>
              <a:rPr kumimoji="0" lang="en-US" sz="800" b="0" i="0" u="none" strike="noStrike" kern="1200" cap="none" spc="-5" normalizeH="0" baseline="0" noProof="0">
                <a:ln>
                  <a:noFill/>
                </a:ln>
                <a:solidFill>
                  <a:srgbClr val="FFFFFF"/>
                </a:solidFill>
                <a:effectLst/>
                <a:uLnTx/>
                <a:uFillTx/>
                <a:latin typeface="Arial"/>
                <a:ea typeface="+mn-ea"/>
                <a:cs typeface="Arial"/>
              </a:rPr>
              <a:t>a general nature and is </a:t>
            </a:r>
            <a:r>
              <a:rPr kumimoji="0" lang="en-US" sz="800" b="0" i="0" u="none" strike="noStrike" kern="1200" cap="none" spc="0" normalizeH="0" baseline="0" noProof="0">
                <a:ln>
                  <a:noFill/>
                </a:ln>
                <a:solidFill>
                  <a:srgbClr val="FFFFFF"/>
                </a:solidFill>
                <a:effectLst/>
                <a:uLnTx/>
                <a:uFillTx/>
                <a:latin typeface="Arial"/>
                <a:ea typeface="+mn-ea"/>
                <a:cs typeface="Arial"/>
              </a:rPr>
              <a:t>not </a:t>
            </a:r>
            <a:r>
              <a:rPr kumimoji="0" lang="en-US" sz="800" b="0" i="0" u="none" strike="noStrike" kern="1200" cap="none" spc="-5" normalizeH="0" baseline="0" noProof="0">
                <a:ln>
                  <a:noFill/>
                </a:ln>
                <a:solidFill>
                  <a:srgbClr val="FFFFFF"/>
                </a:solidFill>
                <a:effectLst/>
                <a:uLnTx/>
                <a:uFillTx/>
                <a:latin typeface="Arial"/>
                <a:ea typeface="+mn-ea"/>
                <a:cs typeface="Arial"/>
              </a:rPr>
              <a:t>intended </a:t>
            </a:r>
            <a:r>
              <a:rPr kumimoji="0" lang="en-US" sz="800" b="0" i="0" u="none" strike="noStrike" kern="1200" cap="none" spc="0" normalizeH="0" baseline="0" noProof="0">
                <a:ln>
                  <a:noFill/>
                </a:ln>
                <a:solidFill>
                  <a:srgbClr val="FFFFFF"/>
                </a:solidFill>
                <a:effectLst/>
                <a:uLnTx/>
                <a:uFillTx/>
                <a:latin typeface="Arial"/>
                <a:ea typeface="+mn-ea"/>
                <a:cs typeface="Arial"/>
              </a:rPr>
              <a:t>to address the circumstances of </a:t>
            </a:r>
            <a:r>
              <a:rPr kumimoji="0" lang="en-US" sz="800" b="0" i="0" u="none" strike="noStrike" kern="1200" cap="none" spc="-5" normalizeH="0" baseline="0" noProof="0">
                <a:ln>
                  <a:noFill/>
                </a:ln>
                <a:solidFill>
                  <a:srgbClr val="FFFFFF"/>
                </a:solidFill>
                <a:effectLst/>
                <a:uLnTx/>
                <a:uFillTx/>
                <a:latin typeface="Arial"/>
                <a:ea typeface="+mn-ea"/>
                <a:cs typeface="Arial"/>
              </a:rPr>
              <a:t>any </a:t>
            </a:r>
            <a:r>
              <a:rPr kumimoji="0" lang="en-US" sz="800" b="0" i="0" u="none" strike="noStrike" kern="1200" cap="none" spc="0" normalizeH="0" baseline="0" noProof="0">
                <a:ln>
                  <a:noFill/>
                </a:ln>
                <a:solidFill>
                  <a:srgbClr val="FFFFFF"/>
                </a:solidFill>
                <a:effectLst/>
                <a:uLnTx/>
                <a:uFillTx/>
                <a:latin typeface="Arial"/>
                <a:ea typeface="+mn-ea"/>
                <a:cs typeface="Arial"/>
              </a:rPr>
              <a:t>particular </a:t>
            </a:r>
            <a:r>
              <a:rPr kumimoji="0" lang="en-US" sz="800" b="0" i="0" u="none" strike="noStrike" kern="1200" cap="none" spc="5" normalizeH="0" baseline="0" noProof="0">
                <a:ln>
                  <a:noFill/>
                </a:ln>
                <a:solidFill>
                  <a:srgbClr val="FFFFFF"/>
                </a:solidFill>
                <a:effectLst/>
                <a:uLnTx/>
                <a:uFillTx/>
                <a:latin typeface="Arial"/>
                <a:ea typeface="+mn-ea"/>
                <a:cs typeface="Arial"/>
              </a:rPr>
              <a:t>individual </a:t>
            </a:r>
            <a:r>
              <a:rPr kumimoji="0" lang="en-US" sz="800" b="0" i="0" u="none" strike="noStrike" kern="1200" cap="none" spc="-5" normalizeH="0" baseline="0" noProof="0">
                <a:ln>
                  <a:noFill/>
                </a:ln>
                <a:solidFill>
                  <a:srgbClr val="FFFFFF"/>
                </a:solidFill>
                <a:effectLst/>
                <a:uLnTx/>
                <a:uFillTx/>
                <a:latin typeface="Arial"/>
                <a:ea typeface="+mn-ea"/>
                <a:cs typeface="Arial"/>
              </a:rPr>
              <a:t>or  </a:t>
            </a:r>
            <a:r>
              <a:rPr kumimoji="0" lang="en-US" sz="800" b="0" i="0" u="none" strike="noStrike" kern="1200" cap="none" spc="0" normalizeH="0" baseline="0" noProof="0">
                <a:ln>
                  <a:noFill/>
                </a:ln>
                <a:solidFill>
                  <a:srgbClr val="FFFFFF"/>
                </a:solidFill>
                <a:effectLst/>
                <a:uLnTx/>
                <a:uFillTx/>
                <a:latin typeface="Arial"/>
                <a:ea typeface="+mn-ea"/>
                <a:cs typeface="Arial"/>
              </a:rPr>
              <a:t>entity. </a:t>
            </a:r>
            <a:r>
              <a:rPr kumimoji="0" lang="en-US" sz="800" b="0" i="0" u="none" strike="noStrike" kern="1200" cap="none" spc="-5" normalizeH="0" baseline="0" noProof="0">
                <a:ln>
                  <a:noFill/>
                </a:ln>
                <a:solidFill>
                  <a:srgbClr val="FFFFFF"/>
                </a:solidFill>
                <a:effectLst/>
                <a:uLnTx/>
                <a:uFillTx/>
                <a:latin typeface="Arial"/>
                <a:ea typeface="+mn-ea"/>
                <a:cs typeface="Arial"/>
              </a:rPr>
              <a:t>Although </a:t>
            </a:r>
            <a:r>
              <a:rPr kumimoji="0" lang="en-US" sz="800" b="0" i="0" u="none" strike="noStrike" kern="1200" cap="none" spc="-10" normalizeH="0" baseline="0" noProof="0">
                <a:ln>
                  <a:noFill/>
                </a:ln>
                <a:solidFill>
                  <a:srgbClr val="FFFFFF"/>
                </a:solidFill>
                <a:effectLst/>
                <a:uLnTx/>
                <a:uFillTx/>
                <a:latin typeface="Arial"/>
                <a:ea typeface="+mn-ea"/>
                <a:cs typeface="Arial"/>
              </a:rPr>
              <a:t>we </a:t>
            </a:r>
            <a:r>
              <a:rPr kumimoji="0" lang="en-US" sz="800" b="0" i="0" u="none" strike="noStrike" kern="1200" cap="none" spc="-5" normalizeH="0" baseline="0" noProof="0">
                <a:ln>
                  <a:noFill/>
                </a:ln>
                <a:solidFill>
                  <a:srgbClr val="FFFFFF"/>
                </a:solidFill>
                <a:effectLst/>
                <a:uLnTx/>
                <a:uFillTx/>
                <a:latin typeface="Arial"/>
                <a:ea typeface="+mn-ea"/>
                <a:cs typeface="Arial"/>
              </a:rPr>
              <a:t>endeavor </a:t>
            </a:r>
            <a:r>
              <a:rPr kumimoji="0" lang="en-US" sz="800" b="0" i="0" u="none" strike="noStrike" kern="1200" cap="none" spc="0" normalizeH="0" baseline="0" noProof="0">
                <a:ln>
                  <a:noFill/>
                </a:ln>
                <a:solidFill>
                  <a:srgbClr val="FFFFFF"/>
                </a:solidFill>
                <a:effectLst/>
                <a:uLnTx/>
                <a:uFillTx/>
                <a:latin typeface="Arial"/>
                <a:ea typeface="+mn-ea"/>
                <a:cs typeface="Arial"/>
              </a:rPr>
              <a:t>to </a:t>
            </a:r>
            <a:r>
              <a:rPr kumimoji="0" lang="en-US" sz="800" b="0" i="0" u="none" strike="noStrike" kern="1200" cap="none" spc="-5" normalizeH="0" baseline="0" noProof="0">
                <a:ln>
                  <a:noFill/>
                </a:ln>
                <a:solidFill>
                  <a:srgbClr val="FFFFFF"/>
                </a:solidFill>
                <a:effectLst/>
                <a:uLnTx/>
                <a:uFillTx/>
                <a:latin typeface="Arial"/>
                <a:ea typeface="+mn-ea"/>
                <a:cs typeface="Arial"/>
              </a:rPr>
              <a:t>provide </a:t>
            </a:r>
            <a:r>
              <a:rPr kumimoji="0" lang="en-US" sz="800" b="0" i="0" u="none" strike="noStrike" kern="1200" cap="none" spc="0" normalizeH="0" baseline="0" noProof="0">
                <a:ln>
                  <a:noFill/>
                </a:ln>
                <a:solidFill>
                  <a:srgbClr val="FFFFFF"/>
                </a:solidFill>
                <a:effectLst/>
                <a:uLnTx/>
                <a:uFillTx/>
                <a:latin typeface="Arial"/>
                <a:ea typeface="+mn-ea"/>
                <a:cs typeface="Arial"/>
              </a:rPr>
              <a:t>accurate </a:t>
            </a:r>
            <a:r>
              <a:rPr kumimoji="0" lang="en-US" sz="800" b="0" i="0" u="none" strike="noStrike" kern="1200" cap="none" spc="-5" normalizeH="0" baseline="0" noProof="0">
                <a:ln>
                  <a:noFill/>
                </a:ln>
                <a:solidFill>
                  <a:srgbClr val="FFFFFF"/>
                </a:solidFill>
                <a:effectLst/>
                <a:uLnTx/>
                <a:uFillTx/>
                <a:latin typeface="Arial"/>
                <a:ea typeface="+mn-ea"/>
                <a:cs typeface="Arial"/>
              </a:rPr>
              <a:t>and </a:t>
            </a:r>
            <a:r>
              <a:rPr kumimoji="0" lang="en-US" sz="800" b="0" i="0" u="none" strike="noStrike" kern="1200" cap="none" spc="0" normalizeH="0" baseline="0" noProof="0">
                <a:ln>
                  <a:noFill/>
                </a:ln>
                <a:solidFill>
                  <a:srgbClr val="FFFFFF"/>
                </a:solidFill>
                <a:effectLst/>
                <a:uLnTx/>
                <a:uFillTx/>
                <a:latin typeface="Arial"/>
                <a:ea typeface="+mn-ea"/>
                <a:cs typeface="Arial"/>
              </a:rPr>
              <a:t>timely information, </a:t>
            </a:r>
            <a:r>
              <a:rPr kumimoji="0" lang="en-US" sz="800" b="0" i="0" u="none" strike="noStrike" kern="1200" cap="none" spc="-5" normalizeH="0" baseline="0" noProof="0">
                <a:ln>
                  <a:noFill/>
                </a:ln>
                <a:solidFill>
                  <a:srgbClr val="FFFFFF"/>
                </a:solidFill>
                <a:effectLst/>
                <a:uLnTx/>
                <a:uFillTx/>
                <a:latin typeface="Arial"/>
                <a:ea typeface="+mn-ea"/>
                <a:cs typeface="Arial"/>
              </a:rPr>
              <a:t>there </a:t>
            </a:r>
            <a:r>
              <a:rPr kumimoji="0" lang="en-US" sz="800" b="0" i="0" u="none" strike="noStrike" kern="1200" cap="none" spc="0" normalizeH="0" baseline="0" noProof="0">
                <a:ln>
                  <a:noFill/>
                </a:ln>
                <a:solidFill>
                  <a:srgbClr val="FFFFFF"/>
                </a:solidFill>
                <a:effectLst/>
                <a:uLnTx/>
                <a:uFillTx/>
                <a:latin typeface="Arial"/>
                <a:ea typeface="+mn-ea"/>
                <a:cs typeface="Arial"/>
              </a:rPr>
              <a:t>can </a:t>
            </a:r>
            <a:r>
              <a:rPr kumimoji="0" lang="en-US" sz="800" b="0" i="0" u="none" strike="noStrike" kern="1200" cap="none" spc="-5" normalizeH="0" baseline="0" noProof="0">
                <a:ln>
                  <a:noFill/>
                </a:ln>
                <a:solidFill>
                  <a:srgbClr val="FFFFFF"/>
                </a:solidFill>
                <a:effectLst/>
                <a:uLnTx/>
                <a:uFillTx/>
                <a:latin typeface="Arial"/>
                <a:ea typeface="+mn-ea"/>
                <a:cs typeface="Arial"/>
              </a:rPr>
              <a:t>be no guarantee </a:t>
            </a:r>
            <a:r>
              <a:rPr kumimoji="0" lang="en-US" sz="800" b="0" i="0" u="none" strike="noStrike" kern="1200" cap="none" spc="0" normalizeH="0" baseline="0" noProof="0">
                <a:ln>
                  <a:noFill/>
                </a:ln>
                <a:solidFill>
                  <a:srgbClr val="FFFFFF"/>
                </a:solidFill>
                <a:effectLst/>
                <a:uLnTx/>
                <a:uFillTx/>
                <a:latin typeface="Arial"/>
                <a:ea typeface="+mn-ea"/>
                <a:cs typeface="Arial"/>
              </a:rPr>
              <a:t>that such information </a:t>
            </a:r>
            <a:r>
              <a:rPr kumimoji="0" lang="en-US" sz="800" b="0" i="0" u="none" strike="noStrike" kern="1200" cap="none" spc="-5" normalizeH="0" baseline="0" noProof="0">
                <a:ln>
                  <a:noFill/>
                </a:ln>
                <a:solidFill>
                  <a:srgbClr val="FFFFFF"/>
                </a:solidFill>
                <a:effectLst/>
                <a:uLnTx/>
                <a:uFillTx/>
                <a:latin typeface="Arial"/>
                <a:ea typeface="+mn-ea"/>
                <a:cs typeface="Arial"/>
              </a:rPr>
              <a:t>is </a:t>
            </a:r>
            <a:r>
              <a:rPr kumimoji="0" lang="en-US" sz="800" b="0" i="0" u="none" strike="noStrike" kern="1200" cap="none" spc="10" normalizeH="0" baseline="0" noProof="0">
                <a:ln>
                  <a:noFill/>
                </a:ln>
                <a:solidFill>
                  <a:srgbClr val="FFFFFF"/>
                </a:solidFill>
                <a:effectLst/>
                <a:uLnTx/>
                <a:uFillTx/>
                <a:latin typeface="Arial"/>
                <a:ea typeface="+mn-ea"/>
                <a:cs typeface="Arial"/>
              </a:rPr>
              <a:t>accurate </a:t>
            </a:r>
            <a:r>
              <a:rPr kumimoji="0" lang="en-US" sz="800" b="0" i="0" u="none" strike="noStrike" kern="1200" cap="none" spc="-5" normalizeH="0" baseline="0" noProof="0">
                <a:ln>
                  <a:noFill/>
                </a:ln>
                <a:solidFill>
                  <a:srgbClr val="FFFFFF"/>
                </a:solidFill>
                <a:effectLst/>
                <a:uLnTx/>
                <a:uFillTx/>
                <a:latin typeface="Arial"/>
                <a:ea typeface="+mn-ea"/>
                <a:cs typeface="Arial"/>
              </a:rPr>
              <a:t>as </a:t>
            </a:r>
            <a:r>
              <a:rPr kumimoji="0" lang="en-US" sz="800" b="0" i="0" u="none" strike="noStrike" kern="1200" cap="none" spc="0" normalizeH="0" baseline="0" noProof="0">
                <a:ln>
                  <a:noFill/>
                </a:ln>
                <a:solidFill>
                  <a:srgbClr val="FFFFFF"/>
                </a:solidFill>
                <a:effectLst/>
                <a:uLnTx/>
                <a:uFillTx/>
                <a:latin typeface="Arial"/>
                <a:ea typeface="+mn-ea"/>
                <a:cs typeface="Arial"/>
              </a:rPr>
              <a:t>of  the </a:t>
            </a:r>
            <a:r>
              <a:rPr kumimoji="0" lang="en-US" sz="800" b="0" i="0" u="none" strike="noStrike" kern="1200" cap="none" spc="-5" normalizeH="0" baseline="0" noProof="0">
                <a:ln>
                  <a:noFill/>
                </a:ln>
                <a:solidFill>
                  <a:srgbClr val="FFFFFF"/>
                </a:solidFill>
                <a:effectLst/>
                <a:uLnTx/>
                <a:uFillTx/>
                <a:latin typeface="Arial"/>
                <a:ea typeface="+mn-ea"/>
                <a:cs typeface="Arial"/>
              </a:rPr>
              <a:t>date </a:t>
            </a:r>
            <a:r>
              <a:rPr kumimoji="0" lang="en-US" sz="800" b="0" i="0" u="none" strike="noStrike" kern="1200" cap="none" spc="0" normalizeH="0" baseline="0" noProof="0">
                <a:ln>
                  <a:noFill/>
                </a:ln>
                <a:solidFill>
                  <a:srgbClr val="FFFFFF"/>
                </a:solidFill>
                <a:effectLst/>
                <a:uLnTx/>
                <a:uFillTx/>
                <a:latin typeface="Arial"/>
                <a:ea typeface="+mn-ea"/>
                <a:cs typeface="Arial"/>
              </a:rPr>
              <a:t>it </a:t>
            </a:r>
            <a:r>
              <a:rPr kumimoji="0" lang="en-US" sz="800" b="0" i="0" u="none" strike="noStrike" kern="1200" cap="none" spc="-5" normalizeH="0" baseline="0" noProof="0">
                <a:ln>
                  <a:noFill/>
                </a:ln>
                <a:solidFill>
                  <a:srgbClr val="FFFFFF"/>
                </a:solidFill>
                <a:effectLst/>
                <a:uLnTx/>
                <a:uFillTx/>
                <a:latin typeface="Arial"/>
                <a:ea typeface="+mn-ea"/>
                <a:cs typeface="Arial"/>
              </a:rPr>
              <a:t>is received or </a:t>
            </a:r>
            <a:r>
              <a:rPr kumimoji="0" lang="en-US" sz="800" b="0" i="0" u="none" strike="noStrike" kern="1200" cap="none" spc="0" normalizeH="0" baseline="0" noProof="0">
                <a:ln>
                  <a:noFill/>
                </a:ln>
                <a:solidFill>
                  <a:srgbClr val="FFFFFF"/>
                </a:solidFill>
                <a:effectLst/>
                <a:uLnTx/>
                <a:uFillTx/>
                <a:latin typeface="Arial"/>
                <a:ea typeface="+mn-ea"/>
                <a:cs typeface="Arial"/>
              </a:rPr>
              <a:t>that it </a:t>
            </a:r>
            <a:r>
              <a:rPr kumimoji="0" lang="en-US" sz="800" b="0" i="0" u="none" strike="noStrike" kern="1200" cap="none" spc="-5" normalizeH="0" baseline="0" noProof="0">
                <a:ln>
                  <a:noFill/>
                </a:ln>
                <a:solidFill>
                  <a:srgbClr val="FFFFFF"/>
                </a:solidFill>
                <a:effectLst/>
                <a:uLnTx/>
                <a:uFillTx/>
                <a:latin typeface="Arial"/>
                <a:ea typeface="+mn-ea"/>
                <a:cs typeface="Arial"/>
              </a:rPr>
              <a:t>will </a:t>
            </a:r>
            <a:r>
              <a:rPr kumimoji="0" lang="en-US" sz="800" b="0" i="0" u="none" strike="noStrike" kern="1200" cap="none" spc="0" normalizeH="0" baseline="0" noProof="0">
                <a:ln>
                  <a:noFill/>
                </a:ln>
                <a:solidFill>
                  <a:srgbClr val="FFFFFF"/>
                </a:solidFill>
                <a:effectLst/>
                <a:uLnTx/>
                <a:uFillTx/>
                <a:latin typeface="Arial"/>
                <a:ea typeface="+mn-ea"/>
                <a:cs typeface="Arial"/>
              </a:rPr>
              <a:t>continue to </a:t>
            </a:r>
            <a:r>
              <a:rPr kumimoji="0" lang="en-US" sz="800" b="0" i="0" u="none" strike="noStrike" kern="1200" cap="none" spc="-5" normalizeH="0" baseline="0" noProof="0">
                <a:ln>
                  <a:noFill/>
                </a:ln>
                <a:solidFill>
                  <a:srgbClr val="FFFFFF"/>
                </a:solidFill>
                <a:effectLst/>
                <a:uLnTx/>
                <a:uFillTx/>
                <a:latin typeface="Arial"/>
                <a:ea typeface="+mn-ea"/>
                <a:cs typeface="Arial"/>
              </a:rPr>
              <a:t>be </a:t>
            </a:r>
            <a:r>
              <a:rPr kumimoji="0" lang="en-US" sz="800" b="0" i="0" u="none" strike="noStrike" kern="1200" cap="none" spc="0" normalizeH="0" baseline="0" noProof="0">
                <a:ln>
                  <a:noFill/>
                </a:ln>
                <a:solidFill>
                  <a:srgbClr val="FFFFFF"/>
                </a:solidFill>
                <a:effectLst/>
                <a:uLnTx/>
                <a:uFillTx/>
                <a:latin typeface="Arial"/>
                <a:ea typeface="+mn-ea"/>
                <a:cs typeface="Arial"/>
              </a:rPr>
              <a:t>accurate </a:t>
            </a:r>
            <a:r>
              <a:rPr kumimoji="0" lang="en-US" sz="800" b="0" i="0" u="none" strike="noStrike" kern="1200" cap="none" spc="-5" normalizeH="0" baseline="0" noProof="0">
                <a:ln>
                  <a:noFill/>
                </a:ln>
                <a:solidFill>
                  <a:srgbClr val="FFFFFF"/>
                </a:solidFill>
                <a:effectLst/>
                <a:uLnTx/>
                <a:uFillTx/>
                <a:latin typeface="Arial"/>
                <a:ea typeface="+mn-ea"/>
                <a:cs typeface="Arial"/>
              </a:rPr>
              <a:t>in </a:t>
            </a:r>
            <a:r>
              <a:rPr kumimoji="0" lang="en-US" sz="800" b="0" i="0" u="none" strike="noStrike" kern="1200" cap="none" spc="0" normalizeH="0" baseline="0" noProof="0">
                <a:ln>
                  <a:noFill/>
                </a:ln>
                <a:solidFill>
                  <a:srgbClr val="FFFFFF"/>
                </a:solidFill>
                <a:effectLst/>
                <a:uLnTx/>
                <a:uFillTx/>
                <a:latin typeface="Arial"/>
                <a:ea typeface="+mn-ea"/>
                <a:cs typeface="Arial"/>
              </a:rPr>
              <a:t>the future. </a:t>
            </a:r>
            <a:r>
              <a:rPr kumimoji="0" lang="en-US" sz="800" b="0" i="0" u="none" strike="noStrike" kern="1200" cap="none" spc="-5" normalizeH="0" baseline="0" noProof="0">
                <a:ln>
                  <a:noFill/>
                </a:ln>
                <a:solidFill>
                  <a:srgbClr val="FFFFFF"/>
                </a:solidFill>
                <a:effectLst/>
                <a:uLnTx/>
                <a:uFillTx/>
                <a:latin typeface="Arial"/>
                <a:ea typeface="+mn-ea"/>
                <a:cs typeface="Arial"/>
              </a:rPr>
              <a:t>No one </a:t>
            </a:r>
            <a:r>
              <a:rPr kumimoji="0" lang="en-US" sz="800" b="0" i="0" u="none" strike="noStrike" kern="1200" cap="none" spc="0" normalizeH="0" baseline="0" noProof="0">
                <a:ln>
                  <a:noFill/>
                </a:ln>
                <a:solidFill>
                  <a:srgbClr val="FFFFFF"/>
                </a:solidFill>
                <a:effectLst/>
                <a:uLnTx/>
                <a:uFillTx/>
                <a:latin typeface="Arial"/>
                <a:ea typeface="+mn-ea"/>
                <a:cs typeface="Arial"/>
              </a:rPr>
              <a:t>should act </a:t>
            </a:r>
            <a:r>
              <a:rPr kumimoji="0" lang="en-US" sz="800" b="0" i="0" u="none" strike="noStrike" kern="1200" cap="none" spc="-5" normalizeH="0" baseline="0" noProof="0">
                <a:ln>
                  <a:noFill/>
                </a:ln>
                <a:solidFill>
                  <a:srgbClr val="FFFFFF"/>
                </a:solidFill>
                <a:effectLst/>
                <a:uLnTx/>
                <a:uFillTx/>
                <a:latin typeface="Arial"/>
                <a:ea typeface="+mn-ea"/>
                <a:cs typeface="Arial"/>
              </a:rPr>
              <a:t>upon </a:t>
            </a:r>
            <a:r>
              <a:rPr kumimoji="0" lang="en-US" sz="800" b="0" i="0" u="none" strike="noStrike" kern="1200" cap="none" spc="0" normalizeH="0" baseline="0" noProof="0">
                <a:ln>
                  <a:noFill/>
                </a:ln>
                <a:solidFill>
                  <a:srgbClr val="FFFFFF"/>
                </a:solidFill>
                <a:effectLst/>
                <a:uLnTx/>
                <a:uFillTx/>
                <a:latin typeface="Arial"/>
                <a:ea typeface="+mn-ea"/>
                <a:cs typeface="Arial"/>
              </a:rPr>
              <a:t>such information </a:t>
            </a:r>
            <a:r>
              <a:rPr kumimoji="0" lang="en-US" sz="800" b="0" i="0" u="none" strike="noStrike" kern="1200" cap="none" spc="5" normalizeH="0" baseline="0" noProof="0">
                <a:ln>
                  <a:noFill/>
                </a:ln>
                <a:solidFill>
                  <a:srgbClr val="FFFFFF"/>
                </a:solidFill>
                <a:effectLst/>
                <a:uLnTx/>
                <a:uFillTx/>
                <a:latin typeface="Arial"/>
                <a:ea typeface="+mn-ea"/>
                <a:cs typeface="Arial"/>
              </a:rPr>
              <a:t>without </a:t>
            </a:r>
            <a:r>
              <a:rPr kumimoji="0" lang="en-US" sz="800" b="0" i="0" u="none" strike="noStrike" kern="1200" cap="none" spc="-5" normalizeH="0" baseline="0" noProof="0">
                <a:ln>
                  <a:noFill/>
                </a:ln>
                <a:solidFill>
                  <a:srgbClr val="FFFFFF"/>
                </a:solidFill>
                <a:effectLst/>
                <a:uLnTx/>
                <a:uFillTx/>
                <a:latin typeface="Arial"/>
                <a:ea typeface="+mn-ea"/>
                <a:cs typeface="Arial"/>
              </a:rPr>
              <a:t>appropriate  professional advice </a:t>
            </a:r>
            <a:r>
              <a:rPr kumimoji="0" lang="en-US" sz="800" b="0" i="0" u="none" strike="noStrike" kern="1200" cap="none" spc="0" normalizeH="0" baseline="0" noProof="0">
                <a:ln>
                  <a:noFill/>
                </a:ln>
                <a:solidFill>
                  <a:srgbClr val="FFFFFF"/>
                </a:solidFill>
                <a:effectLst/>
                <a:uLnTx/>
                <a:uFillTx/>
                <a:latin typeface="Arial"/>
                <a:ea typeface="+mn-ea"/>
                <a:cs typeface="Arial"/>
              </a:rPr>
              <a:t>after </a:t>
            </a:r>
            <a:r>
              <a:rPr kumimoji="0" lang="en-US" sz="800" b="0" i="0" u="none" strike="noStrike" kern="1200" cap="none" spc="-5" normalizeH="0" baseline="0" noProof="0">
                <a:ln>
                  <a:noFill/>
                </a:ln>
                <a:solidFill>
                  <a:srgbClr val="FFFFFF"/>
                </a:solidFill>
                <a:effectLst/>
                <a:uLnTx/>
                <a:uFillTx/>
                <a:latin typeface="Arial"/>
                <a:ea typeface="+mn-ea"/>
                <a:cs typeface="Arial"/>
              </a:rPr>
              <a:t>a thorough examination </a:t>
            </a:r>
            <a:r>
              <a:rPr kumimoji="0" lang="en-US" sz="800" b="0" i="0" u="none" strike="noStrike" kern="1200" cap="none" spc="0" normalizeH="0" baseline="0" noProof="0">
                <a:ln>
                  <a:noFill/>
                </a:ln>
                <a:solidFill>
                  <a:srgbClr val="FFFFFF"/>
                </a:solidFill>
                <a:effectLst/>
                <a:uLnTx/>
                <a:uFillTx/>
                <a:latin typeface="Arial"/>
                <a:ea typeface="+mn-ea"/>
                <a:cs typeface="Arial"/>
              </a:rPr>
              <a:t>of the particular</a:t>
            </a:r>
            <a:r>
              <a:rPr kumimoji="0" lang="en-US" sz="800" b="0" i="0" u="none" strike="noStrike" kern="1200" cap="none" spc="-130" normalizeH="0" baseline="0" noProof="0">
                <a:ln>
                  <a:noFill/>
                </a:ln>
                <a:solidFill>
                  <a:srgbClr val="FFFFFF"/>
                </a:solidFill>
                <a:effectLst/>
                <a:uLnTx/>
                <a:uFillTx/>
                <a:latin typeface="Arial"/>
                <a:ea typeface="+mn-ea"/>
                <a:cs typeface="Arial"/>
              </a:rPr>
              <a:t> </a:t>
            </a:r>
            <a:r>
              <a:rPr kumimoji="0" lang="en-US" sz="800" b="0" i="0" u="none" strike="noStrike" kern="1200" cap="none" spc="0" normalizeH="0" baseline="0" noProof="0">
                <a:ln>
                  <a:noFill/>
                </a:ln>
                <a:solidFill>
                  <a:srgbClr val="FFFFFF"/>
                </a:solidFill>
                <a:effectLst/>
                <a:uLnTx/>
                <a:uFillTx/>
                <a:latin typeface="Arial"/>
                <a:ea typeface="+mn-ea"/>
                <a:cs typeface="Arial"/>
              </a:rPr>
              <a:t>situation.</a:t>
            </a:r>
            <a:endParaRPr kumimoji="0" lang="en-US" sz="800" b="0" i="0" u="none" strike="noStrike" kern="1200" cap="none" spc="0" normalizeH="0" baseline="0" noProof="0">
              <a:ln>
                <a:noFill/>
              </a:ln>
              <a:solidFill>
                <a:prstClr val="black"/>
              </a:solidFill>
              <a:effectLst/>
              <a:uLnTx/>
              <a:uFillTx/>
              <a:latin typeface="Arial"/>
              <a:ea typeface="+mn-ea"/>
              <a:cs typeface="Arial"/>
            </a:endParaRPr>
          </a:p>
        </p:txBody>
      </p:sp>
      <p:sp>
        <p:nvSpPr>
          <p:cNvPr id="10" name="object 10"/>
          <p:cNvSpPr txBox="1"/>
          <p:nvPr/>
        </p:nvSpPr>
        <p:spPr>
          <a:xfrm>
            <a:off x="1031876" y="5359394"/>
            <a:ext cx="6889115" cy="259045"/>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Arial"/>
              </a:rPr>
              <a:t>© </a:t>
            </a:r>
            <a:r>
              <a:rPr kumimoji="0" lang="en-US" sz="800" b="0" i="0" u="none" strike="noStrike" kern="1200" cap="none" spc="-5" normalizeH="0" baseline="0" noProof="0">
                <a:ln>
                  <a:noFill/>
                </a:ln>
                <a:solidFill>
                  <a:srgbClr val="FFFFFF"/>
                </a:solidFill>
                <a:effectLst/>
                <a:uLnTx/>
                <a:uFillTx/>
                <a:latin typeface="Arial"/>
                <a:ea typeface="+mn-ea"/>
                <a:cs typeface="Arial"/>
              </a:rPr>
              <a:t>2025 KPMG </a:t>
            </a:r>
            <a:r>
              <a:rPr kumimoji="0" lang="en-US" sz="800" b="0" i="0" u="none" strike="noStrike" kern="1200" cap="none" spc="0" normalizeH="0" baseline="0" noProof="0">
                <a:ln>
                  <a:noFill/>
                </a:ln>
                <a:solidFill>
                  <a:srgbClr val="FFFFFF"/>
                </a:solidFill>
                <a:effectLst/>
                <a:uLnTx/>
                <a:uFillTx/>
                <a:latin typeface="Arial"/>
                <a:ea typeface="+mn-ea"/>
                <a:cs typeface="Arial"/>
              </a:rPr>
              <a:t>LLP, </a:t>
            </a:r>
            <a:r>
              <a:rPr kumimoji="0" lang="en-US" sz="800" b="0" i="0" u="none" strike="noStrike" kern="1200" cap="none" spc="-5" normalizeH="0" baseline="0" noProof="0">
                <a:ln>
                  <a:noFill/>
                </a:ln>
                <a:solidFill>
                  <a:srgbClr val="FFFFFF"/>
                </a:solidFill>
                <a:effectLst/>
                <a:uLnTx/>
                <a:uFillTx/>
                <a:latin typeface="Arial"/>
                <a:ea typeface="+mn-ea"/>
                <a:cs typeface="Arial"/>
              </a:rPr>
              <a:t>a Delaware </a:t>
            </a:r>
            <a:r>
              <a:rPr kumimoji="0" lang="en-US" sz="800" b="0" i="0" u="none" strike="noStrike" kern="1200" cap="none" spc="0" normalizeH="0" baseline="0" noProof="0">
                <a:ln>
                  <a:noFill/>
                </a:ln>
                <a:solidFill>
                  <a:srgbClr val="FFFFFF"/>
                </a:solidFill>
                <a:effectLst/>
                <a:uLnTx/>
                <a:uFillTx/>
                <a:latin typeface="Arial"/>
                <a:ea typeface="+mn-ea"/>
                <a:cs typeface="Arial"/>
              </a:rPr>
              <a:t>limited </a:t>
            </a:r>
            <a:r>
              <a:rPr kumimoji="0" lang="en-US" sz="800" b="0" i="0" u="none" strike="noStrike" kern="1200" cap="none" spc="-5" normalizeH="0" baseline="0" noProof="0">
                <a:ln>
                  <a:noFill/>
                </a:ln>
                <a:solidFill>
                  <a:srgbClr val="FFFFFF"/>
                </a:solidFill>
                <a:effectLst/>
                <a:uLnTx/>
                <a:uFillTx/>
                <a:latin typeface="Arial"/>
                <a:ea typeface="+mn-ea"/>
                <a:cs typeface="Arial"/>
              </a:rPr>
              <a:t>liability </a:t>
            </a:r>
            <a:r>
              <a:rPr kumimoji="0" lang="en-US" sz="800" b="0" i="0" u="none" strike="noStrike" kern="1200" cap="none" spc="0" normalizeH="0" baseline="0" noProof="0">
                <a:ln>
                  <a:noFill/>
                </a:ln>
                <a:solidFill>
                  <a:srgbClr val="FFFFFF"/>
                </a:solidFill>
                <a:effectLst/>
                <a:uLnTx/>
                <a:uFillTx/>
                <a:latin typeface="Arial"/>
                <a:ea typeface="+mn-ea"/>
                <a:cs typeface="Arial"/>
              </a:rPr>
              <a:t>partnership </a:t>
            </a:r>
            <a:r>
              <a:rPr kumimoji="0" lang="en-US" sz="800" b="0" i="0" u="none" strike="noStrike" kern="1200" cap="none" spc="-5" normalizeH="0" baseline="0" noProof="0">
                <a:ln>
                  <a:noFill/>
                </a:ln>
                <a:solidFill>
                  <a:srgbClr val="FFFFFF"/>
                </a:solidFill>
                <a:effectLst/>
                <a:uLnTx/>
                <a:uFillTx/>
                <a:latin typeface="Arial"/>
                <a:ea typeface="+mn-ea"/>
                <a:cs typeface="Arial"/>
              </a:rPr>
              <a:t>and a </a:t>
            </a:r>
            <a:r>
              <a:rPr kumimoji="0" lang="en-US" sz="800" b="0" i="0" u="none" strike="noStrike" kern="1200" cap="none" spc="0" normalizeH="0" baseline="0" noProof="0">
                <a:ln>
                  <a:noFill/>
                </a:ln>
                <a:solidFill>
                  <a:srgbClr val="FFFFFF"/>
                </a:solidFill>
                <a:effectLst/>
                <a:uLnTx/>
                <a:uFillTx/>
                <a:latin typeface="Arial"/>
                <a:ea typeface="+mn-ea"/>
                <a:cs typeface="Arial"/>
              </a:rPr>
              <a:t>member firm of the </a:t>
            </a:r>
            <a:r>
              <a:rPr kumimoji="0" lang="en-US" sz="800" b="0" i="0" u="none" strike="noStrike" kern="1200" cap="none" spc="-5" normalizeH="0" baseline="0" noProof="0">
                <a:ln>
                  <a:noFill/>
                </a:ln>
                <a:solidFill>
                  <a:srgbClr val="FFFFFF"/>
                </a:solidFill>
                <a:effectLst/>
                <a:uLnTx/>
                <a:uFillTx/>
                <a:latin typeface="Arial"/>
                <a:ea typeface="+mn-ea"/>
                <a:cs typeface="Arial"/>
              </a:rPr>
              <a:t>KPMG global organization </a:t>
            </a:r>
            <a:r>
              <a:rPr kumimoji="0" lang="en-US" sz="800" b="0" i="0" u="none" strike="noStrike" kern="1200" cap="none" spc="0" normalizeH="0" baseline="0" noProof="0">
                <a:ln>
                  <a:noFill/>
                </a:ln>
                <a:solidFill>
                  <a:srgbClr val="FFFFFF"/>
                </a:solidFill>
                <a:effectLst/>
                <a:uLnTx/>
                <a:uFillTx/>
                <a:latin typeface="Arial"/>
                <a:ea typeface="+mn-ea"/>
                <a:cs typeface="Arial"/>
              </a:rPr>
              <a:t>of </a:t>
            </a:r>
            <a:r>
              <a:rPr kumimoji="0" lang="en-US" sz="800" b="0" i="0" u="none" strike="noStrike" kern="1200" cap="none" spc="-5" normalizeH="0" baseline="0" noProof="0">
                <a:ln>
                  <a:noFill/>
                </a:ln>
                <a:solidFill>
                  <a:srgbClr val="FFFFFF"/>
                </a:solidFill>
                <a:effectLst/>
                <a:uLnTx/>
                <a:uFillTx/>
                <a:latin typeface="Arial"/>
                <a:ea typeface="+mn-ea"/>
                <a:cs typeface="Arial"/>
              </a:rPr>
              <a:t>independent </a:t>
            </a:r>
            <a:r>
              <a:rPr kumimoji="0" lang="en-US" sz="800" b="0" i="0" u="none" strike="noStrike" kern="1200" cap="none" spc="10" normalizeH="0" baseline="0" noProof="0">
                <a:ln>
                  <a:noFill/>
                </a:ln>
                <a:solidFill>
                  <a:srgbClr val="FFFFFF"/>
                </a:solidFill>
                <a:effectLst/>
                <a:uLnTx/>
                <a:uFillTx/>
                <a:latin typeface="Arial"/>
                <a:ea typeface="+mn-ea"/>
                <a:cs typeface="Arial"/>
              </a:rPr>
              <a:t>member  </a:t>
            </a:r>
            <a:r>
              <a:rPr kumimoji="0" lang="en-US" sz="800" b="0" i="0" u="none" strike="noStrike" kern="1200" cap="none" spc="0" normalizeH="0" baseline="0" noProof="0">
                <a:ln>
                  <a:noFill/>
                </a:ln>
                <a:solidFill>
                  <a:srgbClr val="FFFFFF"/>
                </a:solidFill>
                <a:effectLst/>
                <a:uLnTx/>
                <a:uFillTx/>
                <a:latin typeface="Arial"/>
                <a:ea typeface="+mn-ea"/>
                <a:cs typeface="Arial"/>
              </a:rPr>
              <a:t>firms </a:t>
            </a:r>
            <a:r>
              <a:rPr kumimoji="0" lang="en-US" sz="800" b="0" i="0" u="none" strike="noStrike" kern="1200" cap="none" spc="-5" normalizeH="0" baseline="0" noProof="0">
                <a:ln>
                  <a:noFill/>
                </a:ln>
                <a:solidFill>
                  <a:srgbClr val="FFFFFF"/>
                </a:solidFill>
                <a:effectLst/>
                <a:uLnTx/>
                <a:uFillTx/>
                <a:latin typeface="Arial"/>
                <a:ea typeface="+mn-ea"/>
                <a:cs typeface="Arial"/>
              </a:rPr>
              <a:t>affiliated with KPMG </a:t>
            </a:r>
            <a:r>
              <a:rPr kumimoji="0" lang="en-US" sz="800" b="0" i="0" u="none" strike="noStrike" kern="1200" cap="none" spc="0" normalizeH="0" baseline="0" noProof="0">
                <a:ln>
                  <a:noFill/>
                </a:ln>
                <a:solidFill>
                  <a:srgbClr val="FFFFFF"/>
                </a:solidFill>
                <a:effectLst/>
                <a:uLnTx/>
                <a:uFillTx/>
                <a:latin typeface="Arial"/>
                <a:ea typeface="+mn-ea"/>
                <a:cs typeface="Arial"/>
              </a:rPr>
              <a:t>International Limited, </a:t>
            </a:r>
            <a:r>
              <a:rPr kumimoji="0" lang="en-US" sz="800" b="0" i="0" u="none" strike="noStrike" kern="1200" cap="none" spc="-5" normalizeH="0" baseline="0" noProof="0">
                <a:ln>
                  <a:noFill/>
                </a:ln>
                <a:solidFill>
                  <a:srgbClr val="FFFFFF"/>
                </a:solidFill>
                <a:effectLst/>
                <a:uLnTx/>
                <a:uFillTx/>
                <a:latin typeface="Arial"/>
                <a:ea typeface="+mn-ea"/>
                <a:cs typeface="Arial"/>
              </a:rPr>
              <a:t>a private </a:t>
            </a:r>
            <a:r>
              <a:rPr kumimoji="0" lang="en-US" sz="800" b="0" i="0" u="none" strike="noStrike" kern="1200" cap="none" spc="0" normalizeH="0" baseline="0" noProof="0">
                <a:ln>
                  <a:noFill/>
                </a:ln>
                <a:solidFill>
                  <a:srgbClr val="FFFFFF"/>
                </a:solidFill>
                <a:effectLst/>
                <a:uLnTx/>
                <a:uFillTx/>
                <a:latin typeface="Arial"/>
                <a:ea typeface="+mn-ea"/>
                <a:cs typeface="Arial"/>
              </a:rPr>
              <a:t>English company limited</a:t>
            </a:r>
            <a:r>
              <a:rPr kumimoji="0" lang="en-US" sz="800" b="0" i="0" u="none" strike="noStrike" kern="1200" cap="none" spc="-185" normalizeH="0" baseline="0" noProof="0">
                <a:ln>
                  <a:noFill/>
                </a:ln>
                <a:solidFill>
                  <a:srgbClr val="FFFFFF"/>
                </a:solidFill>
                <a:effectLst/>
                <a:uLnTx/>
                <a:uFillTx/>
                <a:latin typeface="Arial"/>
                <a:ea typeface="+mn-ea"/>
                <a:cs typeface="Arial"/>
              </a:rPr>
              <a:t> </a:t>
            </a:r>
            <a:r>
              <a:rPr kumimoji="0" lang="en-US" sz="800" b="0" i="0" u="none" strike="noStrike" kern="1200" cap="none" spc="-5" normalizeH="0" baseline="0" noProof="0">
                <a:ln>
                  <a:noFill/>
                </a:ln>
                <a:solidFill>
                  <a:srgbClr val="FFFFFF"/>
                </a:solidFill>
                <a:effectLst/>
                <a:uLnTx/>
                <a:uFillTx/>
                <a:latin typeface="Arial"/>
                <a:ea typeface="+mn-ea"/>
                <a:cs typeface="Arial"/>
              </a:rPr>
              <a:t>by guarantee. All rights reserved.</a:t>
            </a:r>
            <a:endParaRPr kumimoji="0" lang="en-US" sz="800" b="0" i="0" u="none" strike="noStrike" kern="1200" cap="none" spc="0" normalizeH="0" baseline="0" noProof="0">
              <a:ln>
                <a:noFill/>
              </a:ln>
              <a:solidFill>
                <a:prstClr val="black"/>
              </a:solidFill>
              <a:effectLst/>
              <a:uLnTx/>
              <a:uFillTx/>
              <a:latin typeface="Arial"/>
              <a:ea typeface="+mn-ea"/>
              <a:cs typeface="Arial"/>
            </a:endParaRPr>
          </a:p>
        </p:txBody>
      </p:sp>
      <p:sp>
        <p:nvSpPr>
          <p:cNvPr id="11" name="object 11"/>
          <p:cNvSpPr txBox="1"/>
          <p:nvPr/>
        </p:nvSpPr>
        <p:spPr>
          <a:xfrm>
            <a:off x="1031876" y="5760206"/>
            <a:ext cx="6606540"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800" b="0" i="0" u="none" strike="noStrike" kern="1200" cap="none" spc="-5" normalizeH="0" baseline="0" noProof="0">
                <a:ln>
                  <a:noFill/>
                </a:ln>
                <a:solidFill>
                  <a:srgbClr val="FFFFFF"/>
                </a:solidFill>
                <a:effectLst/>
                <a:uLnTx/>
                <a:uFillTx/>
                <a:latin typeface="Arial"/>
                <a:ea typeface="+mn-ea"/>
                <a:cs typeface="Arial"/>
              </a:rPr>
              <a:t>The KPMG </a:t>
            </a:r>
            <a:r>
              <a:rPr kumimoji="0" lang="en-US" sz="800" b="0" i="0" u="none" strike="noStrike" kern="1200" cap="none" spc="0" normalizeH="0" baseline="0" noProof="0">
                <a:ln>
                  <a:noFill/>
                </a:ln>
                <a:solidFill>
                  <a:srgbClr val="FFFFFF"/>
                </a:solidFill>
                <a:effectLst/>
                <a:uLnTx/>
                <a:uFillTx/>
                <a:latin typeface="Arial"/>
                <a:ea typeface="+mn-ea"/>
                <a:cs typeface="Arial"/>
              </a:rPr>
              <a:t>name </a:t>
            </a:r>
            <a:r>
              <a:rPr kumimoji="0" lang="en-US" sz="800" b="0" i="0" u="none" strike="noStrike" kern="1200" cap="none" spc="-5" normalizeH="0" baseline="0" noProof="0">
                <a:ln>
                  <a:noFill/>
                </a:ln>
                <a:solidFill>
                  <a:srgbClr val="FFFFFF"/>
                </a:solidFill>
                <a:effectLst/>
                <a:uLnTx/>
                <a:uFillTx/>
                <a:latin typeface="Arial"/>
                <a:ea typeface="+mn-ea"/>
                <a:cs typeface="Arial"/>
              </a:rPr>
              <a:t>and logo are </a:t>
            </a:r>
            <a:r>
              <a:rPr kumimoji="0" lang="en-US" sz="800" b="0" i="0" u="none" strike="noStrike" kern="1200" cap="none" spc="0" normalizeH="0" baseline="0" noProof="0">
                <a:ln>
                  <a:noFill/>
                </a:ln>
                <a:solidFill>
                  <a:srgbClr val="FFFFFF"/>
                </a:solidFill>
                <a:effectLst/>
                <a:uLnTx/>
                <a:uFillTx/>
                <a:latin typeface="Arial"/>
                <a:ea typeface="+mn-ea"/>
                <a:cs typeface="Arial"/>
              </a:rPr>
              <a:t>trademarks used </a:t>
            </a:r>
            <a:r>
              <a:rPr kumimoji="0" lang="en-US" sz="800" b="0" i="0" u="none" strike="noStrike" kern="1200" cap="none" spc="-5" normalizeH="0" baseline="0" noProof="0">
                <a:ln>
                  <a:noFill/>
                </a:ln>
                <a:solidFill>
                  <a:srgbClr val="FFFFFF"/>
                </a:solidFill>
                <a:effectLst/>
                <a:uLnTx/>
                <a:uFillTx/>
                <a:latin typeface="Arial"/>
                <a:ea typeface="+mn-ea"/>
                <a:cs typeface="Arial"/>
              </a:rPr>
              <a:t>under </a:t>
            </a:r>
            <a:r>
              <a:rPr kumimoji="0" lang="en-US" sz="800" b="0" i="0" u="none" strike="noStrike" kern="1200" cap="none" spc="0" normalizeH="0" baseline="0" noProof="0">
                <a:ln>
                  <a:noFill/>
                </a:ln>
                <a:solidFill>
                  <a:srgbClr val="FFFFFF"/>
                </a:solidFill>
                <a:effectLst/>
                <a:uLnTx/>
                <a:uFillTx/>
                <a:latin typeface="Arial"/>
                <a:ea typeface="+mn-ea"/>
                <a:cs typeface="Arial"/>
              </a:rPr>
              <a:t>license </a:t>
            </a:r>
            <a:r>
              <a:rPr kumimoji="0" lang="en-US" sz="800" b="0" i="0" u="none" strike="noStrike" kern="1200" cap="none" spc="-5" normalizeH="0" baseline="0" noProof="0">
                <a:ln>
                  <a:noFill/>
                </a:ln>
                <a:solidFill>
                  <a:srgbClr val="FFFFFF"/>
                </a:solidFill>
                <a:effectLst/>
                <a:uLnTx/>
                <a:uFillTx/>
                <a:latin typeface="Arial"/>
                <a:ea typeface="+mn-ea"/>
                <a:cs typeface="Arial"/>
              </a:rPr>
              <a:t>by </a:t>
            </a:r>
            <a:r>
              <a:rPr kumimoji="0" lang="en-US" sz="800" b="0" i="0" u="none" strike="noStrike" kern="1200" cap="none" spc="0" normalizeH="0" baseline="0" noProof="0">
                <a:ln>
                  <a:noFill/>
                </a:ln>
                <a:solidFill>
                  <a:srgbClr val="FFFFFF"/>
                </a:solidFill>
                <a:effectLst/>
                <a:uLnTx/>
                <a:uFillTx/>
                <a:latin typeface="Arial"/>
                <a:ea typeface="+mn-ea"/>
                <a:cs typeface="Arial"/>
              </a:rPr>
              <a:t>the </a:t>
            </a:r>
            <a:r>
              <a:rPr kumimoji="0" lang="en-US" sz="800" b="0" i="0" u="none" strike="noStrike" kern="1200" cap="none" spc="-5" normalizeH="0" baseline="0" noProof="0">
                <a:ln>
                  <a:noFill/>
                </a:ln>
                <a:solidFill>
                  <a:srgbClr val="FFFFFF"/>
                </a:solidFill>
                <a:effectLst/>
                <a:uLnTx/>
                <a:uFillTx/>
                <a:latin typeface="Arial"/>
                <a:ea typeface="+mn-ea"/>
                <a:cs typeface="Arial"/>
              </a:rPr>
              <a:t>independent </a:t>
            </a:r>
            <a:r>
              <a:rPr kumimoji="0" lang="en-US" sz="800" b="0" i="0" u="none" strike="noStrike" kern="1200" cap="none" spc="0" normalizeH="0" baseline="0" noProof="0">
                <a:ln>
                  <a:noFill/>
                </a:ln>
                <a:solidFill>
                  <a:srgbClr val="FFFFFF"/>
                </a:solidFill>
                <a:effectLst/>
                <a:uLnTx/>
                <a:uFillTx/>
                <a:latin typeface="Arial"/>
                <a:ea typeface="+mn-ea"/>
                <a:cs typeface="Arial"/>
              </a:rPr>
              <a:t>member firms of the </a:t>
            </a:r>
            <a:r>
              <a:rPr kumimoji="0" lang="en-US" sz="800" b="0" i="0" u="none" strike="noStrike" kern="1200" cap="none" spc="-5" normalizeH="0" baseline="0" noProof="0">
                <a:ln>
                  <a:noFill/>
                </a:ln>
                <a:solidFill>
                  <a:srgbClr val="FFFFFF"/>
                </a:solidFill>
                <a:effectLst/>
                <a:uLnTx/>
                <a:uFillTx/>
                <a:latin typeface="Arial"/>
                <a:ea typeface="+mn-ea"/>
                <a:cs typeface="Arial"/>
              </a:rPr>
              <a:t>KPMG global</a:t>
            </a:r>
            <a:r>
              <a:rPr kumimoji="0" lang="en-US" sz="800" b="0" i="0" u="none" strike="noStrike" kern="1200" cap="none" spc="-55" normalizeH="0" baseline="0" noProof="0">
                <a:ln>
                  <a:noFill/>
                </a:ln>
                <a:solidFill>
                  <a:srgbClr val="FFFFFF"/>
                </a:solidFill>
                <a:effectLst/>
                <a:uLnTx/>
                <a:uFillTx/>
                <a:latin typeface="Arial"/>
                <a:ea typeface="+mn-ea"/>
                <a:cs typeface="Arial"/>
              </a:rPr>
              <a:t> </a:t>
            </a:r>
            <a:r>
              <a:rPr kumimoji="0" lang="en-US" sz="800" b="0" i="0" u="none" strike="noStrike" kern="1200" cap="none" spc="-5" normalizeH="0" baseline="0" noProof="0">
                <a:ln>
                  <a:noFill/>
                </a:ln>
                <a:solidFill>
                  <a:srgbClr val="FFFFFF"/>
                </a:solidFill>
                <a:effectLst/>
                <a:uLnTx/>
                <a:uFillTx/>
                <a:latin typeface="Arial"/>
                <a:ea typeface="+mn-ea"/>
                <a:cs typeface="Arial"/>
              </a:rPr>
              <a:t>organization.</a:t>
            </a:r>
            <a:endParaRPr kumimoji="0" lang="en-US" sz="800" b="0" i="0" u="none" strike="noStrike" kern="1200" cap="none" spc="0" normalizeH="0" baseline="0" noProof="0">
              <a:ln>
                <a:noFill/>
              </a:ln>
              <a:solidFill>
                <a:prstClr val="black"/>
              </a:solidFill>
              <a:effectLst/>
              <a:uLnTx/>
              <a:uFillTx/>
              <a:latin typeface="Arial"/>
              <a:ea typeface="+mn-ea"/>
              <a:cs typeface="Arial"/>
            </a:endParaRPr>
          </a:p>
        </p:txBody>
      </p:sp>
      <p:sp>
        <p:nvSpPr>
          <p:cNvPr id="13" name="object 13"/>
          <p:cNvSpPr/>
          <p:nvPr/>
        </p:nvSpPr>
        <p:spPr>
          <a:xfrm>
            <a:off x="8221980" y="0"/>
            <a:ext cx="2881630" cy="6858000"/>
          </a:xfrm>
          <a:custGeom>
            <a:avLst/>
            <a:gdLst/>
            <a:ahLst/>
            <a:cxnLst/>
            <a:rect l="l" t="t" r="r" b="b"/>
            <a:pathLst>
              <a:path w="2881629" h="6858000">
                <a:moveTo>
                  <a:pt x="0" y="6858000"/>
                </a:moveTo>
                <a:lnTo>
                  <a:pt x="2881503" y="6858000"/>
                </a:lnTo>
                <a:lnTo>
                  <a:pt x="2881503" y="0"/>
                </a:lnTo>
                <a:lnTo>
                  <a:pt x="0" y="0"/>
                </a:lnTo>
                <a:lnTo>
                  <a:pt x="0" y="685800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txBox="1">
            <a:spLocks noGrp="1"/>
          </p:cNvSpPr>
          <p:nvPr>
            <p:ph type="title"/>
          </p:nvPr>
        </p:nvSpPr>
        <p:spPr>
          <a:xfrm>
            <a:off x="8550656" y="608329"/>
            <a:ext cx="1739123" cy="443070"/>
          </a:xfrm>
          <a:prstGeom prst="rect">
            <a:avLst/>
          </a:prstGeom>
        </p:spPr>
        <p:txBody>
          <a:bodyPr vert="horz" wrap="square" lIns="0" tIns="12065" rIns="0" bIns="0" rtlCol="0">
            <a:spAutoFit/>
          </a:bodyPr>
          <a:lstStyle/>
          <a:p>
            <a:pPr marL="12700">
              <a:lnSpc>
                <a:spcPct val="100000"/>
              </a:lnSpc>
              <a:spcBef>
                <a:spcPts val="95"/>
              </a:spcBef>
            </a:pPr>
            <a:r>
              <a:rPr lang="en-US" sz="2800" spc="-5" err="1">
                <a:solidFill>
                  <a:srgbClr val="00338D"/>
                </a:solidFill>
              </a:rPr>
              <a:t>KPM</a:t>
            </a:r>
            <a:r>
              <a:rPr lang="en-US" sz="2800" spc="235" err="1">
                <a:solidFill>
                  <a:srgbClr val="00338D"/>
                </a:solidFill>
              </a:rPr>
              <a:t>G</a:t>
            </a:r>
            <a:r>
              <a:rPr lang="en-US" sz="2800" spc="-5" err="1">
                <a:solidFill>
                  <a:srgbClr val="00338D"/>
                </a:solidFill>
              </a:rPr>
              <a:t>va</a:t>
            </a:r>
            <a:r>
              <a:rPr lang="en-US" sz="2800" err="1">
                <a:solidFill>
                  <a:srgbClr val="00338D"/>
                </a:solidFill>
              </a:rPr>
              <a:t>l</a:t>
            </a:r>
            <a:r>
              <a:rPr lang="en-US" sz="2800" spc="-5" err="1">
                <a:solidFill>
                  <a:srgbClr val="00338D"/>
                </a:solidFill>
              </a:rPr>
              <a:t>ues</a:t>
            </a:r>
            <a:endParaRPr sz="2800"/>
          </a:p>
        </p:txBody>
      </p:sp>
      <p:sp>
        <p:nvSpPr>
          <p:cNvPr id="15" name="object 15"/>
          <p:cNvSpPr txBox="1"/>
          <p:nvPr/>
        </p:nvSpPr>
        <p:spPr>
          <a:xfrm>
            <a:off x="9183369" y="1211834"/>
            <a:ext cx="1082040" cy="495934"/>
          </a:xfrm>
          <a:prstGeom prst="rect">
            <a:avLst/>
          </a:prstGeom>
        </p:spPr>
        <p:txBody>
          <a:bodyPr vert="horz" wrap="square" lIns="0" tIns="12700" rIns="0" bIns="0" rtlCol="0">
            <a:spAutoFit/>
          </a:bodyPr>
          <a:lstStyle/>
          <a:p>
            <a:pPr marL="12700" marR="0" lvl="0" indent="0" algn="l" defTabSz="914400" rtl="0" eaLnBrk="1" fontAlgn="auto" latinLnBrk="0" hangingPunct="1">
              <a:lnSpc>
                <a:spcPts val="2690"/>
              </a:lnSpc>
              <a:spcBef>
                <a:spcPts val="100"/>
              </a:spcBef>
              <a:spcAft>
                <a:spcPts val="0"/>
              </a:spcAft>
              <a:buClrTx/>
              <a:buSzTx/>
              <a:buFontTx/>
              <a:buNone/>
              <a:tabLst/>
              <a:defRPr/>
            </a:pPr>
            <a:r>
              <a:rPr kumimoji="0" sz="2400" b="1" i="0" u="none" strike="noStrike" kern="1200" cap="none" spc="-5" normalizeH="0" baseline="0" noProof="0">
                <a:ln>
                  <a:noFill/>
                </a:ln>
                <a:solidFill>
                  <a:srgbClr val="1E47E0"/>
                </a:solidFill>
                <a:effectLst/>
                <a:uLnTx/>
                <a:uFillTx/>
                <a:latin typeface="KPMG Bold"/>
                <a:ea typeface="+mn-ea"/>
                <a:cs typeface="KPMG Bold"/>
              </a:rPr>
              <a:t>Integrity</a:t>
            </a:r>
            <a:endParaRPr kumimoji="0" sz="2400" b="0" i="0" u="none" strike="noStrike" kern="1200" cap="none" spc="0" normalizeH="0" baseline="0" noProof="0">
              <a:ln>
                <a:noFill/>
              </a:ln>
              <a:solidFill>
                <a:prstClr val="black"/>
              </a:solidFill>
              <a:effectLst/>
              <a:uLnTx/>
              <a:uFillTx/>
              <a:latin typeface="KPMG Bold"/>
              <a:ea typeface="+mn-ea"/>
              <a:cs typeface="KPMG Bold"/>
            </a:endParaRPr>
          </a:p>
          <a:p>
            <a:pPr marL="12700" marR="0" lvl="0" indent="0" algn="l" defTabSz="914400" rtl="0" eaLnBrk="1" fontAlgn="auto" latinLnBrk="0" hangingPunct="1">
              <a:lnSpc>
                <a:spcPts val="1010"/>
              </a:lnSpc>
              <a:spcBef>
                <a:spcPts val="0"/>
              </a:spcBef>
              <a:spcAft>
                <a:spcPts val="0"/>
              </a:spcAft>
              <a:buClrTx/>
              <a:buSzTx/>
              <a:buFontTx/>
              <a:buNone/>
              <a:tabLst/>
              <a:defRPr/>
            </a:pPr>
            <a:r>
              <a:rPr kumimoji="0" sz="1000" b="0" i="0" u="none" strike="noStrike" kern="1200" cap="none" spc="20" normalizeH="0" baseline="0" noProof="0">
                <a:ln>
                  <a:noFill/>
                </a:ln>
                <a:solidFill>
                  <a:srgbClr val="1E47E0"/>
                </a:solidFill>
                <a:effectLst/>
                <a:uLnTx/>
                <a:uFillTx/>
                <a:latin typeface="Arial"/>
                <a:ea typeface="+mn-ea"/>
                <a:cs typeface="Arial"/>
              </a:rPr>
              <a:t>We </a:t>
            </a:r>
            <a:r>
              <a:rPr kumimoji="0" sz="1000" b="0" i="0" u="none" strike="noStrike" kern="1200" cap="none" spc="-5" normalizeH="0" baseline="0" noProof="0">
                <a:ln>
                  <a:noFill/>
                </a:ln>
                <a:solidFill>
                  <a:srgbClr val="1E47E0"/>
                </a:solidFill>
                <a:effectLst/>
                <a:uLnTx/>
                <a:uFillTx/>
                <a:latin typeface="Arial"/>
                <a:ea typeface="+mn-ea"/>
                <a:cs typeface="Arial"/>
              </a:rPr>
              <a:t>do </a:t>
            </a:r>
            <a:r>
              <a:rPr kumimoji="0" sz="1000" b="0" i="0" u="none" strike="noStrike" kern="1200" cap="none" spc="-20" normalizeH="0" baseline="0" noProof="0">
                <a:ln>
                  <a:noFill/>
                </a:ln>
                <a:solidFill>
                  <a:srgbClr val="1E47E0"/>
                </a:solidFill>
                <a:effectLst/>
                <a:uLnTx/>
                <a:uFillTx/>
                <a:latin typeface="Arial"/>
                <a:ea typeface="+mn-ea"/>
                <a:cs typeface="Arial"/>
              </a:rPr>
              <a:t>what </a:t>
            </a:r>
            <a:r>
              <a:rPr kumimoji="0" sz="1000" b="0" i="0" u="none" strike="noStrike" kern="1200" cap="none" spc="-10" normalizeH="0" baseline="0" noProof="0">
                <a:ln>
                  <a:noFill/>
                </a:ln>
                <a:solidFill>
                  <a:srgbClr val="1E47E0"/>
                </a:solidFill>
                <a:effectLst/>
                <a:uLnTx/>
                <a:uFillTx/>
                <a:latin typeface="Arial"/>
                <a:ea typeface="+mn-ea"/>
                <a:cs typeface="Arial"/>
              </a:rPr>
              <a:t>is</a:t>
            </a:r>
            <a:r>
              <a:rPr kumimoji="0" sz="1000" b="0" i="0" u="none" strike="noStrike" kern="1200" cap="none" spc="-215" normalizeH="0" baseline="0" noProof="0">
                <a:ln>
                  <a:noFill/>
                </a:ln>
                <a:solidFill>
                  <a:srgbClr val="1E47E0"/>
                </a:solidFill>
                <a:effectLst/>
                <a:uLnTx/>
                <a:uFillTx/>
                <a:latin typeface="Arial"/>
                <a:ea typeface="+mn-ea"/>
                <a:cs typeface="Arial"/>
              </a:rPr>
              <a:t> </a:t>
            </a:r>
            <a:r>
              <a:rPr kumimoji="0" sz="1000" b="0" i="0" u="none" strike="noStrike" kern="1200" cap="none" spc="-5" normalizeH="0" baseline="0" noProof="0">
                <a:ln>
                  <a:noFill/>
                </a:ln>
                <a:solidFill>
                  <a:srgbClr val="1E47E0"/>
                </a:solidFill>
                <a:effectLst/>
                <a:uLnTx/>
                <a:uFillTx/>
                <a:latin typeface="Arial"/>
                <a:ea typeface="+mn-ea"/>
                <a:cs typeface="Arial"/>
              </a:rPr>
              <a:t>right</a:t>
            </a:r>
            <a:endParaRPr kumimoji="0" sz="1000" b="0" i="0" u="none" strike="noStrike" kern="1200" cap="none" spc="0" normalizeH="0" baseline="0" noProof="0">
              <a:ln>
                <a:noFill/>
              </a:ln>
              <a:solidFill>
                <a:prstClr val="black"/>
              </a:solidFill>
              <a:effectLst/>
              <a:uLnTx/>
              <a:uFillTx/>
              <a:latin typeface="Arial"/>
              <a:ea typeface="+mn-ea"/>
              <a:cs typeface="Arial"/>
            </a:endParaRPr>
          </a:p>
        </p:txBody>
      </p:sp>
      <p:sp>
        <p:nvSpPr>
          <p:cNvPr id="16" name="object 16"/>
          <p:cNvSpPr/>
          <p:nvPr/>
        </p:nvSpPr>
        <p:spPr>
          <a:xfrm>
            <a:off x="8462771" y="1171448"/>
            <a:ext cx="635507" cy="688848"/>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17"/>
          <p:cNvSpPr txBox="1"/>
          <p:nvPr/>
        </p:nvSpPr>
        <p:spPr>
          <a:xfrm>
            <a:off x="9183369" y="4690465"/>
            <a:ext cx="1028700" cy="482600"/>
          </a:xfrm>
          <a:prstGeom prst="rect">
            <a:avLst/>
          </a:prstGeom>
        </p:spPr>
        <p:txBody>
          <a:bodyPr vert="horz" wrap="square" lIns="0" tIns="12700" rIns="0" bIns="0" rtlCol="0">
            <a:spAutoFit/>
          </a:bodyPr>
          <a:lstStyle/>
          <a:p>
            <a:pPr marL="12700" marR="0" lvl="0" indent="0" algn="l" defTabSz="914400" rtl="0" eaLnBrk="1" fontAlgn="auto" latinLnBrk="0" hangingPunct="1">
              <a:lnSpc>
                <a:spcPts val="2700"/>
              </a:lnSpc>
              <a:spcBef>
                <a:spcPts val="100"/>
              </a:spcBef>
              <a:spcAft>
                <a:spcPts val="0"/>
              </a:spcAft>
              <a:buClrTx/>
              <a:buSzTx/>
              <a:buFontTx/>
              <a:buNone/>
              <a:tabLst/>
              <a:defRPr/>
            </a:pPr>
            <a:r>
              <a:rPr kumimoji="0" sz="2400" b="1" i="0" u="none" strike="noStrike" kern="1200" cap="none" spc="15" normalizeH="0" baseline="0" noProof="0">
                <a:ln>
                  <a:noFill/>
                </a:ln>
                <a:solidFill>
                  <a:srgbClr val="7012EA"/>
                </a:solidFill>
                <a:effectLst/>
                <a:uLnTx/>
                <a:uFillTx/>
                <a:latin typeface="KPMG Bold"/>
                <a:ea typeface="+mn-ea"/>
                <a:cs typeface="KPMG Bold"/>
              </a:rPr>
              <a:t>ForBetter</a:t>
            </a:r>
            <a:endParaRPr kumimoji="0" sz="2400" b="0" i="0" u="none" strike="noStrike" kern="1200" cap="none" spc="0" normalizeH="0" baseline="0" noProof="0">
              <a:ln>
                <a:noFill/>
              </a:ln>
              <a:solidFill>
                <a:prstClr val="black"/>
              </a:solidFill>
              <a:effectLst/>
              <a:uLnTx/>
              <a:uFillTx/>
              <a:latin typeface="KPMG Bold"/>
              <a:ea typeface="+mn-ea"/>
              <a:cs typeface="KPMG Bold"/>
            </a:endParaRPr>
          </a:p>
          <a:p>
            <a:pPr marL="12700" marR="0" lvl="0" indent="0" algn="l" defTabSz="914400" rtl="0" eaLnBrk="1" fontAlgn="auto" latinLnBrk="0" hangingPunct="1">
              <a:lnSpc>
                <a:spcPts val="900"/>
              </a:lnSpc>
              <a:spcBef>
                <a:spcPts val="0"/>
              </a:spcBef>
              <a:spcAft>
                <a:spcPts val="0"/>
              </a:spcAft>
              <a:buClrTx/>
              <a:buSzTx/>
              <a:buFontTx/>
              <a:buNone/>
              <a:tabLst/>
              <a:defRPr/>
            </a:pPr>
            <a:r>
              <a:rPr kumimoji="0" sz="900" b="0" i="0" u="none" strike="noStrike" kern="1200" cap="none" spc="20" normalizeH="0" baseline="0" noProof="0">
                <a:ln>
                  <a:noFill/>
                </a:ln>
                <a:solidFill>
                  <a:srgbClr val="7012EA"/>
                </a:solidFill>
                <a:effectLst/>
                <a:uLnTx/>
                <a:uFillTx/>
                <a:latin typeface="Arial"/>
                <a:ea typeface="+mn-ea"/>
                <a:cs typeface="Arial"/>
              </a:rPr>
              <a:t>We</a:t>
            </a:r>
            <a:r>
              <a:rPr kumimoji="0" sz="900" b="0" i="0" u="none" strike="noStrike" kern="1200" cap="none" spc="-40" normalizeH="0" baseline="0" noProof="0">
                <a:ln>
                  <a:noFill/>
                </a:ln>
                <a:solidFill>
                  <a:srgbClr val="7012EA"/>
                </a:solidFill>
                <a:effectLst/>
                <a:uLnTx/>
                <a:uFillTx/>
                <a:latin typeface="Arial"/>
                <a:ea typeface="+mn-ea"/>
                <a:cs typeface="Arial"/>
              </a:rPr>
              <a:t> </a:t>
            </a:r>
            <a:r>
              <a:rPr kumimoji="0" sz="900" b="0" i="0" u="none" strike="noStrike" kern="1200" cap="none" spc="-5" normalizeH="0" baseline="0" noProof="0">
                <a:ln>
                  <a:noFill/>
                </a:ln>
                <a:solidFill>
                  <a:srgbClr val="7012EA"/>
                </a:solidFill>
                <a:effectLst/>
                <a:uLnTx/>
                <a:uFillTx/>
                <a:latin typeface="Arial"/>
                <a:ea typeface="+mn-ea"/>
                <a:cs typeface="Arial"/>
              </a:rPr>
              <a:t>do</a:t>
            </a:r>
            <a:r>
              <a:rPr kumimoji="0" sz="900" b="0" i="0" u="none" strike="noStrike" kern="1200" cap="none" spc="-40" normalizeH="0" baseline="0" noProof="0">
                <a:ln>
                  <a:noFill/>
                </a:ln>
                <a:solidFill>
                  <a:srgbClr val="7012EA"/>
                </a:solidFill>
                <a:effectLst/>
                <a:uLnTx/>
                <a:uFillTx/>
                <a:latin typeface="Arial"/>
                <a:ea typeface="+mn-ea"/>
                <a:cs typeface="Arial"/>
              </a:rPr>
              <a:t> </a:t>
            </a:r>
            <a:r>
              <a:rPr kumimoji="0" sz="900" b="0" i="0" u="none" strike="noStrike" kern="1200" cap="none" spc="-5" normalizeH="0" baseline="0" noProof="0">
                <a:ln>
                  <a:noFill/>
                </a:ln>
                <a:solidFill>
                  <a:srgbClr val="7012EA"/>
                </a:solidFill>
                <a:effectLst/>
                <a:uLnTx/>
                <a:uFillTx/>
                <a:latin typeface="Arial"/>
                <a:ea typeface="+mn-ea"/>
                <a:cs typeface="Arial"/>
              </a:rPr>
              <a:t>what</a:t>
            </a:r>
            <a:r>
              <a:rPr kumimoji="0" sz="900" b="0" i="0" u="none" strike="noStrike" kern="1200" cap="none" spc="-155" normalizeH="0" baseline="0" noProof="0">
                <a:ln>
                  <a:noFill/>
                </a:ln>
                <a:solidFill>
                  <a:srgbClr val="7012EA"/>
                </a:solidFill>
                <a:effectLst/>
                <a:uLnTx/>
                <a:uFillTx/>
                <a:latin typeface="Arial"/>
                <a:ea typeface="+mn-ea"/>
                <a:cs typeface="Arial"/>
              </a:rPr>
              <a:t> </a:t>
            </a:r>
            <a:r>
              <a:rPr kumimoji="0" sz="900" b="0" i="0" u="none" strike="noStrike" kern="1200" cap="none" spc="0" normalizeH="0" baseline="0" noProof="0">
                <a:ln>
                  <a:noFill/>
                </a:ln>
                <a:solidFill>
                  <a:srgbClr val="7012EA"/>
                </a:solidFill>
                <a:effectLst/>
                <a:uLnTx/>
                <a:uFillTx/>
                <a:latin typeface="Arial"/>
                <a:ea typeface="+mn-ea"/>
                <a:cs typeface="Arial"/>
              </a:rPr>
              <a:t>matters</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18" name="object 18"/>
          <p:cNvSpPr/>
          <p:nvPr/>
        </p:nvSpPr>
        <p:spPr>
          <a:xfrm>
            <a:off x="8462771" y="4621784"/>
            <a:ext cx="635507" cy="711708"/>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txBox="1"/>
          <p:nvPr/>
        </p:nvSpPr>
        <p:spPr>
          <a:xfrm>
            <a:off x="9183369" y="1999107"/>
            <a:ext cx="1406525" cy="619760"/>
          </a:xfrm>
          <a:prstGeom prst="rect">
            <a:avLst/>
          </a:prstGeom>
        </p:spPr>
        <p:txBody>
          <a:bodyPr vert="horz" wrap="square" lIns="0" tIns="12700" rIns="0" bIns="0" rtlCol="0">
            <a:spAutoFit/>
          </a:bodyPr>
          <a:lstStyle/>
          <a:p>
            <a:pPr marL="12700" marR="0" lvl="0" indent="0" algn="l" defTabSz="914400" rtl="0" eaLnBrk="1" fontAlgn="auto" latinLnBrk="0" hangingPunct="1">
              <a:lnSpc>
                <a:spcPts val="2700"/>
              </a:lnSpc>
              <a:spcBef>
                <a:spcPts val="100"/>
              </a:spcBef>
              <a:spcAft>
                <a:spcPts val="0"/>
              </a:spcAft>
              <a:buClrTx/>
              <a:buSzTx/>
              <a:buFontTx/>
              <a:buNone/>
              <a:tabLst/>
              <a:defRPr/>
            </a:pPr>
            <a:r>
              <a:rPr kumimoji="0" sz="2400" b="1" i="0" u="none" strike="noStrike" kern="1200" cap="none" spc="-5" normalizeH="0" baseline="0" noProof="0">
                <a:ln>
                  <a:noFill/>
                </a:ln>
                <a:solidFill>
                  <a:srgbClr val="00338D"/>
                </a:solidFill>
                <a:effectLst/>
                <a:uLnTx/>
                <a:uFillTx/>
                <a:latin typeface="KPMG Bold"/>
                <a:ea typeface="+mn-ea"/>
                <a:cs typeface="KPMG Bold"/>
              </a:rPr>
              <a:t>Excellence</a:t>
            </a:r>
            <a:endParaRPr kumimoji="0" sz="2400" b="0" i="0" u="none" strike="noStrike" kern="1200" cap="none" spc="0" normalizeH="0" baseline="0" noProof="0">
              <a:ln>
                <a:noFill/>
              </a:ln>
              <a:solidFill>
                <a:prstClr val="black"/>
              </a:solidFill>
              <a:effectLst/>
              <a:uLnTx/>
              <a:uFillTx/>
              <a:latin typeface="KPMG Bold"/>
              <a:ea typeface="+mn-ea"/>
              <a:cs typeface="KPMG Bold"/>
            </a:endParaRPr>
          </a:p>
          <a:p>
            <a:pPr marL="12700" marR="0" lvl="0" indent="0" algn="l" defTabSz="914400" rtl="0" eaLnBrk="1" fontAlgn="auto" latinLnBrk="0" hangingPunct="1">
              <a:lnSpc>
                <a:spcPts val="900"/>
              </a:lnSpc>
              <a:spcBef>
                <a:spcPts val="0"/>
              </a:spcBef>
              <a:spcAft>
                <a:spcPts val="0"/>
              </a:spcAft>
              <a:buClrTx/>
              <a:buSzTx/>
              <a:buFontTx/>
              <a:buNone/>
              <a:tabLst/>
              <a:defRPr/>
            </a:pPr>
            <a:r>
              <a:rPr kumimoji="0" sz="900" b="0" i="0" u="none" strike="noStrike" kern="1200" cap="none" spc="20" normalizeH="0" baseline="0" noProof="0">
                <a:ln>
                  <a:noFill/>
                </a:ln>
                <a:solidFill>
                  <a:srgbClr val="00338D"/>
                </a:solidFill>
                <a:effectLst/>
                <a:uLnTx/>
                <a:uFillTx/>
                <a:latin typeface="Arial"/>
                <a:ea typeface="+mn-ea"/>
                <a:cs typeface="Arial"/>
              </a:rPr>
              <a:t>We</a:t>
            </a:r>
            <a:r>
              <a:rPr kumimoji="0" sz="900" b="0" i="0" u="none" strike="noStrike" kern="1200" cap="none" spc="-25" normalizeH="0" baseline="0" noProof="0">
                <a:ln>
                  <a:noFill/>
                </a:ln>
                <a:solidFill>
                  <a:srgbClr val="00338D"/>
                </a:solidFill>
                <a:effectLst/>
                <a:uLnTx/>
                <a:uFillTx/>
                <a:latin typeface="Arial"/>
                <a:ea typeface="+mn-ea"/>
                <a:cs typeface="Arial"/>
              </a:rPr>
              <a:t> </a:t>
            </a:r>
            <a:r>
              <a:rPr kumimoji="0" sz="900" b="0" i="0" u="none" strike="noStrike" kern="1200" cap="none" spc="-5" normalizeH="0" baseline="0" noProof="0">
                <a:ln>
                  <a:noFill/>
                </a:ln>
                <a:solidFill>
                  <a:srgbClr val="00338D"/>
                </a:solidFill>
                <a:effectLst/>
                <a:uLnTx/>
                <a:uFillTx/>
                <a:latin typeface="Arial"/>
                <a:ea typeface="+mn-ea"/>
                <a:cs typeface="Arial"/>
              </a:rPr>
              <a:t>never</a:t>
            </a:r>
            <a:r>
              <a:rPr kumimoji="0" sz="900" b="0" i="0" u="none" strike="noStrike" kern="1200" cap="none" spc="-45" normalizeH="0" baseline="0" noProof="0">
                <a:ln>
                  <a:noFill/>
                </a:ln>
                <a:solidFill>
                  <a:srgbClr val="00338D"/>
                </a:solidFill>
                <a:effectLst/>
                <a:uLnTx/>
                <a:uFillTx/>
                <a:latin typeface="Arial"/>
                <a:ea typeface="+mn-ea"/>
                <a:cs typeface="Arial"/>
              </a:rPr>
              <a:t> </a:t>
            </a:r>
            <a:r>
              <a:rPr kumimoji="0" sz="900" b="0" i="0" u="none" strike="noStrike" kern="1200" cap="none" spc="0" normalizeH="0" baseline="0" noProof="0">
                <a:ln>
                  <a:noFill/>
                </a:ln>
                <a:solidFill>
                  <a:srgbClr val="00338D"/>
                </a:solidFill>
                <a:effectLst/>
                <a:uLnTx/>
                <a:uFillTx/>
                <a:latin typeface="Arial"/>
                <a:ea typeface="+mn-ea"/>
                <a:cs typeface="Arial"/>
              </a:rPr>
              <a:t>stop</a:t>
            </a:r>
            <a:r>
              <a:rPr kumimoji="0" sz="900" b="0" i="0" u="none" strike="noStrike" kern="1200" cap="none" spc="-30" normalizeH="0" baseline="0" noProof="0">
                <a:ln>
                  <a:noFill/>
                </a:ln>
                <a:solidFill>
                  <a:srgbClr val="00338D"/>
                </a:solidFill>
                <a:effectLst/>
                <a:uLnTx/>
                <a:uFillTx/>
                <a:latin typeface="Arial"/>
                <a:ea typeface="+mn-ea"/>
                <a:cs typeface="Arial"/>
              </a:rPr>
              <a:t> </a:t>
            </a:r>
            <a:r>
              <a:rPr kumimoji="0" sz="900" b="0" i="0" u="none" strike="noStrike" kern="1200" cap="none" spc="-5" normalizeH="0" baseline="0" noProof="0">
                <a:ln>
                  <a:noFill/>
                </a:ln>
                <a:solidFill>
                  <a:srgbClr val="00338D"/>
                </a:solidFill>
                <a:effectLst/>
                <a:uLnTx/>
                <a:uFillTx/>
                <a:latin typeface="Arial"/>
                <a:ea typeface="+mn-ea"/>
                <a:cs typeface="Arial"/>
              </a:rPr>
              <a:t>learning</a:t>
            </a:r>
            <a:r>
              <a:rPr kumimoji="0" sz="900" b="0" i="0" u="none" strike="noStrike" kern="1200" cap="none" spc="-150" normalizeH="0" baseline="0" noProof="0">
                <a:ln>
                  <a:noFill/>
                </a:ln>
                <a:solidFill>
                  <a:srgbClr val="00338D"/>
                </a:solidFill>
                <a:effectLst/>
                <a:uLnTx/>
                <a:uFillTx/>
                <a:latin typeface="Arial"/>
                <a:ea typeface="+mn-ea"/>
                <a:cs typeface="Arial"/>
              </a:rPr>
              <a:t> </a:t>
            </a:r>
            <a:r>
              <a:rPr kumimoji="0" sz="900" b="0" i="0" u="none" strike="noStrike" kern="1200" cap="none" spc="-5" normalizeH="0" baseline="0" noProof="0">
                <a:ln>
                  <a:noFill/>
                </a:ln>
                <a:solidFill>
                  <a:srgbClr val="00338D"/>
                </a:solidFill>
                <a:effectLst/>
                <a:uLnTx/>
                <a:uFillTx/>
                <a:latin typeface="Arial"/>
                <a:ea typeface="+mn-ea"/>
                <a:cs typeface="Arial"/>
              </a:rPr>
              <a:t>and</a:t>
            </a:r>
            <a:endParaRPr kumimoji="0" sz="9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5" normalizeH="0" baseline="0" noProof="0">
                <a:ln>
                  <a:noFill/>
                </a:ln>
                <a:solidFill>
                  <a:srgbClr val="00338D"/>
                </a:solidFill>
                <a:effectLst/>
                <a:uLnTx/>
                <a:uFillTx/>
                <a:latin typeface="Arial"/>
                <a:ea typeface="+mn-ea"/>
                <a:cs typeface="Arial"/>
              </a:rPr>
              <a:t>improving</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20" name="object 20"/>
          <p:cNvSpPr/>
          <p:nvPr/>
        </p:nvSpPr>
        <p:spPr>
          <a:xfrm>
            <a:off x="8462771" y="1992883"/>
            <a:ext cx="635507" cy="728472"/>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21"/>
          <p:cNvSpPr txBox="1"/>
          <p:nvPr/>
        </p:nvSpPr>
        <p:spPr>
          <a:xfrm>
            <a:off x="9183369" y="2935478"/>
            <a:ext cx="1193165" cy="496570"/>
          </a:xfrm>
          <a:prstGeom prst="rect">
            <a:avLst/>
          </a:prstGeom>
        </p:spPr>
        <p:txBody>
          <a:bodyPr vert="horz" wrap="square" lIns="0" tIns="12700" rIns="0" bIns="0" rtlCol="0">
            <a:spAutoFit/>
          </a:bodyPr>
          <a:lstStyle/>
          <a:p>
            <a:pPr marL="12700" marR="0" lvl="0" indent="0" algn="l" defTabSz="914400" rtl="0" eaLnBrk="1" fontAlgn="auto" latinLnBrk="0" hangingPunct="1">
              <a:lnSpc>
                <a:spcPts val="2755"/>
              </a:lnSpc>
              <a:spcBef>
                <a:spcPts val="100"/>
              </a:spcBef>
              <a:spcAft>
                <a:spcPts val="0"/>
              </a:spcAft>
              <a:buClrTx/>
              <a:buSzTx/>
              <a:buFontTx/>
              <a:buNone/>
              <a:tabLst/>
              <a:defRPr/>
            </a:pPr>
            <a:r>
              <a:rPr kumimoji="0" sz="2400" b="1" i="0" u="none" strike="noStrike" kern="1200" cap="none" spc="-5" normalizeH="0" baseline="0" noProof="0">
                <a:ln>
                  <a:noFill/>
                </a:ln>
                <a:solidFill>
                  <a:srgbClr val="FB349C"/>
                </a:solidFill>
                <a:effectLst/>
                <a:uLnTx/>
                <a:uFillTx/>
                <a:latin typeface="KPMG Bold"/>
                <a:ea typeface="+mn-ea"/>
                <a:cs typeface="KPMG Bold"/>
              </a:rPr>
              <a:t>Courage</a:t>
            </a:r>
            <a:endParaRPr kumimoji="0" sz="2400" b="0" i="0" u="none" strike="noStrike" kern="1200" cap="none" spc="0" normalizeH="0" baseline="0" noProof="0">
              <a:ln>
                <a:noFill/>
              </a:ln>
              <a:solidFill>
                <a:prstClr val="black"/>
              </a:solidFill>
              <a:effectLst/>
              <a:uLnTx/>
              <a:uFillTx/>
              <a:latin typeface="KPMG Bold"/>
              <a:ea typeface="+mn-ea"/>
              <a:cs typeface="KPMG Bold"/>
            </a:endParaRPr>
          </a:p>
          <a:p>
            <a:pPr marL="12700" marR="0" lvl="0" indent="0" algn="l" defTabSz="914400" rtl="0" eaLnBrk="1" fontAlgn="auto" latinLnBrk="0" hangingPunct="1">
              <a:lnSpc>
                <a:spcPts val="955"/>
              </a:lnSpc>
              <a:spcBef>
                <a:spcPts val="0"/>
              </a:spcBef>
              <a:spcAft>
                <a:spcPts val="0"/>
              </a:spcAft>
              <a:buClrTx/>
              <a:buSzTx/>
              <a:buFontTx/>
              <a:buNone/>
              <a:tabLst/>
              <a:defRPr/>
            </a:pPr>
            <a:r>
              <a:rPr kumimoji="0" sz="900" b="0" i="0" u="none" strike="noStrike" kern="1200" cap="none" spc="20" normalizeH="0" baseline="0" noProof="0">
                <a:ln>
                  <a:noFill/>
                </a:ln>
                <a:solidFill>
                  <a:srgbClr val="FB349C"/>
                </a:solidFill>
                <a:effectLst/>
                <a:uLnTx/>
                <a:uFillTx/>
                <a:latin typeface="Arial"/>
                <a:ea typeface="+mn-ea"/>
                <a:cs typeface="Arial"/>
              </a:rPr>
              <a:t>We</a:t>
            </a:r>
            <a:r>
              <a:rPr kumimoji="0" sz="900" b="0" i="0" u="none" strike="noStrike" kern="1200" cap="none" spc="-20" normalizeH="0" baseline="0" noProof="0">
                <a:ln>
                  <a:noFill/>
                </a:ln>
                <a:solidFill>
                  <a:srgbClr val="FB349C"/>
                </a:solidFill>
                <a:effectLst/>
                <a:uLnTx/>
                <a:uFillTx/>
                <a:latin typeface="Arial"/>
                <a:ea typeface="+mn-ea"/>
                <a:cs typeface="Arial"/>
              </a:rPr>
              <a:t> </a:t>
            </a:r>
            <a:r>
              <a:rPr kumimoji="0" sz="900" b="0" i="0" u="none" strike="noStrike" kern="1200" cap="none" spc="-5" normalizeH="0" baseline="0" noProof="0">
                <a:ln>
                  <a:noFill/>
                </a:ln>
                <a:solidFill>
                  <a:srgbClr val="FB349C"/>
                </a:solidFill>
                <a:effectLst/>
                <a:uLnTx/>
                <a:uFillTx/>
                <a:latin typeface="Arial"/>
                <a:ea typeface="+mn-ea"/>
                <a:cs typeface="Arial"/>
              </a:rPr>
              <a:t>think</a:t>
            </a:r>
            <a:r>
              <a:rPr kumimoji="0" sz="900" b="0" i="0" u="none" strike="noStrike" kern="1200" cap="none" spc="-50" normalizeH="0" baseline="0" noProof="0">
                <a:ln>
                  <a:noFill/>
                </a:ln>
                <a:solidFill>
                  <a:srgbClr val="FB349C"/>
                </a:solidFill>
                <a:effectLst/>
                <a:uLnTx/>
                <a:uFillTx/>
                <a:latin typeface="Arial"/>
                <a:ea typeface="+mn-ea"/>
                <a:cs typeface="Arial"/>
              </a:rPr>
              <a:t> </a:t>
            </a:r>
            <a:r>
              <a:rPr kumimoji="0" sz="900" b="0" i="0" u="none" strike="noStrike" kern="1200" cap="none" spc="-5" normalizeH="0" baseline="0" noProof="0">
                <a:ln>
                  <a:noFill/>
                </a:ln>
                <a:solidFill>
                  <a:srgbClr val="FB349C"/>
                </a:solidFill>
                <a:effectLst/>
                <a:uLnTx/>
                <a:uFillTx/>
                <a:latin typeface="Arial"/>
                <a:ea typeface="+mn-ea"/>
                <a:cs typeface="Arial"/>
              </a:rPr>
              <a:t>and</a:t>
            </a:r>
            <a:r>
              <a:rPr kumimoji="0" sz="900" b="0" i="0" u="none" strike="noStrike" kern="1200" cap="none" spc="-40" normalizeH="0" baseline="0" noProof="0">
                <a:ln>
                  <a:noFill/>
                </a:ln>
                <a:solidFill>
                  <a:srgbClr val="FB349C"/>
                </a:solidFill>
                <a:effectLst/>
                <a:uLnTx/>
                <a:uFillTx/>
                <a:latin typeface="Arial"/>
                <a:ea typeface="+mn-ea"/>
                <a:cs typeface="Arial"/>
              </a:rPr>
              <a:t> </a:t>
            </a:r>
            <a:r>
              <a:rPr kumimoji="0" sz="900" b="0" i="0" u="none" strike="noStrike" kern="1200" cap="none" spc="0" normalizeH="0" baseline="0" noProof="0">
                <a:ln>
                  <a:noFill/>
                </a:ln>
                <a:solidFill>
                  <a:srgbClr val="FB349C"/>
                </a:solidFill>
                <a:effectLst/>
                <a:uLnTx/>
                <a:uFillTx/>
                <a:latin typeface="Arial"/>
                <a:ea typeface="+mn-ea"/>
                <a:cs typeface="Arial"/>
              </a:rPr>
              <a:t>act</a:t>
            </a:r>
            <a:r>
              <a:rPr kumimoji="0" sz="900" b="0" i="0" u="none" strike="noStrike" kern="1200" cap="none" spc="-120" normalizeH="0" baseline="0" noProof="0">
                <a:ln>
                  <a:noFill/>
                </a:ln>
                <a:solidFill>
                  <a:srgbClr val="FB349C"/>
                </a:solidFill>
                <a:effectLst/>
                <a:uLnTx/>
                <a:uFillTx/>
                <a:latin typeface="Arial"/>
                <a:ea typeface="+mn-ea"/>
                <a:cs typeface="Arial"/>
              </a:rPr>
              <a:t> </a:t>
            </a:r>
            <a:r>
              <a:rPr kumimoji="0" sz="900" b="0" i="0" u="none" strike="noStrike" kern="1200" cap="none" spc="-5" normalizeH="0" baseline="0" noProof="0">
                <a:ln>
                  <a:noFill/>
                </a:ln>
                <a:solidFill>
                  <a:srgbClr val="FB349C"/>
                </a:solidFill>
                <a:effectLst/>
                <a:uLnTx/>
                <a:uFillTx/>
                <a:latin typeface="Arial"/>
                <a:ea typeface="+mn-ea"/>
                <a:cs typeface="Arial"/>
              </a:rPr>
              <a:t>boldly</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22" name="object 22"/>
          <p:cNvSpPr/>
          <p:nvPr/>
        </p:nvSpPr>
        <p:spPr>
          <a:xfrm>
            <a:off x="8462771" y="2852420"/>
            <a:ext cx="635507" cy="742187"/>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23"/>
          <p:cNvSpPr txBox="1"/>
          <p:nvPr/>
        </p:nvSpPr>
        <p:spPr>
          <a:xfrm>
            <a:off x="9183369" y="3747770"/>
            <a:ext cx="1659255" cy="619760"/>
          </a:xfrm>
          <a:prstGeom prst="rect">
            <a:avLst/>
          </a:prstGeom>
        </p:spPr>
        <p:txBody>
          <a:bodyPr vert="horz" wrap="square" lIns="0" tIns="12700" rIns="0" bIns="0" rtlCol="0">
            <a:spAutoFit/>
          </a:bodyPr>
          <a:lstStyle/>
          <a:p>
            <a:pPr marL="12700" marR="0" lvl="0" indent="0" algn="l" defTabSz="914400" rtl="0" eaLnBrk="1" fontAlgn="auto" latinLnBrk="0" hangingPunct="1">
              <a:lnSpc>
                <a:spcPts val="2700"/>
              </a:lnSpc>
              <a:spcBef>
                <a:spcPts val="100"/>
              </a:spcBef>
              <a:spcAft>
                <a:spcPts val="0"/>
              </a:spcAft>
              <a:buClrTx/>
              <a:buSzTx/>
              <a:buFontTx/>
              <a:buNone/>
              <a:tabLst/>
              <a:defRPr/>
            </a:pPr>
            <a:r>
              <a:rPr kumimoji="0" sz="2400" b="1" i="0" u="none" strike="noStrike" kern="1200" cap="none" spc="-5" normalizeH="0" baseline="0" noProof="0">
                <a:ln>
                  <a:noFill/>
                </a:ln>
                <a:solidFill>
                  <a:srgbClr val="00B8F5"/>
                </a:solidFill>
                <a:effectLst/>
                <a:uLnTx/>
                <a:uFillTx/>
                <a:latin typeface="KPMG Bold"/>
                <a:ea typeface="+mn-ea"/>
                <a:cs typeface="KPMG Bold"/>
              </a:rPr>
              <a:t>Together</a:t>
            </a:r>
            <a:endParaRPr kumimoji="0" sz="2400" b="0" i="0" u="none" strike="noStrike" kern="1200" cap="none" spc="0" normalizeH="0" baseline="0" noProof="0">
              <a:ln>
                <a:noFill/>
              </a:ln>
              <a:solidFill>
                <a:prstClr val="black"/>
              </a:solidFill>
              <a:effectLst/>
              <a:uLnTx/>
              <a:uFillTx/>
              <a:latin typeface="KPMG Bold"/>
              <a:ea typeface="+mn-ea"/>
              <a:cs typeface="KPMG Bold"/>
            </a:endParaRPr>
          </a:p>
          <a:p>
            <a:pPr marL="12700" marR="0" lvl="0" indent="0" algn="l" defTabSz="914400" rtl="0" eaLnBrk="1" fontAlgn="auto" latinLnBrk="0" hangingPunct="1">
              <a:lnSpc>
                <a:spcPts val="900"/>
              </a:lnSpc>
              <a:spcBef>
                <a:spcPts val="0"/>
              </a:spcBef>
              <a:spcAft>
                <a:spcPts val="0"/>
              </a:spcAft>
              <a:buClrTx/>
              <a:buSzTx/>
              <a:buFontTx/>
              <a:buNone/>
              <a:tabLst/>
              <a:defRPr/>
            </a:pPr>
            <a:r>
              <a:rPr kumimoji="0" sz="900" b="0" i="0" u="none" strike="noStrike" kern="1200" cap="none" spc="20" normalizeH="0" baseline="0" noProof="0">
                <a:ln>
                  <a:noFill/>
                </a:ln>
                <a:solidFill>
                  <a:srgbClr val="00B8F5"/>
                </a:solidFill>
                <a:effectLst/>
                <a:uLnTx/>
                <a:uFillTx/>
                <a:latin typeface="Arial"/>
                <a:ea typeface="+mn-ea"/>
                <a:cs typeface="Arial"/>
              </a:rPr>
              <a:t>We </a:t>
            </a:r>
            <a:r>
              <a:rPr kumimoji="0" sz="900" b="0" i="0" u="none" strike="noStrike" kern="1200" cap="none" spc="0" normalizeH="0" baseline="0" noProof="0">
                <a:ln>
                  <a:noFill/>
                </a:ln>
                <a:solidFill>
                  <a:srgbClr val="00B8F5"/>
                </a:solidFill>
                <a:effectLst/>
                <a:uLnTx/>
                <a:uFillTx/>
                <a:latin typeface="Arial"/>
                <a:ea typeface="+mn-ea"/>
                <a:cs typeface="Arial"/>
              </a:rPr>
              <a:t>respect each </a:t>
            </a:r>
            <a:r>
              <a:rPr kumimoji="0" sz="900" b="0" i="0" u="none" strike="noStrike" kern="1200" cap="none" spc="-5" normalizeH="0" baseline="0" noProof="0">
                <a:ln>
                  <a:noFill/>
                </a:ln>
                <a:solidFill>
                  <a:srgbClr val="00B8F5"/>
                </a:solidFill>
                <a:effectLst/>
                <a:uLnTx/>
                <a:uFillTx/>
                <a:latin typeface="Arial"/>
                <a:ea typeface="+mn-ea"/>
                <a:cs typeface="Arial"/>
              </a:rPr>
              <a:t>other</a:t>
            </a:r>
            <a:r>
              <a:rPr kumimoji="0" sz="900" b="0" i="0" u="none" strike="noStrike" kern="1200" cap="none" spc="-155" normalizeH="0" baseline="0" noProof="0">
                <a:ln>
                  <a:noFill/>
                </a:ln>
                <a:solidFill>
                  <a:srgbClr val="00B8F5"/>
                </a:solidFill>
                <a:effectLst/>
                <a:uLnTx/>
                <a:uFillTx/>
                <a:latin typeface="Arial"/>
                <a:ea typeface="+mn-ea"/>
                <a:cs typeface="Arial"/>
              </a:rPr>
              <a:t> </a:t>
            </a:r>
            <a:r>
              <a:rPr kumimoji="0" lang="en-US" sz="900" b="0" i="0" u="none" strike="noStrike" kern="1200" cap="none" spc="10" normalizeH="0" baseline="0" noProof="0">
                <a:ln>
                  <a:noFill/>
                </a:ln>
                <a:solidFill>
                  <a:srgbClr val="00B8F5"/>
                </a:solidFill>
                <a:effectLst/>
                <a:uLnTx/>
                <a:uFillTx/>
                <a:latin typeface="Arial"/>
                <a:ea typeface="+mn-ea"/>
                <a:cs typeface="Arial"/>
              </a:rPr>
              <a:t>and draw</a:t>
            </a:r>
            <a:endParaRPr kumimoji="0" sz="9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00B8F5"/>
                </a:solidFill>
                <a:effectLst/>
                <a:uLnTx/>
                <a:uFillTx/>
                <a:latin typeface="Arial"/>
                <a:ea typeface="+mn-ea"/>
                <a:cs typeface="Arial"/>
              </a:rPr>
              <a:t>strength from </a:t>
            </a:r>
            <a:r>
              <a:rPr kumimoji="0" sz="900" b="0" i="0" u="none" strike="noStrike" kern="1200" cap="none" spc="-5" normalizeH="0" baseline="0" noProof="0">
                <a:ln>
                  <a:noFill/>
                </a:ln>
                <a:solidFill>
                  <a:srgbClr val="00B8F5"/>
                </a:solidFill>
                <a:effectLst/>
                <a:uLnTx/>
                <a:uFillTx/>
                <a:latin typeface="Arial"/>
                <a:ea typeface="+mn-ea"/>
                <a:cs typeface="Arial"/>
              </a:rPr>
              <a:t>our</a:t>
            </a:r>
            <a:r>
              <a:rPr kumimoji="0" sz="900" b="0" i="0" u="none" strike="noStrike" kern="1200" cap="none" spc="-140" normalizeH="0" baseline="0" noProof="0">
                <a:ln>
                  <a:noFill/>
                </a:ln>
                <a:solidFill>
                  <a:srgbClr val="00B8F5"/>
                </a:solidFill>
                <a:effectLst/>
                <a:uLnTx/>
                <a:uFillTx/>
                <a:latin typeface="Arial"/>
                <a:ea typeface="+mn-ea"/>
                <a:cs typeface="Arial"/>
              </a:rPr>
              <a:t> </a:t>
            </a:r>
            <a:r>
              <a:rPr kumimoji="0" sz="900" b="0" i="0" u="none" strike="noStrike" kern="1200" cap="none" spc="0" normalizeH="0" baseline="0" noProof="0">
                <a:ln>
                  <a:noFill/>
                </a:ln>
                <a:solidFill>
                  <a:srgbClr val="00B8F5"/>
                </a:solidFill>
                <a:effectLst/>
                <a:uLnTx/>
                <a:uFillTx/>
                <a:latin typeface="Arial"/>
                <a:ea typeface="+mn-ea"/>
                <a:cs typeface="Arial"/>
              </a:rPr>
              <a:t>differences</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24" name="object 24"/>
          <p:cNvSpPr/>
          <p:nvPr/>
        </p:nvSpPr>
        <p:spPr>
          <a:xfrm>
            <a:off x="8462771" y="3727196"/>
            <a:ext cx="635507" cy="762000"/>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50" name="Group 49">
            <a:extLst>
              <a:ext uri="{FF2B5EF4-FFF2-40B4-BE49-F238E27FC236}">
                <a16:creationId xmlns:a16="http://schemas.microsoft.com/office/drawing/2014/main" id="{8949B4DE-FF20-B783-187C-80E93485F35F}"/>
              </a:ext>
            </a:extLst>
          </p:cNvPr>
          <p:cNvGrpSpPr/>
          <p:nvPr/>
        </p:nvGrpSpPr>
        <p:grpSpPr>
          <a:xfrm>
            <a:off x="1031876" y="3647230"/>
            <a:ext cx="1564640" cy="655303"/>
            <a:chOff x="856284" y="3881627"/>
            <a:chExt cx="1564640" cy="655303"/>
          </a:xfrm>
        </p:grpSpPr>
        <p:sp>
          <p:nvSpPr>
            <p:cNvPr id="3" name="object 3"/>
            <p:cNvSpPr/>
            <p:nvPr/>
          </p:nvSpPr>
          <p:spPr>
            <a:xfrm>
              <a:off x="887414" y="3881627"/>
              <a:ext cx="372110" cy="373380"/>
            </a:xfrm>
            <a:prstGeom prst="rect">
              <a:avLst/>
            </a:prstGeom>
            <a:blipFill>
              <a:blip r:embed="rId10" cstate="print"/>
              <a:stretch>
                <a:fillRect l="-114059" r="-118501"/>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txBox="1"/>
            <p:nvPr/>
          </p:nvSpPr>
          <p:spPr>
            <a:xfrm>
              <a:off x="856284" y="4354829"/>
              <a:ext cx="1564640" cy="182101"/>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100" b="1" i="0" u="none" strike="noStrike" kern="1200" cap="none" spc="-5" normalizeH="0" baseline="0" noProof="0">
                  <a:ln>
                    <a:noFill/>
                  </a:ln>
                  <a:solidFill>
                    <a:srgbClr val="FFFFFF"/>
                  </a:solidFill>
                  <a:effectLst/>
                  <a:uLnTx/>
                  <a:uFillTx/>
                  <a:latin typeface="Arial"/>
                  <a:ea typeface="+mn-ea"/>
                  <a:cs typeface="Arial"/>
                </a:rPr>
                <a:t>kpmg.com/socialmedia</a:t>
              </a:r>
              <a:endParaRPr kumimoji="0" sz="1100" b="0" i="0" u="none" strike="noStrike" kern="1200" cap="none" spc="0" normalizeH="0" baseline="0" noProof="0">
                <a:ln>
                  <a:noFill/>
                </a:ln>
                <a:solidFill>
                  <a:prstClr val="black"/>
                </a:solidFill>
                <a:effectLst/>
                <a:uLnTx/>
                <a:uFillTx/>
                <a:latin typeface="Arial"/>
                <a:ea typeface="+mn-ea"/>
                <a:cs typeface="Arial"/>
              </a:endParaRPr>
            </a:p>
          </p:txBody>
        </p:sp>
      </p:grpSp>
      <p:sp>
        <p:nvSpPr>
          <p:cNvPr id="25" name="object 25"/>
          <p:cNvSpPr txBox="1"/>
          <p:nvPr/>
        </p:nvSpPr>
        <p:spPr>
          <a:xfrm>
            <a:off x="3359207" y="1258750"/>
            <a:ext cx="1337818" cy="644407"/>
          </a:xfrm>
          <a:prstGeom prst="rect">
            <a:avLst/>
          </a:prstGeom>
        </p:spPr>
        <p:txBody>
          <a:bodyPr vert="horz" wrap="square" lIns="0" tIns="13335" rIns="0" bIns="0" rtlCol="0">
            <a:spAutoFit/>
          </a:bodyPr>
          <a:lstStyle/>
          <a:p>
            <a:pPr marL="12700">
              <a:spcBef>
                <a:spcPts val="105"/>
              </a:spcBef>
              <a:defRPr/>
            </a:pPr>
            <a:r>
              <a:rPr lang="en-US" sz="900" b="1" spc="-5">
                <a:solidFill>
                  <a:schemeClr val="bg1"/>
                </a:solidFill>
                <a:latin typeface="Arial"/>
                <a:cs typeface="Arial"/>
              </a:rPr>
              <a:t>Anurag Rai</a:t>
            </a:r>
            <a:endParaRPr sz="900" b="1" spc="-5">
              <a:solidFill>
                <a:schemeClr val="bg1"/>
              </a:solidFill>
              <a:latin typeface="Arial"/>
              <a:cs typeface="Arial"/>
            </a:endParaRPr>
          </a:p>
          <a:p>
            <a:pPr marL="12700" marR="0" lvl="0" indent="0" algn="l" defTabSz="914400" rtl="0" eaLnBrk="1" fontAlgn="auto" latinLnBrk="0" hangingPunct="1">
              <a:lnSpc>
                <a:spcPct val="100000"/>
              </a:lnSpc>
              <a:spcBef>
                <a:spcPts val="15"/>
              </a:spcBef>
              <a:spcAft>
                <a:spcPts val="0"/>
              </a:spcAft>
              <a:buClrTx/>
              <a:buSzTx/>
              <a:buFontTx/>
              <a:buNone/>
              <a:tabLst/>
              <a:defRPr/>
            </a:pPr>
            <a:r>
              <a:rPr kumimoji="0" lang="fr-FR" sz="800" i="0" u="none" strike="noStrike" kern="1200" cap="none" spc="-5" normalizeH="0" baseline="0" noProof="0">
                <a:ln>
                  <a:noFill/>
                </a:ln>
                <a:solidFill>
                  <a:schemeClr val="bg1"/>
                </a:solidFill>
                <a:effectLst/>
                <a:uLnTx/>
                <a:uFillTx/>
                <a:latin typeface="Arial"/>
                <a:ea typeface="+mn-ea"/>
                <a:cs typeface="Arial"/>
              </a:rPr>
              <a:t>Principal,</a:t>
            </a:r>
            <a:r>
              <a:rPr kumimoji="0" lang="fr-FR" sz="800" i="0" u="none" strike="noStrike" kern="1200" cap="none" spc="-10" normalizeH="0" baseline="0" noProof="0">
                <a:ln>
                  <a:noFill/>
                </a:ln>
                <a:solidFill>
                  <a:schemeClr val="bg1"/>
                </a:solidFill>
                <a:effectLst/>
                <a:uLnTx/>
                <a:uFillTx/>
                <a:latin typeface="Arial"/>
                <a:ea typeface="+mn-ea"/>
                <a:cs typeface="Arial"/>
              </a:rPr>
              <a:t> </a:t>
            </a:r>
            <a:r>
              <a:rPr kumimoji="0" lang="fr-FR" sz="800" i="0" u="none" strike="noStrike" kern="1200" cap="none" spc="-5" normalizeH="0" baseline="0" noProof="0">
                <a:ln>
                  <a:noFill/>
                </a:ln>
                <a:solidFill>
                  <a:schemeClr val="bg1"/>
                </a:solidFill>
                <a:effectLst/>
                <a:uLnTx/>
                <a:uFillTx/>
                <a:latin typeface="Arial"/>
                <a:ea typeface="+mn-ea"/>
                <a:cs typeface="Arial"/>
              </a:rPr>
              <a:t>Cybersecurity &amp; Tech Risk</a:t>
            </a:r>
            <a:endParaRPr kumimoji="0" lang="fr-FR" sz="800" i="0" u="none" strike="noStrike" kern="1200" cap="none" spc="0" normalizeH="0" baseline="0" noProof="0">
              <a:ln>
                <a:noFill/>
              </a:ln>
              <a:solidFill>
                <a:schemeClr val="bg1"/>
              </a:solidFill>
              <a:effectLst/>
              <a:uLnTx/>
              <a:uFillTx/>
              <a:latin typeface="Arial"/>
              <a:ea typeface="+mn-ea"/>
              <a:cs typeface="Arial"/>
            </a:endParaRPr>
          </a:p>
          <a:p>
            <a:pPr marL="12700" marR="0" lvl="0" indent="0" algn="l" defTabSz="914400" rtl="0" eaLnBrk="1" fontAlgn="auto" latinLnBrk="0" hangingPunct="1">
              <a:lnSpc>
                <a:spcPct val="100000"/>
              </a:lnSpc>
              <a:spcBef>
                <a:spcPts val="10"/>
              </a:spcBef>
              <a:spcAft>
                <a:spcPts val="0"/>
              </a:spcAft>
              <a:buClrTx/>
              <a:buSzTx/>
              <a:buFontTx/>
              <a:buNone/>
              <a:tabLst/>
              <a:defRPr/>
            </a:pPr>
            <a:r>
              <a:rPr kumimoji="0" lang="fr-FR" sz="800" i="0" u="none" strike="noStrike" kern="1200" cap="none" spc="-10" normalizeH="0" baseline="0" noProof="0">
                <a:ln>
                  <a:noFill/>
                </a:ln>
                <a:solidFill>
                  <a:schemeClr val="bg1"/>
                </a:solidFill>
                <a:effectLst/>
                <a:uLnTx/>
                <a:uFillTx/>
                <a:latin typeface="Arial"/>
                <a:ea typeface="+mn-ea"/>
                <a:cs typeface="Arial"/>
              </a:rPr>
              <a:t>T: </a:t>
            </a:r>
            <a:r>
              <a:rPr kumimoji="0" lang="fr-FR" sz="800" i="0" u="none" strike="noStrike" kern="1200" cap="none" spc="0" normalizeH="0" baseline="0" noProof="0">
                <a:ln>
                  <a:noFill/>
                </a:ln>
                <a:solidFill>
                  <a:schemeClr val="bg1"/>
                </a:solidFill>
                <a:effectLst/>
                <a:uLnTx/>
                <a:uFillTx/>
                <a:latin typeface="Arial"/>
                <a:ea typeface="+mn-ea"/>
                <a:cs typeface="Arial"/>
              </a:rPr>
              <a:t>312-665-2563</a:t>
            </a: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fr-FR" sz="800" i="0" u="none" strike="noStrike" kern="1200" cap="none" spc="0" normalizeH="0" baseline="0" noProof="0">
                <a:ln>
                  <a:noFill/>
                </a:ln>
                <a:solidFill>
                  <a:schemeClr val="bg1"/>
                </a:solidFill>
                <a:effectLst/>
                <a:uLnTx/>
                <a:uFillTx/>
                <a:latin typeface="Arial"/>
                <a:ea typeface="+mn-ea"/>
                <a:cs typeface="Arial"/>
              </a:rPr>
              <a:t>E:</a:t>
            </a:r>
            <a:r>
              <a:rPr kumimoji="0" lang="fr-FR" sz="800" i="0" u="none" strike="noStrike" kern="1200" cap="none" spc="-60" normalizeH="0" baseline="0" noProof="0">
                <a:ln>
                  <a:noFill/>
                </a:ln>
                <a:solidFill>
                  <a:schemeClr val="bg1"/>
                </a:solidFill>
                <a:effectLst/>
                <a:uLnTx/>
                <a:uFillTx/>
                <a:latin typeface="Arial"/>
                <a:ea typeface="+mn-ea"/>
                <a:cs typeface="Arial"/>
              </a:rPr>
              <a:t> </a:t>
            </a:r>
            <a:r>
              <a:rPr kumimoji="0" lang="fr-FR" sz="800" i="0" u="none" strike="noStrike" kern="1200" cap="none" spc="-60" normalizeH="0" baseline="0" noProof="0">
                <a:ln>
                  <a:noFill/>
                </a:ln>
                <a:solidFill>
                  <a:schemeClr val="bg1"/>
                </a:solidFill>
                <a:effectLst/>
                <a:uLnTx/>
                <a:uFillTx/>
                <a:latin typeface="Arial"/>
                <a:ea typeface="+mn-ea"/>
                <a:cs typeface="Arial"/>
                <a:hlinkClick r:id="rId11">
                  <a:extLst>
                    <a:ext uri="{A12FA001-AC4F-418D-AE19-62706E023703}">
                      <ahyp:hlinkClr xmlns:ahyp="http://schemas.microsoft.com/office/drawing/2018/hyperlinkcolor" val="tx"/>
                    </a:ext>
                  </a:extLst>
                </a:hlinkClick>
              </a:rPr>
              <a:t>anuragrai@KPMG.com</a:t>
            </a:r>
            <a:r>
              <a:rPr kumimoji="0" lang="fr-FR" sz="800" i="0" u="none" strike="noStrike" kern="1200" cap="none" spc="-60" normalizeH="0" baseline="0" noProof="0">
                <a:ln>
                  <a:noFill/>
                </a:ln>
                <a:solidFill>
                  <a:schemeClr val="bg1"/>
                </a:solidFill>
                <a:effectLst/>
                <a:uLnTx/>
                <a:uFillTx/>
                <a:latin typeface="Arial"/>
                <a:ea typeface="+mn-ea"/>
                <a:cs typeface="Arial"/>
              </a:rPr>
              <a:t> </a:t>
            </a:r>
          </a:p>
        </p:txBody>
      </p:sp>
      <p:pic>
        <p:nvPicPr>
          <p:cNvPr id="7" name="Picture Placeholder 5">
            <a:extLst>
              <a:ext uri="{FF2B5EF4-FFF2-40B4-BE49-F238E27FC236}">
                <a16:creationId xmlns:a16="http://schemas.microsoft.com/office/drawing/2014/main" id="{1DBEDABB-15DC-D942-F54C-9DFA450DC9B7}"/>
              </a:ext>
              <a:ext uri="{C183D7F6-B498-43B3-948B-1728B52AA6E4}">
                <adec:decorative xmlns:adec="http://schemas.microsoft.com/office/drawing/2017/decorative" val="1"/>
              </a:ext>
            </a:extLst>
          </p:cNvPr>
          <p:cNvPicPr>
            <a:picLocks/>
          </p:cNvPicPr>
          <p:nvPr/>
        </p:nvPicPr>
        <p:blipFill>
          <a:blip r:embed="rId12">
            <a:extLst>
              <a:ext uri="{28A0092B-C50C-407E-A947-70E740481C1C}">
                <a14:useLocalDpi xmlns:a14="http://schemas.microsoft.com/office/drawing/2010/main" val="0"/>
              </a:ext>
            </a:extLst>
          </a:blip>
          <a:srcRect t="2622" b="2622"/>
          <a:stretch/>
        </p:blipFill>
        <p:spPr>
          <a:xfrm>
            <a:off x="3359207" y="431801"/>
            <a:ext cx="754031" cy="792156"/>
          </a:xfrm>
          <a:prstGeom prst="rect">
            <a:avLst/>
          </a:prstGeom>
        </p:spPr>
      </p:pic>
      <p:sp>
        <p:nvSpPr>
          <p:cNvPr id="28" name="object 26">
            <a:extLst>
              <a:ext uri="{FF2B5EF4-FFF2-40B4-BE49-F238E27FC236}">
                <a16:creationId xmlns:a16="http://schemas.microsoft.com/office/drawing/2014/main" id="{C5328432-4C56-218B-B129-0C81C5B567E7}"/>
              </a:ext>
            </a:extLst>
          </p:cNvPr>
          <p:cNvSpPr txBox="1"/>
          <p:nvPr/>
        </p:nvSpPr>
        <p:spPr>
          <a:xfrm>
            <a:off x="6378666" y="1258749"/>
            <a:ext cx="1337818" cy="767518"/>
          </a:xfrm>
          <a:prstGeom prst="rect">
            <a:avLst/>
          </a:prstGeom>
        </p:spPr>
        <p:txBody>
          <a:bodyPr vert="horz" wrap="square" lIns="0" tIns="13335" rIns="0" bIns="0" rtlCol="0">
            <a:spAutoFit/>
          </a:bodyPr>
          <a:lstStyle/>
          <a:p>
            <a:pPr marL="12700">
              <a:spcBef>
                <a:spcPts val="105"/>
              </a:spcBef>
              <a:defRPr/>
            </a:pPr>
            <a:r>
              <a:rPr lang="en-US" sz="900" b="1" spc="-5">
                <a:solidFill>
                  <a:schemeClr val="bg1"/>
                </a:solidFill>
                <a:latin typeface="Arial"/>
                <a:cs typeface="Arial"/>
              </a:rPr>
              <a:t>Katie Boswell</a:t>
            </a:r>
            <a:endParaRPr sz="900" b="1" spc="-5">
              <a:solidFill>
                <a:schemeClr val="bg1"/>
              </a:solidFill>
              <a:latin typeface="Arial"/>
              <a:cs typeface="Arial"/>
            </a:endParaRPr>
          </a:p>
          <a:p>
            <a:pPr marL="12700" marR="0" lvl="0" indent="0" algn="l" defTabSz="914400" rtl="0" eaLnBrk="1" fontAlgn="auto" latinLnBrk="0" hangingPunct="1">
              <a:lnSpc>
                <a:spcPct val="100000"/>
              </a:lnSpc>
              <a:spcBef>
                <a:spcPts val="15"/>
              </a:spcBef>
              <a:spcAft>
                <a:spcPts val="0"/>
              </a:spcAft>
              <a:buClrTx/>
              <a:buSzTx/>
              <a:buFontTx/>
              <a:buNone/>
              <a:tabLst/>
              <a:defRPr/>
            </a:pPr>
            <a:r>
              <a:rPr kumimoji="0" lang="en-US" sz="800" i="0" u="none" strike="noStrike" kern="1200" cap="none" spc="-5" normalizeH="0" baseline="0" noProof="0">
                <a:ln>
                  <a:noFill/>
                </a:ln>
                <a:solidFill>
                  <a:schemeClr val="bg1"/>
                </a:solidFill>
                <a:effectLst/>
                <a:uLnTx/>
                <a:uFillTx/>
                <a:latin typeface="Arial"/>
                <a:ea typeface="+mn-ea"/>
                <a:cs typeface="Arial"/>
              </a:rPr>
              <a:t>Managing Director,</a:t>
            </a:r>
            <a:r>
              <a:rPr kumimoji="0" lang="en-US" sz="800" i="0" u="none" strike="noStrike" kern="1200" cap="none" spc="-85" normalizeH="0" baseline="0" noProof="0">
                <a:ln>
                  <a:noFill/>
                </a:ln>
                <a:solidFill>
                  <a:schemeClr val="bg1"/>
                </a:solidFill>
                <a:effectLst/>
                <a:uLnTx/>
                <a:uFillTx/>
                <a:latin typeface="Arial"/>
                <a:ea typeface="+mn-ea"/>
                <a:cs typeface="Arial"/>
              </a:rPr>
              <a:t> </a:t>
            </a:r>
            <a:r>
              <a:rPr kumimoji="0" lang="en-US" sz="800" i="0" u="none" strike="noStrike" kern="1200" cap="none" spc="-5" normalizeH="0" baseline="0" noProof="0">
                <a:ln>
                  <a:noFill/>
                </a:ln>
                <a:solidFill>
                  <a:schemeClr val="bg1"/>
                </a:solidFill>
                <a:effectLst/>
                <a:uLnTx/>
                <a:uFillTx/>
                <a:latin typeface="Arial"/>
                <a:ea typeface="+mn-ea"/>
                <a:cs typeface="Arial"/>
              </a:rPr>
              <a:t>Cybersecurity &amp; Tech Risk, </a:t>
            </a:r>
            <a:r>
              <a:rPr lang="en-US" sz="800" spc="-5">
                <a:solidFill>
                  <a:schemeClr val="bg1"/>
                </a:solidFill>
                <a:latin typeface="Arial"/>
                <a:cs typeface="Arial"/>
              </a:rPr>
              <a:t>Securing</a:t>
            </a:r>
            <a:r>
              <a:rPr kumimoji="0" lang="en-US" sz="800" i="0" u="none" strike="noStrike" kern="1200" cap="none" spc="-5" normalizeH="0" baseline="0" noProof="0">
                <a:ln>
                  <a:noFill/>
                </a:ln>
                <a:solidFill>
                  <a:schemeClr val="bg1"/>
                </a:solidFill>
                <a:effectLst/>
                <a:uLnTx/>
                <a:uFillTx/>
                <a:latin typeface="Arial"/>
                <a:ea typeface="+mn-ea"/>
                <a:cs typeface="Arial"/>
              </a:rPr>
              <a:t> AI</a:t>
            </a:r>
            <a:endParaRPr kumimoji="0" lang="de-DE" sz="800" i="0" u="none" strike="noStrike" kern="1200" cap="none" spc="0" normalizeH="0" baseline="0" noProof="0">
              <a:ln>
                <a:noFill/>
              </a:ln>
              <a:solidFill>
                <a:schemeClr val="bg1"/>
              </a:solidFill>
              <a:effectLst/>
              <a:uLnTx/>
              <a:uFillTx/>
              <a:latin typeface="Arial"/>
              <a:ea typeface="+mn-ea"/>
              <a:cs typeface="Arial"/>
            </a:endParaRPr>
          </a:p>
          <a:p>
            <a:pPr marL="12700" marR="0" lvl="0" indent="0" algn="l" defTabSz="914400" rtl="0" eaLnBrk="1" fontAlgn="auto" latinLnBrk="0" hangingPunct="1">
              <a:lnSpc>
                <a:spcPct val="100000"/>
              </a:lnSpc>
              <a:spcBef>
                <a:spcPts val="10"/>
              </a:spcBef>
              <a:spcAft>
                <a:spcPts val="0"/>
              </a:spcAft>
              <a:buClrTx/>
              <a:buSzTx/>
              <a:buFontTx/>
              <a:buNone/>
              <a:tabLst/>
              <a:defRPr/>
            </a:pPr>
            <a:r>
              <a:rPr kumimoji="0" lang="de-DE" sz="800" i="0" u="none" strike="noStrike" kern="1200" cap="none" spc="-10" normalizeH="0" baseline="0" noProof="0">
                <a:ln>
                  <a:noFill/>
                </a:ln>
                <a:solidFill>
                  <a:schemeClr val="bg1"/>
                </a:solidFill>
                <a:effectLst/>
                <a:uLnTx/>
                <a:uFillTx/>
                <a:latin typeface="Arial"/>
                <a:ea typeface="+mn-ea"/>
                <a:cs typeface="Arial"/>
              </a:rPr>
              <a:t>T: </a:t>
            </a:r>
            <a:r>
              <a:rPr kumimoji="0" lang="de-DE" sz="800" i="0" u="none" strike="noStrike" kern="1200" cap="none" spc="0" normalizeH="0" baseline="0" noProof="0">
                <a:ln>
                  <a:noFill/>
                </a:ln>
                <a:solidFill>
                  <a:schemeClr val="bg1"/>
                </a:solidFill>
                <a:effectLst/>
                <a:uLnTx/>
                <a:uFillTx/>
                <a:latin typeface="Arial"/>
                <a:ea typeface="+mn-ea"/>
                <a:cs typeface="Arial"/>
              </a:rPr>
              <a:t>717-260-4772</a:t>
            </a:r>
          </a:p>
          <a:p>
            <a:pPr marL="12700" marR="0" lvl="0" indent="0" algn="l" defTabSz="914400" rtl="0" eaLnBrk="1" fontAlgn="auto" latinLnBrk="0" hangingPunct="1">
              <a:lnSpc>
                <a:spcPct val="100000"/>
              </a:lnSpc>
              <a:spcBef>
                <a:spcPts val="10"/>
              </a:spcBef>
              <a:spcAft>
                <a:spcPts val="0"/>
              </a:spcAft>
              <a:buClrTx/>
              <a:buSzTx/>
              <a:buFontTx/>
              <a:buNone/>
              <a:tabLst/>
              <a:defRPr/>
            </a:pPr>
            <a:r>
              <a:rPr kumimoji="0" lang="de-DE" sz="800" i="0" u="none" strike="noStrike" kern="1200" cap="none" spc="0" normalizeH="0" baseline="0" noProof="0">
                <a:ln>
                  <a:noFill/>
                </a:ln>
                <a:solidFill>
                  <a:schemeClr val="bg1"/>
                </a:solidFill>
                <a:effectLst/>
                <a:uLnTx/>
                <a:uFillTx/>
                <a:latin typeface="Arial"/>
                <a:ea typeface="+mn-ea"/>
                <a:cs typeface="Arial"/>
              </a:rPr>
              <a:t>E: </a:t>
            </a:r>
            <a:r>
              <a:rPr kumimoji="0" lang="de-DE" sz="800" i="0" u="none" strike="noStrike" kern="1200" cap="none" spc="0" normalizeH="0" baseline="0" noProof="0">
                <a:ln>
                  <a:noFill/>
                </a:ln>
                <a:solidFill>
                  <a:schemeClr val="bg1"/>
                </a:solidFill>
                <a:effectLst/>
                <a:uLnTx/>
                <a:uFillTx/>
                <a:latin typeface="Arial"/>
                <a:ea typeface="+mn-ea"/>
                <a:cs typeface="Arial"/>
                <a:hlinkClick r:id="rId13">
                  <a:extLst>
                    <a:ext uri="{A12FA001-AC4F-418D-AE19-62706E023703}">
                      <ahyp:hlinkClr xmlns:ahyp="http://schemas.microsoft.com/office/drawing/2018/hyperlinkcolor" val="tx"/>
                    </a:ext>
                  </a:extLst>
                </a:hlinkClick>
              </a:rPr>
              <a:t>katieboswell@kpmg.com</a:t>
            </a:r>
            <a:r>
              <a:rPr kumimoji="0" lang="de-DE" sz="800" i="0" u="none" strike="noStrike" kern="1200" cap="none" spc="0" normalizeH="0" baseline="0" noProof="0">
                <a:ln>
                  <a:noFill/>
                </a:ln>
                <a:solidFill>
                  <a:schemeClr val="bg1"/>
                </a:solidFill>
                <a:effectLst/>
                <a:uLnTx/>
                <a:uFillTx/>
                <a:latin typeface="Arial"/>
                <a:ea typeface="+mn-ea"/>
                <a:cs typeface="Arial"/>
              </a:rPr>
              <a:t> </a:t>
            </a:r>
          </a:p>
        </p:txBody>
      </p:sp>
      <p:pic>
        <p:nvPicPr>
          <p:cNvPr id="34" name="Picture 33" descr="A person wearing glasses and a black shirt&#10;&#10;AI-generated content may be incorrect.">
            <a:extLst>
              <a:ext uri="{FF2B5EF4-FFF2-40B4-BE49-F238E27FC236}">
                <a16:creationId xmlns:a16="http://schemas.microsoft.com/office/drawing/2014/main" id="{299947E1-DEFF-669C-7827-ABCA766E523F}"/>
              </a:ext>
            </a:extLst>
          </p:cNvPr>
          <p:cNvPicPr>
            <a:picLocks/>
          </p:cNvPicPr>
          <p:nvPr/>
        </p:nvPicPr>
        <p:blipFill>
          <a:blip r:embed="rId14">
            <a:extLst>
              <a:ext uri="{28A0092B-C50C-407E-A947-70E740481C1C}">
                <a14:useLocalDpi xmlns:a14="http://schemas.microsoft.com/office/drawing/2010/main" val="0"/>
              </a:ext>
            </a:extLst>
          </a:blip>
          <a:srcRect r="5303"/>
          <a:stretch>
            <a:fillRect/>
          </a:stretch>
        </p:blipFill>
        <p:spPr>
          <a:xfrm>
            <a:off x="6378666" y="431801"/>
            <a:ext cx="754031" cy="792156"/>
          </a:xfrm>
          <a:prstGeom prst="rect">
            <a:avLst/>
          </a:prstGeom>
        </p:spPr>
      </p:pic>
      <p:sp>
        <p:nvSpPr>
          <p:cNvPr id="40" name="object 26">
            <a:extLst>
              <a:ext uri="{FF2B5EF4-FFF2-40B4-BE49-F238E27FC236}">
                <a16:creationId xmlns:a16="http://schemas.microsoft.com/office/drawing/2014/main" id="{F1C806C9-0BEE-C57A-6054-7CE97099A740}"/>
              </a:ext>
            </a:extLst>
          </p:cNvPr>
          <p:cNvSpPr txBox="1"/>
          <p:nvPr/>
        </p:nvSpPr>
        <p:spPr>
          <a:xfrm>
            <a:off x="3359207" y="2907485"/>
            <a:ext cx="1337819" cy="767518"/>
          </a:xfrm>
          <a:prstGeom prst="rect">
            <a:avLst/>
          </a:prstGeom>
        </p:spPr>
        <p:txBody>
          <a:bodyPr vert="horz" wrap="square" lIns="0" tIns="13335" rIns="0" bIns="0" rtlCol="0">
            <a:spAutoFit/>
          </a:bodyPr>
          <a:lstStyle/>
          <a:p>
            <a:pPr marL="12700">
              <a:spcBef>
                <a:spcPts val="105"/>
              </a:spcBef>
              <a:defRPr/>
            </a:pPr>
            <a:r>
              <a:rPr lang="en-US" sz="900" b="1" spc="-5">
                <a:solidFill>
                  <a:schemeClr val="bg1"/>
                </a:solidFill>
                <a:latin typeface="Arial"/>
                <a:cs typeface="Arial"/>
              </a:rPr>
              <a:t>Ryan Tuggle</a:t>
            </a:r>
            <a:endParaRPr sz="900" b="1" spc="-5">
              <a:solidFill>
                <a:schemeClr val="bg1"/>
              </a:solidFill>
              <a:latin typeface="Arial"/>
              <a:cs typeface="Arial"/>
            </a:endParaRPr>
          </a:p>
          <a:p>
            <a:pPr marL="12700" marR="0" lvl="0" indent="0" algn="l" defTabSz="914400" rtl="0" eaLnBrk="1" fontAlgn="auto" latinLnBrk="0" hangingPunct="1">
              <a:lnSpc>
                <a:spcPct val="100000"/>
              </a:lnSpc>
              <a:spcBef>
                <a:spcPts val="15"/>
              </a:spcBef>
              <a:spcAft>
                <a:spcPts val="0"/>
              </a:spcAft>
              <a:buClrTx/>
              <a:buSzTx/>
              <a:buFontTx/>
              <a:buNone/>
              <a:tabLst/>
              <a:defRPr/>
            </a:pPr>
            <a:r>
              <a:rPr kumimoji="0" lang="en-US" sz="800" i="0" u="none" strike="noStrike" kern="1200" cap="none" spc="-5" normalizeH="0" baseline="0" noProof="0">
                <a:ln>
                  <a:noFill/>
                </a:ln>
                <a:solidFill>
                  <a:schemeClr val="bg1"/>
                </a:solidFill>
                <a:effectLst/>
                <a:uLnTx/>
                <a:uFillTx/>
                <a:latin typeface="Arial"/>
                <a:ea typeface="+mn-ea"/>
                <a:cs typeface="Arial"/>
              </a:rPr>
              <a:t>Managing Director,</a:t>
            </a:r>
            <a:r>
              <a:rPr kumimoji="0" lang="en-US" sz="800" i="0" u="none" strike="noStrike" kern="1200" cap="none" spc="-85" normalizeH="0" baseline="0" noProof="0">
                <a:ln>
                  <a:noFill/>
                </a:ln>
                <a:solidFill>
                  <a:schemeClr val="bg1"/>
                </a:solidFill>
                <a:effectLst/>
                <a:uLnTx/>
                <a:uFillTx/>
                <a:latin typeface="Arial"/>
                <a:ea typeface="+mn-ea"/>
                <a:cs typeface="Arial"/>
              </a:rPr>
              <a:t> </a:t>
            </a:r>
            <a:r>
              <a:rPr kumimoji="0" lang="en-US" sz="800" i="0" u="none" strike="noStrike" kern="1200" cap="none" spc="-5" normalizeH="0" baseline="0" noProof="0">
                <a:ln>
                  <a:noFill/>
                </a:ln>
                <a:solidFill>
                  <a:schemeClr val="bg1"/>
                </a:solidFill>
                <a:effectLst/>
                <a:uLnTx/>
                <a:uFillTx/>
                <a:latin typeface="Arial"/>
                <a:ea typeface="+mn-ea"/>
                <a:cs typeface="Arial"/>
              </a:rPr>
              <a:t>App Services &amp; Emerging Platforms</a:t>
            </a:r>
            <a:endParaRPr kumimoji="0" lang="de-DE" sz="800" i="0" u="none" strike="noStrike" kern="1200" cap="none" spc="0" normalizeH="0" baseline="0" noProof="0">
              <a:ln>
                <a:noFill/>
              </a:ln>
              <a:solidFill>
                <a:schemeClr val="bg1"/>
              </a:solidFill>
              <a:effectLst/>
              <a:uLnTx/>
              <a:uFillTx/>
              <a:latin typeface="Arial"/>
              <a:ea typeface="+mn-ea"/>
              <a:cs typeface="Arial"/>
            </a:endParaRPr>
          </a:p>
          <a:p>
            <a:pPr marL="12700" marR="0" lvl="0" indent="0" algn="l" defTabSz="914400" rtl="0" eaLnBrk="1" fontAlgn="auto" latinLnBrk="0" hangingPunct="1">
              <a:lnSpc>
                <a:spcPct val="100000"/>
              </a:lnSpc>
              <a:spcBef>
                <a:spcPts val="10"/>
              </a:spcBef>
              <a:spcAft>
                <a:spcPts val="0"/>
              </a:spcAft>
              <a:buClrTx/>
              <a:buSzTx/>
              <a:buFontTx/>
              <a:buNone/>
              <a:tabLst/>
              <a:defRPr/>
            </a:pPr>
            <a:r>
              <a:rPr kumimoji="0" lang="de-DE" sz="800" i="0" u="none" strike="noStrike" kern="1200" cap="none" spc="-10" normalizeH="0" baseline="0" noProof="0">
                <a:ln>
                  <a:noFill/>
                </a:ln>
                <a:solidFill>
                  <a:schemeClr val="bg1"/>
                </a:solidFill>
                <a:effectLst/>
                <a:uLnTx/>
                <a:uFillTx/>
                <a:latin typeface="Arial"/>
                <a:ea typeface="+mn-ea"/>
                <a:cs typeface="Arial"/>
              </a:rPr>
              <a:t>T: </a:t>
            </a:r>
            <a:r>
              <a:rPr kumimoji="0" lang="de-DE" sz="800" i="0" u="none" strike="noStrike" kern="1200" cap="none" spc="0" normalizeH="0" baseline="0" noProof="0">
                <a:ln>
                  <a:noFill/>
                </a:ln>
                <a:solidFill>
                  <a:schemeClr val="bg1"/>
                </a:solidFill>
                <a:effectLst/>
                <a:uLnTx/>
                <a:uFillTx/>
                <a:latin typeface="Arial"/>
                <a:ea typeface="+mn-ea"/>
                <a:cs typeface="Arial"/>
              </a:rPr>
              <a:t>703-286-6839</a:t>
            </a:r>
          </a:p>
          <a:p>
            <a:pPr marL="12700" marR="0" lvl="0" indent="0" algn="l" defTabSz="914400" rtl="0" eaLnBrk="1" fontAlgn="auto" latinLnBrk="0" hangingPunct="1">
              <a:lnSpc>
                <a:spcPct val="100000"/>
              </a:lnSpc>
              <a:spcBef>
                <a:spcPts val="10"/>
              </a:spcBef>
              <a:spcAft>
                <a:spcPts val="0"/>
              </a:spcAft>
              <a:buClrTx/>
              <a:buSzTx/>
              <a:buFontTx/>
              <a:buNone/>
              <a:tabLst/>
              <a:defRPr/>
            </a:pPr>
            <a:r>
              <a:rPr kumimoji="0" lang="de-DE" sz="800" i="0" u="none" strike="noStrike" kern="1200" cap="none" spc="0" normalizeH="0" baseline="0" noProof="0">
                <a:ln>
                  <a:noFill/>
                </a:ln>
                <a:solidFill>
                  <a:schemeClr val="bg1"/>
                </a:solidFill>
                <a:effectLst/>
                <a:uLnTx/>
                <a:uFillTx/>
                <a:latin typeface="Arial"/>
                <a:ea typeface="+mn-ea"/>
                <a:cs typeface="Arial"/>
              </a:rPr>
              <a:t>E: </a:t>
            </a:r>
            <a:r>
              <a:rPr kumimoji="0" lang="de-DE" sz="800" i="0" u="none" strike="noStrike" kern="1200" cap="none" spc="0" normalizeH="0" baseline="0" noProof="0">
                <a:ln>
                  <a:noFill/>
                </a:ln>
                <a:solidFill>
                  <a:schemeClr val="bg1"/>
                </a:solidFill>
                <a:effectLst/>
                <a:uLnTx/>
                <a:uFillTx/>
                <a:latin typeface="Arial"/>
                <a:ea typeface="+mn-ea"/>
                <a:cs typeface="Arial"/>
                <a:hlinkClick r:id="rId15">
                  <a:extLst>
                    <a:ext uri="{A12FA001-AC4F-418D-AE19-62706E023703}">
                      <ahyp:hlinkClr xmlns:ahyp="http://schemas.microsoft.com/office/drawing/2018/hyperlinkcolor" val="tx"/>
                    </a:ext>
                  </a:extLst>
                </a:hlinkClick>
              </a:rPr>
              <a:t>rtuggle@KPMG.com</a:t>
            </a:r>
            <a:r>
              <a:rPr kumimoji="0" lang="de-DE" sz="800" i="0" u="none" strike="noStrike" kern="1200" cap="none" spc="0" normalizeH="0" baseline="0" noProof="0">
                <a:ln>
                  <a:noFill/>
                </a:ln>
                <a:solidFill>
                  <a:schemeClr val="bg1"/>
                </a:solidFill>
                <a:effectLst/>
                <a:uLnTx/>
                <a:uFillTx/>
                <a:latin typeface="Arial"/>
                <a:ea typeface="+mn-ea"/>
                <a:cs typeface="Arial"/>
              </a:rPr>
              <a:t> </a:t>
            </a:r>
          </a:p>
        </p:txBody>
      </p:sp>
      <p:pic>
        <p:nvPicPr>
          <p:cNvPr id="41" name="Picture 2">
            <a:extLst>
              <a:ext uri="{FF2B5EF4-FFF2-40B4-BE49-F238E27FC236}">
                <a16:creationId xmlns:a16="http://schemas.microsoft.com/office/drawing/2014/main" id="{8A485379-D813-1610-E2C3-837155C503C7}"/>
              </a:ext>
            </a:extLst>
          </p:cNvPr>
          <p:cNvPicPr>
            <a:picLocks noChangeArrowheads="1"/>
          </p:cNvPicPr>
          <p:nvPr/>
        </p:nvPicPr>
        <p:blipFill rotWithShape="1">
          <a:blip r:embed="rId16">
            <a:extLst>
              <a:ext uri="{28A0092B-C50C-407E-A947-70E740481C1C}">
                <a14:useLocalDpi xmlns:a14="http://schemas.microsoft.com/office/drawing/2010/main" val="0"/>
              </a:ext>
            </a:extLst>
          </a:blip>
          <a:srcRect t="5159" b="7387"/>
          <a:stretch>
            <a:fillRect/>
          </a:stretch>
        </p:blipFill>
        <p:spPr bwMode="auto">
          <a:xfrm>
            <a:off x="3359207" y="2080535"/>
            <a:ext cx="754031" cy="792156"/>
          </a:xfrm>
          <a:prstGeom prst="rect">
            <a:avLst/>
          </a:prstGeom>
          <a:noFill/>
          <a:extLst>
            <a:ext uri="{909E8E84-426E-40DD-AFC4-6F175D3DCCD1}">
              <a14:hiddenFill xmlns:a14="http://schemas.microsoft.com/office/drawing/2010/main">
                <a:solidFill>
                  <a:srgbClr val="FFFFFF"/>
                </a:solidFill>
              </a14:hiddenFill>
            </a:ext>
          </a:extLst>
        </p:spPr>
      </p:pic>
      <p:sp>
        <p:nvSpPr>
          <p:cNvPr id="42" name="object 26">
            <a:extLst>
              <a:ext uri="{FF2B5EF4-FFF2-40B4-BE49-F238E27FC236}">
                <a16:creationId xmlns:a16="http://schemas.microsoft.com/office/drawing/2014/main" id="{093702B8-4C44-C7EA-D308-F15A97E5A0D7}"/>
              </a:ext>
            </a:extLst>
          </p:cNvPr>
          <p:cNvSpPr txBox="1"/>
          <p:nvPr/>
        </p:nvSpPr>
        <p:spPr>
          <a:xfrm>
            <a:off x="4851309" y="1253867"/>
            <a:ext cx="1337819" cy="644407"/>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900" b="1" i="0" u="none" strike="noStrike" kern="1200" cap="none" spc="-5" normalizeH="0" baseline="0" noProof="0">
                <a:ln>
                  <a:noFill/>
                </a:ln>
                <a:solidFill>
                  <a:schemeClr val="bg1"/>
                </a:solidFill>
                <a:effectLst/>
                <a:uLnTx/>
                <a:uFillTx/>
                <a:latin typeface="Arial"/>
                <a:ea typeface="+mn-ea"/>
                <a:cs typeface="Arial"/>
              </a:rPr>
              <a:t>Adam White</a:t>
            </a:r>
            <a:endParaRPr kumimoji="0" sz="900" b="1" i="0" u="none" strike="noStrike" kern="1200" cap="none" spc="0" normalizeH="0" baseline="0" noProof="0">
              <a:ln>
                <a:noFill/>
              </a:ln>
              <a:solidFill>
                <a:schemeClr val="bg1"/>
              </a:solidFill>
              <a:effectLst/>
              <a:uLnTx/>
              <a:uFillTx/>
              <a:latin typeface="Arial"/>
              <a:ea typeface="+mn-ea"/>
              <a:cs typeface="Arial"/>
            </a:endParaRPr>
          </a:p>
          <a:p>
            <a:pPr marL="12700" marR="0" lvl="0" indent="0" algn="l" defTabSz="914400" rtl="0" eaLnBrk="1" fontAlgn="auto" latinLnBrk="0" hangingPunct="1">
              <a:lnSpc>
                <a:spcPct val="100000"/>
              </a:lnSpc>
              <a:spcBef>
                <a:spcPts val="15"/>
              </a:spcBef>
              <a:spcAft>
                <a:spcPts val="0"/>
              </a:spcAft>
              <a:buClrTx/>
              <a:buSzTx/>
              <a:buFontTx/>
              <a:buNone/>
              <a:tabLst/>
              <a:defRPr/>
            </a:pPr>
            <a:r>
              <a:rPr kumimoji="0" lang="en-US" sz="800" i="0" u="none" strike="noStrike" kern="1200" cap="none" spc="-5" normalizeH="0" baseline="0" noProof="0">
                <a:ln>
                  <a:noFill/>
                </a:ln>
                <a:solidFill>
                  <a:schemeClr val="bg1"/>
                </a:solidFill>
                <a:effectLst/>
                <a:uLnTx/>
                <a:uFillTx/>
                <a:latin typeface="Arial"/>
                <a:ea typeface="+mn-ea"/>
                <a:cs typeface="Arial"/>
              </a:rPr>
              <a:t>Managing Director,</a:t>
            </a:r>
            <a:r>
              <a:rPr kumimoji="0" lang="en-US" sz="800" i="0" u="none" strike="noStrike" kern="1200" cap="none" spc="-85" normalizeH="0" baseline="0" noProof="0">
                <a:ln>
                  <a:noFill/>
                </a:ln>
                <a:solidFill>
                  <a:schemeClr val="bg1"/>
                </a:solidFill>
                <a:effectLst/>
                <a:uLnTx/>
                <a:uFillTx/>
                <a:latin typeface="Arial"/>
                <a:ea typeface="+mn-ea"/>
                <a:cs typeface="Arial"/>
              </a:rPr>
              <a:t> </a:t>
            </a:r>
            <a:r>
              <a:rPr kumimoji="0" lang="en-US" sz="800" i="0" u="none" strike="noStrike" kern="1200" cap="none" spc="-5" normalizeH="0" baseline="0" noProof="0">
                <a:ln>
                  <a:noFill/>
                </a:ln>
                <a:solidFill>
                  <a:schemeClr val="bg1"/>
                </a:solidFill>
                <a:effectLst/>
                <a:uLnTx/>
                <a:uFillTx/>
                <a:latin typeface="Arial"/>
                <a:ea typeface="+mn-ea"/>
                <a:cs typeface="Arial"/>
              </a:rPr>
              <a:t>Cybersecurity &amp; Tech Risk</a:t>
            </a:r>
            <a:endParaRPr kumimoji="0" lang="de-DE" sz="800" i="0" u="none" strike="noStrike" kern="1200" cap="none" spc="0" normalizeH="0" baseline="0" noProof="0">
              <a:ln>
                <a:noFill/>
              </a:ln>
              <a:solidFill>
                <a:schemeClr val="bg1"/>
              </a:solidFill>
              <a:effectLst/>
              <a:uLnTx/>
              <a:uFillTx/>
              <a:latin typeface="Arial"/>
              <a:ea typeface="+mn-ea"/>
              <a:cs typeface="Arial"/>
            </a:endParaRPr>
          </a:p>
          <a:p>
            <a:pPr marL="12700" marR="0" lvl="0" indent="0" algn="l" defTabSz="914400" rtl="0" eaLnBrk="1" fontAlgn="auto" latinLnBrk="0" hangingPunct="1">
              <a:lnSpc>
                <a:spcPct val="100000"/>
              </a:lnSpc>
              <a:spcBef>
                <a:spcPts val="10"/>
              </a:spcBef>
              <a:spcAft>
                <a:spcPts val="0"/>
              </a:spcAft>
              <a:buClrTx/>
              <a:buSzTx/>
              <a:buFontTx/>
              <a:buNone/>
              <a:tabLst/>
              <a:defRPr/>
            </a:pPr>
            <a:r>
              <a:rPr kumimoji="0" lang="de-DE" sz="800" i="0" u="none" strike="noStrike" kern="1200" cap="none" spc="-10" normalizeH="0" baseline="0" noProof="0">
                <a:ln>
                  <a:noFill/>
                </a:ln>
                <a:solidFill>
                  <a:schemeClr val="bg1"/>
                </a:solidFill>
                <a:effectLst/>
                <a:uLnTx/>
                <a:uFillTx/>
                <a:latin typeface="Arial"/>
                <a:ea typeface="+mn-ea"/>
                <a:cs typeface="Arial"/>
              </a:rPr>
              <a:t>T: </a:t>
            </a:r>
            <a:r>
              <a:rPr kumimoji="0" lang="de-DE" sz="800" i="0" u="none" strike="noStrike" kern="1200" cap="none" spc="0" normalizeH="0" baseline="0" noProof="0">
                <a:ln>
                  <a:noFill/>
                </a:ln>
                <a:solidFill>
                  <a:schemeClr val="bg1"/>
                </a:solidFill>
                <a:effectLst/>
                <a:uLnTx/>
                <a:uFillTx/>
                <a:latin typeface="Arial"/>
                <a:ea typeface="+mn-ea"/>
                <a:cs typeface="Arial"/>
              </a:rPr>
              <a:t>949-885-5583</a:t>
            </a:r>
          </a:p>
          <a:p>
            <a:pPr marL="12700" marR="0" lvl="0" indent="0" algn="l" defTabSz="914400" rtl="0" eaLnBrk="1" fontAlgn="auto" latinLnBrk="0" hangingPunct="1">
              <a:lnSpc>
                <a:spcPct val="100000"/>
              </a:lnSpc>
              <a:spcBef>
                <a:spcPts val="10"/>
              </a:spcBef>
              <a:spcAft>
                <a:spcPts val="0"/>
              </a:spcAft>
              <a:buClrTx/>
              <a:buSzTx/>
              <a:buFontTx/>
              <a:buNone/>
              <a:tabLst/>
              <a:defRPr/>
            </a:pPr>
            <a:r>
              <a:rPr kumimoji="0" lang="de-DE" sz="800" i="0" u="none" strike="noStrike" kern="1200" cap="none" spc="0" normalizeH="0" baseline="0" noProof="0">
                <a:ln>
                  <a:noFill/>
                </a:ln>
                <a:solidFill>
                  <a:schemeClr val="bg1"/>
                </a:solidFill>
                <a:effectLst/>
                <a:uLnTx/>
                <a:uFillTx/>
                <a:latin typeface="Arial"/>
                <a:ea typeface="+mn-ea"/>
                <a:cs typeface="Arial"/>
              </a:rPr>
              <a:t>E: </a:t>
            </a:r>
            <a:r>
              <a:rPr kumimoji="0" lang="de-DE" sz="800" i="0" u="none" strike="noStrike" kern="1200" cap="none" spc="0" normalizeH="0" baseline="0" noProof="0">
                <a:ln>
                  <a:noFill/>
                </a:ln>
                <a:solidFill>
                  <a:schemeClr val="bg1"/>
                </a:solidFill>
                <a:effectLst/>
                <a:uLnTx/>
                <a:uFillTx/>
                <a:latin typeface="Arial"/>
                <a:ea typeface="+mn-ea"/>
                <a:cs typeface="Arial"/>
                <a:hlinkClick r:id="rId17">
                  <a:extLst>
                    <a:ext uri="{A12FA001-AC4F-418D-AE19-62706E023703}">
                      <ahyp:hlinkClr xmlns:ahyp="http://schemas.microsoft.com/office/drawing/2018/hyperlinkcolor" val="tx"/>
                    </a:ext>
                  </a:extLst>
                </a:hlinkClick>
              </a:rPr>
              <a:t>arwhite@KPMG.com</a:t>
            </a:r>
            <a:r>
              <a:rPr kumimoji="0" lang="de-DE" sz="800" i="0" u="none" strike="noStrike" kern="1200" cap="none" spc="0" normalizeH="0" baseline="0" noProof="0">
                <a:ln>
                  <a:noFill/>
                </a:ln>
                <a:solidFill>
                  <a:schemeClr val="bg1"/>
                </a:solidFill>
                <a:effectLst/>
                <a:uLnTx/>
                <a:uFillTx/>
                <a:latin typeface="Arial"/>
                <a:ea typeface="+mn-ea"/>
                <a:cs typeface="Arial"/>
              </a:rPr>
              <a:t> </a:t>
            </a:r>
          </a:p>
        </p:txBody>
      </p:sp>
      <p:pic>
        <p:nvPicPr>
          <p:cNvPr id="43" name="Picture 42">
            <a:extLst>
              <a:ext uri="{FF2B5EF4-FFF2-40B4-BE49-F238E27FC236}">
                <a16:creationId xmlns:a16="http://schemas.microsoft.com/office/drawing/2014/main" id="{339D5ABD-B4DC-E594-2749-3C0D20E5EEA3}"/>
              </a:ext>
            </a:extLst>
          </p:cNvPr>
          <p:cNvPicPr>
            <a:picLocks/>
          </p:cNvPicPr>
          <p:nvPr/>
        </p:nvPicPr>
        <p:blipFill>
          <a:blip r:embed="rId18">
            <a:extLst>
              <a:ext uri="{28A0092B-C50C-407E-A947-70E740481C1C}">
                <a14:useLocalDpi xmlns:a14="http://schemas.microsoft.com/office/drawing/2010/main" val="0"/>
              </a:ext>
            </a:extLst>
          </a:blip>
          <a:srcRect t="2622" b="2622"/>
          <a:stretch/>
        </p:blipFill>
        <p:spPr>
          <a:xfrm>
            <a:off x="4851309" y="431801"/>
            <a:ext cx="754031" cy="792156"/>
          </a:xfrm>
          <a:prstGeom prst="rect">
            <a:avLst/>
          </a:prstGeom>
        </p:spPr>
      </p:pic>
      <p:sp>
        <p:nvSpPr>
          <p:cNvPr id="52" name="object 26">
            <a:extLst>
              <a:ext uri="{FF2B5EF4-FFF2-40B4-BE49-F238E27FC236}">
                <a16:creationId xmlns:a16="http://schemas.microsoft.com/office/drawing/2014/main" id="{24BB8196-D576-16F4-86D9-5E5CB9180957}"/>
              </a:ext>
            </a:extLst>
          </p:cNvPr>
          <p:cNvSpPr txBox="1"/>
          <p:nvPr/>
        </p:nvSpPr>
        <p:spPr>
          <a:xfrm>
            <a:off x="4851309" y="2907485"/>
            <a:ext cx="1337818" cy="644407"/>
          </a:xfrm>
          <a:prstGeom prst="rect">
            <a:avLst/>
          </a:prstGeom>
        </p:spPr>
        <p:txBody>
          <a:bodyPr vert="horz" wrap="square" lIns="0" tIns="13335" rIns="0" bIns="0" rtlCol="0">
            <a:spAutoFit/>
          </a:bodyPr>
          <a:lstStyle/>
          <a:p>
            <a:pPr marL="12700">
              <a:spcBef>
                <a:spcPts val="105"/>
              </a:spcBef>
              <a:defRPr/>
            </a:pPr>
            <a:r>
              <a:rPr lang="en-US" sz="900" b="1" spc="-5">
                <a:solidFill>
                  <a:schemeClr val="bg1"/>
                </a:solidFill>
                <a:latin typeface="Arial"/>
                <a:cs typeface="Arial"/>
              </a:rPr>
              <a:t>Mark Muto</a:t>
            </a:r>
            <a:endParaRPr sz="900" b="1" spc="-5">
              <a:solidFill>
                <a:schemeClr val="bg1"/>
              </a:solidFill>
              <a:latin typeface="Arial"/>
              <a:cs typeface="Arial"/>
            </a:endParaRPr>
          </a:p>
          <a:p>
            <a:pPr marL="12700" marR="0" lvl="0" indent="0" algn="l" defTabSz="914400" rtl="0" eaLnBrk="1" fontAlgn="auto" latinLnBrk="0" hangingPunct="1">
              <a:lnSpc>
                <a:spcPct val="100000"/>
              </a:lnSpc>
              <a:spcBef>
                <a:spcPts val="15"/>
              </a:spcBef>
              <a:spcAft>
                <a:spcPts val="0"/>
              </a:spcAft>
              <a:buClrTx/>
              <a:buSzTx/>
              <a:buFontTx/>
              <a:buNone/>
              <a:tabLst/>
              <a:defRPr/>
            </a:pPr>
            <a:r>
              <a:rPr kumimoji="0" lang="en-US" sz="800" i="0" u="none" strike="noStrike" kern="1200" cap="none" spc="-5" normalizeH="0" baseline="0" noProof="0">
                <a:ln>
                  <a:noFill/>
                </a:ln>
                <a:solidFill>
                  <a:schemeClr val="bg1"/>
                </a:solidFill>
                <a:effectLst/>
                <a:uLnTx/>
                <a:uFillTx/>
                <a:latin typeface="Arial"/>
                <a:ea typeface="+mn-ea"/>
                <a:cs typeface="Arial"/>
              </a:rPr>
              <a:t>Director,</a:t>
            </a:r>
            <a:r>
              <a:rPr kumimoji="0" lang="en-US" sz="800" i="0" u="none" strike="noStrike" kern="1200" cap="none" spc="-85" normalizeH="0" baseline="0" noProof="0">
                <a:ln>
                  <a:noFill/>
                </a:ln>
                <a:solidFill>
                  <a:schemeClr val="bg1"/>
                </a:solidFill>
                <a:effectLst/>
                <a:uLnTx/>
                <a:uFillTx/>
                <a:latin typeface="Arial"/>
                <a:ea typeface="+mn-ea"/>
                <a:cs typeface="Arial"/>
              </a:rPr>
              <a:t> </a:t>
            </a:r>
            <a:r>
              <a:rPr kumimoji="0" lang="en-US" sz="800" i="0" u="none" strike="noStrike" kern="1200" cap="none" spc="-5" normalizeH="0" baseline="0" noProof="0">
                <a:ln>
                  <a:noFill/>
                </a:ln>
                <a:solidFill>
                  <a:schemeClr val="bg1"/>
                </a:solidFill>
                <a:effectLst/>
                <a:uLnTx/>
                <a:uFillTx/>
                <a:latin typeface="Arial"/>
                <a:ea typeface="+mn-ea"/>
                <a:cs typeface="Arial"/>
              </a:rPr>
              <a:t>Cybersecurity &amp; Tech Risk</a:t>
            </a:r>
            <a:endParaRPr kumimoji="0" lang="de-DE" sz="800" i="0" u="none" strike="noStrike" kern="1200" cap="none" spc="0" normalizeH="0" baseline="0" noProof="0">
              <a:ln>
                <a:noFill/>
              </a:ln>
              <a:solidFill>
                <a:schemeClr val="bg1"/>
              </a:solidFill>
              <a:effectLst/>
              <a:uLnTx/>
              <a:uFillTx/>
              <a:latin typeface="Arial"/>
              <a:ea typeface="+mn-ea"/>
              <a:cs typeface="Arial"/>
            </a:endParaRPr>
          </a:p>
          <a:p>
            <a:pPr marL="12700" marR="0" lvl="0" indent="0" algn="l" defTabSz="914400" rtl="0" eaLnBrk="1" fontAlgn="auto" latinLnBrk="0" hangingPunct="1">
              <a:lnSpc>
                <a:spcPct val="100000"/>
              </a:lnSpc>
              <a:spcBef>
                <a:spcPts val="10"/>
              </a:spcBef>
              <a:spcAft>
                <a:spcPts val="0"/>
              </a:spcAft>
              <a:buClrTx/>
              <a:buSzTx/>
              <a:buFontTx/>
              <a:buNone/>
              <a:tabLst/>
              <a:defRPr/>
            </a:pPr>
            <a:r>
              <a:rPr kumimoji="0" lang="de-DE" sz="800" i="0" u="none" strike="noStrike" kern="1200" cap="none" spc="-10" normalizeH="0" baseline="0" noProof="0">
                <a:ln>
                  <a:noFill/>
                </a:ln>
                <a:solidFill>
                  <a:schemeClr val="bg1"/>
                </a:solidFill>
                <a:effectLst/>
                <a:uLnTx/>
                <a:uFillTx/>
                <a:latin typeface="Arial"/>
                <a:ea typeface="+mn-ea"/>
                <a:cs typeface="Arial"/>
              </a:rPr>
              <a:t>T: 215-578-6170</a:t>
            </a:r>
          </a:p>
          <a:p>
            <a:pPr marL="12700" marR="0" lvl="0" indent="0" algn="l" defTabSz="914400" rtl="0" eaLnBrk="1" fontAlgn="auto" latinLnBrk="0" hangingPunct="1">
              <a:lnSpc>
                <a:spcPct val="100000"/>
              </a:lnSpc>
              <a:spcBef>
                <a:spcPts val="10"/>
              </a:spcBef>
              <a:spcAft>
                <a:spcPts val="0"/>
              </a:spcAft>
              <a:buClrTx/>
              <a:buSzTx/>
              <a:buFontTx/>
              <a:buNone/>
              <a:tabLst/>
              <a:defRPr/>
            </a:pPr>
            <a:r>
              <a:rPr kumimoji="0" lang="de-DE" sz="800" i="0" u="none" strike="noStrike" kern="1200" cap="none" spc="0" normalizeH="0" baseline="0" noProof="0">
                <a:ln>
                  <a:noFill/>
                </a:ln>
                <a:solidFill>
                  <a:schemeClr val="bg1"/>
                </a:solidFill>
                <a:effectLst/>
                <a:uLnTx/>
                <a:uFillTx/>
                <a:latin typeface="Arial"/>
                <a:ea typeface="+mn-ea"/>
                <a:cs typeface="Arial"/>
              </a:rPr>
              <a:t>E: </a:t>
            </a:r>
            <a:r>
              <a:rPr kumimoji="0" lang="de-DE" sz="800" i="0" u="none" strike="noStrike" kern="1200" cap="none" spc="0" normalizeH="0" baseline="0" noProof="0">
                <a:ln>
                  <a:noFill/>
                </a:ln>
                <a:solidFill>
                  <a:schemeClr val="bg1"/>
                </a:solidFill>
                <a:effectLst/>
                <a:uLnTx/>
                <a:uFillTx/>
                <a:latin typeface="Arial"/>
                <a:ea typeface="+mn-ea"/>
                <a:cs typeface="Arial"/>
                <a:hlinkClick r:id="rId19">
                  <a:extLst>
                    <a:ext uri="{A12FA001-AC4F-418D-AE19-62706E023703}">
                      <ahyp:hlinkClr xmlns:ahyp="http://schemas.microsoft.com/office/drawing/2018/hyperlinkcolor" val="tx"/>
                    </a:ext>
                  </a:extLst>
                </a:hlinkClick>
              </a:rPr>
              <a:t>markmuto@KPMG.com</a:t>
            </a:r>
            <a:r>
              <a:rPr kumimoji="0" lang="de-DE" sz="800" i="0" u="none" strike="noStrike" kern="1200" cap="none" spc="0" normalizeH="0" baseline="0" noProof="0">
                <a:ln>
                  <a:noFill/>
                </a:ln>
                <a:solidFill>
                  <a:schemeClr val="bg1"/>
                </a:solidFill>
                <a:effectLst/>
                <a:uLnTx/>
                <a:uFillTx/>
                <a:latin typeface="Arial"/>
                <a:ea typeface="+mn-ea"/>
                <a:cs typeface="Arial"/>
              </a:rPr>
              <a:t> </a:t>
            </a:r>
          </a:p>
        </p:txBody>
      </p:sp>
      <p:pic>
        <p:nvPicPr>
          <p:cNvPr id="54" name="Picture 4" descr="mark muto">
            <a:extLst>
              <a:ext uri="{FF2B5EF4-FFF2-40B4-BE49-F238E27FC236}">
                <a16:creationId xmlns:a16="http://schemas.microsoft.com/office/drawing/2014/main" id="{7CF88750-1614-BAC8-2431-3DA1E6FE557D}"/>
              </a:ext>
            </a:extLst>
          </p:cNvPr>
          <p:cNvPicPr>
            <a:picLocks noChangeArrowheads="1"/>
          </p:cNvPicPr>
          <p:nvPr/>
        </p:nvPicPr>
        <p:blipFill rotWithShape="1">
          <a:blip r:embed="rId20">
            <a:extLst>
              <a:ext uri="{28A0092B-C50C-407E-A947-70E740481C1C}">
                <a14:useLocalDpi xmlns:a14="http://schemas.microsoft.com/office/drawing/2010/main" val="0"/>
              </a:ext>
            </a:extLst>
          </a:blip>
          <a:srcRect l="6367" r="7164" b="8801"/>
          <a:stretch>
            <a:fillRect/>
          </a:stretch>
        </p:blipFill>
        <p:spPr bwMode="auto">
          <a:xfrm>
            <a:off x="4851309" y="2080535"/>
            <a:ext cx="754031" cy="792156"/>
          </a:xfrm>
          <a:prstGeom prst="rect">
            <a:avLst/>
          </a:prstGeom>
          <a:noFill/>
          <a:extLst>
            <a:ext uri="{909E8E84-426E-40DD-AFC4-6F175D3DCCD1}">
              <a14:hiddenFill xmlns:a14="http://schemas.microsoft.com/office/drawing/2010/main">
                <a:solidFill>
                  <a:srgbClr val="FFFFFF"/>
                </a:solidFill>
              </a14:hiddenFill>
            </a:ext>
          </a:extLst>
        </p:spPr>
      </p:pic>
      <p:sp>
        <p:nvSpPr>
          <p:cNvPr id="56" name="Title 2">
            <a:extLst>
              <a:ext uri="{FF2B5EF4-FFF2-40B4-BE49-F238E27FC236}">
                <a16:creationId xmlns:a16="http://schemas.microsoft.com/office/drawing/2014/main" id="{3DDB6617-A7AE-5566-C9DA-C03262E4E1A2}"/>
              </a:ext>
            </a:extLst>
          </p:cNvPr>
          <p:cNvSpPr txBox="1">
            <a:spLocks/>
          </p:cNvSpPr>
          <p:nvPr/>
        </p:nvSpPr>
        <p:spPr>
          <a:xfrm>
            <a:off x="995364" y="431800"/>
            <a:ext cx="1020445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400" b="1" i="0" kern="1200">
                <a:solidFill>
                  <a:schemeClr val="bg1"/>
                </a:solidFill>
                <a:latin typeface="KPMG Bold"/>
                <a:ea typeface="+mj-ea"/>
                <a:cs typeface="KPMG Bold"/>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KPMG Bold"/>
                <a:ea typeface="+mj-ea"/>
              </a:rPr>
              <a:t>Contact U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A8A4D38B-A70B-E368-D67D-0B7121FE03C6}"/>
              </a:ext>
            </a:extLst>
          </p:cNvPr>
          <p:cNvGraphicFramePr>
            <a:graphicFrameLocks noChangeAspect="1"/>
          </p:cNvGraphicFramePr>
          <p:nvPr>
            <p:custDataLst>
              <p:tags r:id="rId2"/>
            </p:custDataLst>
            <p:extLst>
              <p:ext uri="{D42A27DB-BD31-4B8C-83A1-F6EECF244321}">
                <p14:modId xmlns:p14="http://schemas.microsoft.com/office/powerpoint/2010/main" val="127474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31" name="think-cell data - do not delete" hidden="1">
                        <a:extLst>
                          <a:ext uri="{FF2B5EF4-FFF2-40B4-BE49-F238E27FC236}">
                            <a16:creationId xmlns:a16="http://schemas.microsoft.com/office/drawing/2014/main" id="{A8A4D38B-A70B-E368-D67D-0B7121FE03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E5D6CB-34B2-46EE-0E4C-BD2DB30EFC2D}"/>
              </a:ext>
            </a:extLst>
          </p:cNvPr>
          <p:cNvSpPr>
            <a:spLocks noGrp="1"/>
          </p:cNvSpPr>
          <p:nvPr>
            <p:ph type="title"/>
          </p:nvPr>
        </p:nvSpPr>
        <p:spPr/>
        <p:txBody>
          <a:bodyPr vert="horz"/>
          <a:lstStyle/>
          <a:p>
            <a:r>
              <a:rPr lang="en-US"/>
              <a:t>With you today</a:t>
            </a:r>
          </a:p>
        </p:txBody>
      </p:sp>
      <p:grpSp>
        <p:nvGrpSpPr>
          <p:cNvPr id="74" name="Group 73">
            <a:extLst>
              <a:ext uri="{FF2B5EF4-FFF2-40B4-BE49-F238E27FC236}">
                <a16:creationId xmlns:a16="http://schemas.microsoft.com/office/drawing/2014/main" id="{D59C7033-265E-D2E3-7DAA-C92F98D9DD4D}"/>
              </a:ext>
            </a:extLst>
          </p:cNvPr>
          <p:cNvGrpSpPr/>
          <p:nvPr/>
        </p:nvGrpSpPr>
        <p:grpSpPr>
          <a:xfrm flipH="1">
            <a:off x="2667634" y="1520956"/>
            <a:ext cx="1036440" cy="1118369"/>
            <a:chOff x="1072326" y="1330325"/>
            <a:chExt cx="938389" cy="1012567"/>
          </a:xfrm>
        </p:grpSpPr>
        <p:sp>
          <p:nvSpPr>
            <p:cNvPr id="76" name="Freeform: Shape 75">
              <a:extLst>
                <a:ext uri="{FF2B5EF4-FFF2-40B4-BE49-F238E27FC236}">
                  <a16:creationId xmlns:a16="http://schemas.microsoft.com/office/drawing/2014/main" id="{4977A3B3-1C56-E196-3DC4-28BDB7D9ECDB}"/>
                </a:ext>
              </a:extLst>
            </p:cNvPr>
            <p:cNvSpPr/>
            <p:nvPr userDrawn="1"/>
          </p:nvSpPr>
          <p:spPr>
            <a:xfrm>
              <a:off x="1747067" y="2082006"/>
              <a:ext cx="220719" cy="218337"/>
            </a:xfrm>
            <a:custGeom>
              <a:avLst/>
              <a:gdLst>
                <a:gd name="connsiteX0" fmla="*/ 290133 w 290133"/>
                <a:gd name="connsiteY0" fmla="*/ 14001 h 287002"/>
                <a:gd name="connsiteX1" fmla="*/ 281521 w 290133"/>
                <a:gd name="connsiteY1" fmla="*/ 1084 h 287002"/>
                <a:gd name="connsiteX2" fmla="*/ 266281 w 290133"/>
                <a:gd name="connsiteY2" fmla="*/ 4051 h 287002"/>
                <a:gd name="connsiteX3" fmla="*/ 4166 w 290133"/>
                <a:gd name="connsiteY3" fmla="*/ 263021 h 287002"/>
                <a:gd name="connsiteX4" fmla="*/ 1053 w 290133"/>
                <a:gd name="connsiteY4" fmla="*/ 278310 h 287002"/>
                <a:gd name="connsiteX5" fmla="*/ 14003 w 290133"/>
                <a:gd name="connsiteY5" fmla="*/ 287002 h 287002"/>
                <a:gd name="connsiteX6" fmla="*/ 276119 w 290133"/>
                <a:gd name="connsiteY6" fmla="*/ 287002 h 287002"/>
                <a:gd name="connsiteX7" fmla="*/ 290133 w 290133"/>
                <a:gd name="connsiteY7" fmla="*/ 272988 h 287002"/>
                <a:gd name="connsiteX8" fmla="*/ 290133 w 290133"/>
                <a:gd name="connsiteY8" fmla="*/ 14018 h 287002"/>
                <a:gd name="connsiteX9" fmla="*/ 290133 w 290133"/>
                <a:gd name="connsiteY9" fmla="*/ 14018 h 287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133" h="287002">
                  <a:moveTo>
                    <a:pt x="290133" y="14001"/>
                  </a:moveTo>
                  <a:cubicBezTo>
                    <a:pt x="290133" y="8357"/>
                    <a:pt x="286746" y="3261"/>
                    <a:pt x="281521" y="1084"/>
                  </a:cubicBezTo>
                  <a:cubicBezTo>
                    <a:pt x="276312" y="-1094"/>
                    <a:pt x="270297" y="67"/>
                    <a:pt x="266281" y="4051"/>
                  </a:cubicBezTo>
                  <a:cubicBezTo>
                    <a:pt x="208642" y="61012"/>
                    <a:pt x="62224" y="205657"/>
                    <a:pt x="4166" y="263021"/>
                  </a:cubicBezTo>
                  <a:cubicBezTo>
                    <a:pt x="118" y="267021"/>
                    <a:pt x="-1108" y="273052"/>
                    <a:pt x="1053" y="278310"/>
                  </a:cubicBezTo>
                  <a:cubicBezTo>
                    <a:pt x="3214" y="283567"/>
                    <a:pt x="8327" y="287002"/>
                    <a:pt x="14003" y="287002"/>
                  </a:cubicBezTo>
                  <a:lnTo>
                    <a:pt x="276119" y="287002"/>
                  </a:lnTo>
                  <a:cubicBezTo>
                    <a:pt x="283860" y="287002"/>
                    <a:pt x="290133" y="280729"/>
                    <a:pt x="290133" y="272988"/>
                  </a:cubicBezTo>
                  <a:lnTo>
                    <a:pt x="290133" y="14018"/>
                  </a:lnTo>
                  <a:lnTo>
                    <a:pt x="290133" y="14018"/>
                  </a:lnTo>
                  <a:close/>
                </a:path>
              </a:pathLst>
            </a:custGeom>
            <a:gradFill>
              <a:gsLst>
                <a:gs pos="0">
                  <a:srgbClr val="3B63E4"/>
                </a:gs>
                <a:gs pos="100000">
                  <a:srgbClr val="2EC8BA"/>
                </a:gs>
              </a:gsLst>
              <a:lin ang="5400000" scaled="1"/>
            </a:gradFill>
            <a:ln w="1611" cap="flat">
              <a:noFill/>
              <a:prstDash val="solid"/>
              <a:miter/>
            </a:ln>
          </p:spPr>
          <p:txBody>
            <a:bodyPr rtlCol="0" anchor="ctr"/>
            <a:lstStyle/>
            <a:p>
              <a:endParaRPr lang="en-US">
                <a:solidFill>
                  <a:schemeClr val="tx2"/>
                </a:solidFill>
              </a:endParaRPr>
            </a:p>
          </p:txBody>
        </p:sp>
        <p:sp>
          <p:nvSpPr>
            <p:cNvPr id="77" name="Freeform: Shape 76">
              <a:extLst>
                <a:ext uri="{FF2B5EF4-FFF2-40B4-BE49-F238E27FC236}">
                  <a16:creationId xmlns:a16="http://schemas.microsoft.com/office/drawing/2014/main" id="{D4A4FF9B-BA6A-BE1F-876D-872ABDF00C6F}"/>
                </a:ext>
              </a:extLst>
            </p:cNvPr>
            <p:cNvSpPr/>
            <p:nvPr userDrawn="1"/>
          </p:nvSpPr>
          <p:spPr>
            <a:xfrm>
              <a:off x="1126672" y="1330325"/>
              <a:ext cx="884043" cy="515337"/>
            </a:xfrm>
            <a:custGeom>
              <a:avLst/>
              <a:gdLst>
                <a:gd name="connsiteX0" fmla="*/ 1162065 w 1162064"/>
                <a:gd name="connsiteY0" fmla="*/ 665504 h 677405"/>
                <a:gd name="connsiteX1" fmla="*/ 496561 w 1162064"/>
                <a:gd name="connsiteY1" fmla="*/ 0 h 677405"/>
                <a:gd name="connsiteX2" fmla="*/ 496561 w 1162064"/>
                <a:gd name="connsiteY2" fmla="*/ 0 h 677405"/>
                <a:gd name="connsiteX3" fmla="*/ 3085 w 1162064"/>
                <a:gd name="connsiteY3" fmla="*/ 218975 h 677405"/>
                <a:gd name="connsiteX4" fmla="*/ 3924 w 1162064"/>
                <a:gd name="connsiteY4" fmla="*/ 235812 h 677405"/>
                <a:gd name="connsiteX5" fmla="*/ 20760 w 1162064"/>
                <a:gd name="connsiteY5" fmla="*/ 234973 h 677405"/>
                <a:gd name="connsiteX6" fmla="*/ 496561 w 1162064"/>
                <a:gd name="connsiteY6" fmla="*/ 23836 h 677405"/>
                <a:gd name="connsiteX7" fmla="*/ 496561 w 1162064"/>
                <a:gd name="connsiteY7" fmla="*/ 23836 h 677405"/>
                <a:gd name="connsiteX8" fmla="*/ 1138213 w 1162064"/>
                <a:gd name="connsiteY8" fmla="*/ 665488 h 677405"/>
                <a:gd name="connsiteX9" fmla="*/ 1150131 w 1162064"/>
                <a:gd name="connsiteY9" fmla="*/ 677406 h 677405"/>
                <a:gd name="connsiteX10" fmla="*/ 1162049 w 1162064"/>
                <a:gd name="connsiteY10" fmla="*/ 665488 h 677405"/>
                <a:gd name="connsiteX11" fmla="*/ 1162049 w 1162064"/>
                <a:gd name="connsiteY11" fmla="*/ 665488 h 6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2064" h="677405">
                  <a:moveTo>
                    <a:pt x="1162065" y="665504"/>
                  </a:moveTo>
                  <a:cubicBezTo>
                    <a:pt x="1162065" y="297950"/>
                    <a:pt x="864115" y="0"/>
                    <a:pt x="496561" y="0"/>
                  </a:cubicBezTo>
                  <a:lnTo>
                    <a:pt x="496561" y="0"/>
                  </a:lnTo>
                  <a:cubicBezTo>
                    <a:pt x="300841" y="0"/>
                    <a:pt x="124861" y="84490"/>
                    <a:pt x="3085" y="218975"/>
                  </a:cubicBezTo>
                  <a:cubicBezTo>
                    <a:pt x="-1334" y="223845"/>
                    <a:pt x="-963" y="231393"/>
                    <a:pt x="3924" y="235812"/>
                  </a:cubicBezTo>
                  <a:cubicBezTo>
                    <a:pt x="8794" y="240230"/>
                    <a:pt x="16341" y="239859"/>
                    <a:pt x="20760" y="234973"/>
                  </a:cubicBezTo>
                  <a:cubicBezTo>
                    <a:pt x="138182" y="105310"/>
                    <a:pt x="307856" y="23836"/>
                    <a:pt x="496561" y="23836"/>
                  </a:cubicBezTo>
                  <a:lnTo>
                    <a:pt x="496561" y="23836"/>
                  </a:lnTo>
                  <a:cubicBezTo>
                    <a:pt x="850939" y="23836"/>
                    <a:pt x="1138213" y="311109"/>
                    <a:pt x="1138213" y="665488"/>
                  </a:cubicBezTo>
                  <a:cubicBezTo>
                    <a:pt x="1138213" y="672068"/>
                    <a:pt x="1143551" y="677406"/>
                    <a:pt x="1150131" y="677406"/>
                  </a:cubicBezTo>
                  <a:cubicBezTo>
                    <a:pt x="1156711" y="677406"/>
                    <a:pt x="1162049" y="672068"/>
                    <a:pt x="1162049" y="665488"/>
                  </a:cubicBezTo>
                  <a:lnTo>
                    <a:pt x="1162049" y="665488"/>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sp>
          <p:nvSpPr>
            <p:cNvPr id="78" name="Freeform: Shape 77">
              <a:extLst>
                <a:ext uri="{FF2B5EF4-FFF2-40B4-BE49-F238E27FC236}">
                  <a16:creationId xmlns:a16="http://schemas.microsoft.com/office/drawing/2014/main" id="{606B7405-EECF-26F4-5CC2-90400579C677}"/>
                </a:ext>
              </a:extLst>
            </p:cNvPr>
            <p:cNvSpPr/>
            <p:nvPr userDrawn="1"/>
          </p:nvSpPr>
          <p:spPr>
            <a:xfrm>
              <a:off x="1072326" y="2088953"/>
              <a:ext cx="441172" cy="253938"/>
            </a:xfrm>
            <a:custGeom>
              <a:avLst/>
              <a:gdLst>
                <a:gd name="connsiteX0" fmla="*/ 1789 w 579916"/>
                <a:gd name="connsiteY0" fmla="*/ 18174 h 333799"/>
                <a:gd name="connsiteX1" fmla="*/ 567998 w 579916"/>
                <a:gd name="connsiteY1" fmla="*/ 333799 h 333799"/>
                <a:gd name="connsiteX2" fmla="*/ 579916 w 579916"/>
                <a:gd name="connsiteY2" fmla="*/ 321881 h 333799"/>
                <a:gd name="connsiteX3" fmla="*/ 567998 w 579916"/>
                <a:gd name="connsiteY3" fmla="*/ 309963 h 333799"/>
                <a:gd name="connsiteX4" fmla="*/ 22061 w 579916"/>
                <a:gd name="connsiteY4" fmla="*/ 5643 h 333799"/>
                <a:gd name="connsiteX5" fmla="*/ 5643 w 579916"/>
                <a:gd name="connsiteY5" fmla="*/ 1789 h 333799"/>
                <a:gd name="connsiteX6" fmla="*/ 1789 w 579916"/>
                <a:gd name="connsiteY6" fmla="*/ 18206 h 333799"/>
                <a:gd name="connsiteX7" fmla="*/ 1789 w 579916"/>
                <a:gd name="connsiteY7" fmla="*/ 18206 h 33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916" h="333799">
                  <a:moveTo>
                    <a:pt x="1789" y="18174"/>
                  </a:moveTo>
                  <a:cubicBezTo>
                    <a:pt x="119098" y="207604"/>
                    <a:pt x="328816" y="333799"/>
                    <a:pt x="567998" y="333799"/>
                  </a:cubicBezTo>
                  <a:cubicBezTo>
                    <a:pt x="574578" y="333799"/>
                    <a:pt x="579916" y="328461"/>
                    <a:pt x="579916" y="321881"/>
                  </a:cubicBezTo>
                  <a:cubicBezTo>
                    <a:pt x="579916" y="315301"/>
                    <a:pt x="574578" y="309963"/>
                    <a:pt x="567998" y="309963"/>
                  </a:cubicBezTo>
                  <a:cubicBezTo>
                    <a:pt x="337363" y="309963"/>
                    <a:pt x="135161" y="188284"/>
                    <a:pt x="22061" y="5643"/>
                  </a:cubicBezTo>
                  <a:cubicBezTo>
                    <a:pt x="18594" y="47"/>
                    <a:pt x="11240" y="-1678"/>
                    <a:pt x="5643" y="1789"/>
                  </a:cubicBezTo>
                  <a:cubicBezTo>
                    <a:pt x="47" y="5256"/>
                    <a:pt x="-1678" y="12610"/>
                    <a:pt x="1789" y="18206"/>
                  </a:cubicBezTo>
                  <a:lnTo>
                    <a:pt x="1789" y="18206"/>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sp>
          <p:nvSpPr>
            <p:cNvPr id="79" name="Freeform: Shape 78">
              <a:extLst>
                <a:ext uri="{FF2B5EF4-FFF2-40B4-BE49-F238E27FC236}">
                  <a16:creationId xmlns:a16="http://schemas.microsoft.com/office/drawing/2014/main" id="{F1C7DC29-A1D1-CD11-B2D6-56AFC3BA2B44}"/>
                </a:ext>
              </a:extLst>
            </p:cNvPr>
            <p:cNvSpPr/>
            <p:nvPr userDrawn="1"/>
          </p:nvSpPr>
          <p:spPr>
            <a:xfrm>
              <a:off x="1495365" y="1827542"/>
              <a:ext cx="515350" cy="515350"/>
            </a:xfrm>
            <a:custGeom>
              <a:avLst/>
              <a:gdLst>
                <a:gd name="connsiteX0" fmla="*/ 11918 w 677422"/>
                <a:gd name="connsiteY0" fmla="*/ 677422 h 677422"/>
                <a:gd name="connsiteX1" fmla="*/ 665504 w 677422"/>
                <a:gd name="connsiteY1" fmla="*/ 677422 h 677422"/>
                <a:gd name="connsiteX2" fmla="*/ 677422 w 677422"/>
                <a:gd name="connsiteY2" fmla="*/ 665504 h 677422"/>
                <a:gd name="connsiteX3" fmla="*/ 677422 w 677422"/>
                <a:gd name="connsiteY3" fmla="*/ 11918 h 677422"/>
                <a:gd name="connsiteX4" fmla="*/ 665504 w 677422"/>
                <a:gd name="connsiteY4" fmla="*/ 0 h 677422"/>
                <a:gd name="connsiteX5" fmla="*/ 653586 w 677422"/>
                <a:gd name="connsiteY5" fmla="*/ 11918 h 677422"/>
                <a:gd name="connsiteX6" fmla="*/ 653586 w 677422"/>
                <a:gd name="connsiteY6" fmla="*/ 653570 h 677422"/>
                <a:gd name="connsiteX7" fmla="*/ 11918 w 677422"/>
                <a:gd name="connsiteY7" fmla="*/ 653570 h 677422"/>
                <a:gd name="connsiteX8" fmla="*/ 0 w 677422"/>
                <a:gd name="connsiteY8" fmla="*/ 665488 h 677422"/>
                <a:gd name="connsiteX9" fmla="*/ 11918 w 677422"/>
                <a:gd name="connsiteY9" fmla="*/ 677406 h 677422"/>
                <a:gd name="connsiteX10" fmla="*/ 11918 w 677422"/>
                <a:gd name="connsiteY10" fmla="*/ 677406 h 677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7422" h="677422">
                  <a:moveTo>
                    <a:pt x="11918" y="677422"/>
                  </a:moveTo>
                  <a:lnTo>
                    <a:pt x="665504" y="677422"/>
                  </a:lnTo>
                  <a:cubicBezTo>
                    <a:pt x="672084" y="677422"/>
                    <a:pt x="677422" y="672084"/>
                    <a:pt x="677422" y="665504"/>
                  </a:cubicBezTo>
                  <a:lnTo>
                    <a:pt x="677422" y="11918"/>
                  </a:lnTo>
                  <a:cubicBezTo>
                    <a:pt x="677422" y="5338"/>
                    <a:pt x="672084" y="0"/>
                    <a:pt x="665504" y="0"/>
                  </a:cubicBezTo>
                  <a:cubicBezTo>
                    <a:pt x="658924" y="0"/>
                    <a:pt x="653586" y="5338"/>
                    <a:pt x="653586" y="11918"/>
                  </a:cubicBezTo>
                  <a:lnTo>
                    <a:pt x="653586" y="653570"/>
                  </a:lnTo>
                  <a:lnTo>
                    <a:pt x="11918" y="653570"/>
                  </a:lnTo>
                  <a:cubicBezTo>
                    <a:pt x="5338" y="653570"/>
                    <a:pt x="0" y="658908"/>
                    <a:pt x="0" y="665488"/>
                  </a:cubicBezTo>
                  <a:cubicBezTo>
                    <a:pt x="0" y="672068"/>
                    <a:pt x="5338" y="677406"/>
                    <a:pt x="11918" y="677406"/>
                  </a:cubicBezTo>
                  <a:lnTo>
                    <a:pt x="11918" y="677406"/>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grpSp>
      <p:grpSp>
        <p:nvGrpSpPr>
          <p:cNvPr id="70" name="Group 69">
            <a:extLst>
              <a:ext uri="{FF2B5EF4-FFF2-40B4-BE49-F238E27FC236}">
                <a16:creationId xmlns:a16="http://schemas.microsoft.com/office/drawing/2014/main" id="{9675C6FE-014F-D947-49CF-ED3F990D4369}"/>
              </a:ext>
            </a:extLst>
          </p:cNvPr>
          <p:cNvGrpSpPr/>
          <p:nvPr/>
        </p:nvGrpSpPr>
        <p:grpSpPr>
          <a:xfrm>
            <a:off x="2667637" y="2837101"/>
            <a:ext cx="1325379" cy="708718"/>
            <a:chOff x="998400" y="4177143"/>
            <a:chExt cx="1863853" cy="996655"/>
          </a:xfrm>
        </p:grpSpPr>
        <p:sp>
          <p:nvSpPr>
            <p:cNvPr id="71" name="Rectangle 70">
              <a:extLst>
                <a:ext uri="{FF2B5EF4-FFF2-40B4-BE49-F238E27FC236}">
                  <a16:creationId xmlns:a16="http://schemas.microsoft.com/office/drawing/2014/main" id="{877E73EF-74F3-E489-9F1E-D8285ED3E794}"/>
                </a:ext>
              </a:extLst>
            </p:cNvPr>
            <p:cNvSpPr>
              <a:spLocks/>
            </p:cNvSpPr>
            <p:nvPr/>
          </p:nvSpPr>
          <p:spPr>
            <a:xfrm>
              <a:off x="998400" y="4177143"/>
              <a:ext cx="1863853" cy="519383"/>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2400"/>
                </a:spcAft>
                <a:buClrTx/>
                <a:buSzTx/>
                <a:buFontTx/>
                <a:buNone/>
                <a:tabLst/>
                <a:defRPr/>
              </a:pPr>
              <a:r>
                <a:rPr kumimoji="0" lang="en-US" sz="2400" b="0" i="0" u="none" strike="noStrike" kern="1200" cap="none" spc="0" normalizeH="0" baseline="0" noProof="0">
                  <a:ln>
                    <a:noFill/>
                  </a:ln>
                  <a:solidFill>
                    <a:schemeClr val="tx2"/>
                  </a:solidFill>
                  <a:effectLst/>
                  <a:uLnTx/>
                  <a:uFillTx/>
                  <a:latin typeface="KPMG Bold"/>
                  <a:ea typeface="+mn-ea"/>
                  <a:cs typeface="+mn-cs"/>
                </a:rPr>
                <a:t>Anurag Rai</a:t>
              </a:r>
              <a:endParaRPr kumimoji="0" lang="en-US" sz="1100" b="0" i="0" u="none" strike="noStrike" kern="1200" cap="none" spc="0" normalizeH="0" baseline="0" noProof="0">
                <a:ln>
                  <a:noFill/>
                </a:ln>
                <a:solidFill>
                  <a:schemeClr val="tx2"/>
                </a:solidFill>
                <a:effectLst/>
                <a:uLnTx/>
                <a:uFillTx/>
                <a:latin typeface="Arial"/>
                <a:ea typeface="+mn-ea"/>
                <a:cs typeface="+mn-cs"/>
              </a:endParaRPr>
            </a:p>
          </p:txBody>
        </p:sp>
        <p:cxnSp>
          <p:nvCxnSpPr>
            <p:cNvPr id="72" name="Straight Connector 71">
              <a:extLst>
                <a:ext uri="{FF2B5EF4-FFF2-40B4-BE49-F238E27FC236}">
                  <a16:creationId xmlns:a16="http://schemas.microsoft.com/office/drawing/2014/main" id="{CFDD3D82-5261-92AB-54BC-390DB113362C}"/>
                </a:ext>
              </a:extLst>
            </p:cNvPr>
            <p:cNvCxnSpPr/>
            <p:nvPr/>
          </p:nvCxnSpPr>
          <p:spPr>
            <a:xfrm>
              <a:off x="998400" y="4748029"/>
              <a:ext cx="71845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B6A250F0-98B3-FB5B-355F-4330A31840E5}"/>
                </a:ext>
              </a:extLst>
            </p:cNvPr>
            <p:cNvSpPr>
              <a:spLocks/>
            </p:cNvSpPr>
            <p:nvPr/>
          </p:nvSpPr>
          <p:spPr>
            <a:xfrm>
              <a:off x="998400" y="4935747"/>
              <a:ext cx="1863853" cy="238051"/>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2400"/>
                </a:spcAft>
                <a:buClrTx/>
                <a:buSzTx/>
                <a:buFontTx/>
                <a:buNone/>
                <a:tabLst/>
                <a:defRPr/>
              </a:pPr>
              <a:r>
                <a:rPr kumimoji="0" lang="en-US" sz="1100" i="1" u="none" strike="noStrike" kern="1200" cap="none" spc="0" normalizeH="0" baseline="0" noProof="0">
                  <a:ln>
                    <a:noFill/>
                  </a:ln>
                  <a:effectLst/>
                  <a:uLnTx/>
                  <a:uFillTx/>
                  <a:ea typeface="+mn-ea"/>
                  <a:cs typeface="+mn-cs"/>
                </a:rPr>
                <a:t>Engagement Partner</a:t>
              </a:r>
              <a:endParaRPr kumimoji="0" lang="en-US" sz="600" i="1" u="none" strike="noStrike" kern="1200" cap="none" spc="0" normalizeH="0" baseline="0" noProof="0">
                <a:ln>
                  <a:noFill/>
                </a:ln>
                <a:effectLst/>
                <a:uLnTx/>
                <a:uFillTx/>
                <a:ea typeface="+mn-ea"/>
                <a:cs typeface="+mn-cs"/>
              </a:endParaRPr>
            </a:p>
          </p:txBody>
        </p:sp>
      </p:grpSp>
      <p:grpSp>
        <p:nvGrpSpPr>
          <p:cNvPr id="98" name="Group 97">
            <a:extLst>
              <a:ext uri="{FF2B5EF4-FFF2-40B4-BE49-F238E27FC236}">
                <a16:creationId xmlns:a16="http://schemas.microsoft.com/office/drawing/2014/main" id="{8A9B61D8-ED22-F922-F2AC-A61A84F7B508}"/>
              </a:ext>
            </a:extLst>
          </p:cNvPr>
          <p:cNvGrpSpPr/>
          <p:nvPr/>
        </p:nvGrpSpPr>
        <p:grpSpPr>
          <a:xfrm flipH="1">
            <a:off x="5273999" y="1520956"/>
            <a:ext cx="1036440" cy="1118369"/>
            <a:chOff x="1072326" y="1330325"/>
            <a:chExt cx="938389" cy="1012567"/>
          </a:xfrm>
        </p:grpSpPr>
        <p:sp>
          <p:nvSpPr>
            <p:cNvPr id="100" name="Freeform: Shape 99">
              <a:extLst>
                <a:ext uri="{FF2B5EF4-FFF2-40B4-BE49-F238E27FC236}">
                  <a16:creationId xmlns:a16="http://schemas.microsoft.com/office/drawing/2014/main" id="{B869D3A9-2728-F5BB-FF43-B055CBB3E63B}"/>
                </a:ext>
              </a:extLst>
            </p:cNvPr>
            <p:cNvSpPr/>
            <p:nvPr userDrawn="1"/>
          </p:nvSpPr>
          <p:spPr>
            <a:xfrm>
              <a:off x="1747067" y="2082006"/>
              <a:ext cx="220719" cy="218337"/>
            </a:xfrm>
            <a:custGeom>
              <a:avLst/>
              <a:gdLst>
                <a:gd name="connsiteX0" fmla="*/ 290133 w 290133"/>
                <a:gd name="connsiteY0" fmla="*/ 14001 h 287002"/>
                <a:gd name="connsiteX1" fmla="*/ 281521 w 290133"/>
                <a:gd name="connsiteY1" fmla="*/ 1084 h 287002"/>
                <a:gd name="connsiteX2" fmla="*/ 266281 w 290133"/>
                <a:gd name="connsiteY2" fmla="*/ 4051 h 287002"/>
                <a:gd name="connsiteX3" fmla="*/ 4166 w 290133"/>
                <a:gd name="connsiteY3" fmla="*/ 263021 h 287002"/>
                <a:gd name="connsiteX4" fmla="*/ 1053 w 290133"/>
                <a:gd name="connsiteY4" fmla="*/ 278310 h 287002"/>
                <a:gd name="connsiteX5" fmla="*/ 14003 w 290133"/>
                <a:gd name="connsiteY5" fmla="*/ 287002 h 287002"/>
                <a:gd name="connsiteX6" fmla="*/ 276119 w 290133"/>
                <a:gd name="connsiteY6" fmla="*/ 287002 h 287002"/>
                <a:gd name="connsiteX7" fmla="*/ 290133 w 290133"/>
                <a:gd name="connsiteY7" fmla="*/ 272988 h 287002"/>
                <a:gd name="connsiteX8" fmla="*/ 290133 w 290133"/>
                <a:gd name="connsiteY8" fmla="*/ 14018 h 287002"/>
                <a:gd name="connsiteX9" fmla="*/ 290133 w 290133"/>
                <a:gd name="connsiteY9" fmla="*/ 14018 h 287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133" h="287002">
                  <a:moveTo>
                    <a:pt x="290133" y="14001"/>
                  </a:moveTo>
                  <a:cubicBezTo>
                    <a:pt x="290133" y="8357"/>
                    <a:pt x="286746" y="3261"/>
                    <a:pt x="281521" y="1084"/>
                  </a:cubicBezTo>
                  <a:cubicBezTo>
                    <a:pt x="276312" y="-1094"/>
                    <a:pt x="270297" y="67"/>
                    <a:pt x="266281" y="4051"/>
                  </a:cubicBezTo>
                  <a:cubicBezTo>
                    <a:pt x="208642" y="61012"/>
                    <a:pt x="62224" y="205657"/>
                    <a:pt x="4166" y="263021"/>
                  </a:cubicBezTo>
                  <a:cubicBezTo>
                    <a:pt x="118" y="267021"/>
                    <a:pt x="-1108" y="273052"/>
                    <a:pt x="1053" y="278310"/>
                  </a:cubicBezTo>
                  <a:cubicBezTo>
                    <a:pt x="3214" y="283567"/>
                    <a:pt x="8327" y="287002"/>
                    <a:pt x="14003" y="287002"/>
                  </a:cubicBezTo>
                  <a:lnTo>
                    <a:pt x="276119" y="287002"/>
                  </a:lnTo>
                  <a:cubicBezTo>
                    <a:pt x="283860" y="287002"/>
                    <a:pt x="290133" y="280729"/>
                    <a:pt x="290133" y="272988"/>
                  </a:cubicBezTo>
                  <a:lnTo>
                    <a:pt x="290133" y="14018"/>
                  </a:lnTo>
                  <a:lnTo>
                    <a:pt x="290133" y="14018"/>
                  </a:lnTo>
                  <a:close/>
                </a:path>
              </a:pathLst>
            </a:custGeom>
            <a:gradFill>
              <a:gsLst>
                <a:gs pos="0">
                  <a:srgbClr val="3B63E4"/>
                </a:gs>
                <a:gs pos="100000">
                  <a:srgbClr val="2EC8BA"/>
                </a:gs>
              </a:gsLst>
              <a:lin ang="5400000" scaled="1"/>
            </a:gradFill>
            <a:ln w="1611" cap="flat">
              <a:noFill/>
              <a:prstDash val="solid"/>
              <a:miter/>
            </a:ln>
          </p:spPr>
          <p:txBody>
            <a:bodyPr rtlCol="0" anchor="ctr"/>
            <a:lstStyle/>
            <a:p>
              <a:endParaRPr lang="en-US">
                <a:solidFill>
                  <a:schemeClr val="tx2"/>
                </a:solidFill>
              </a:endParaRPr>
            </a:p>
          </p:txBody>
        </p:sp>
        <p:sp>
          <p:nvSpPr>
            <p:cNvPr id="101" name="Freeform: Shape 100">
              <a:extLst>
                <a:ext uri="{FF2B5EF4-FFF2-40B4-BE49-F238E27FC236}">
                  <a16:creationId xmlns:a16="http://schemas.microsoft.com/office/drawing/2014/main" id="{C283F441-054F-7306-41F1-91821C9D7B14}"/>
                </a:ext>
              </a:extLst>
            </p:cNvPr>
            <p:cNvSpPr/>
            <p:nvPr userDrawn="1"/>
          </p:nvSpPr>
          <p:spPr>
            <a:xfrm>
              <a:off x="1126672" y="1330325"/>
              <a:ext cx="884043" cy="515337"/>
            </a:xfrm>
            <a:custGeom>
              <a:avLst/>
              <a:gdLst>
                <a:gd name="connsiteX0" fmla="*/ 1162065 w 1162064"/>
                <a:gd name="connsiteY0" fmla="*/ 665504 h 677405"/>
                <a:gd name="connsiteX1" fmla="*/ 496561 w 1162064"/>
                <a:gd name="connsiteY1" fmla="*/ 0 h 677405"/>
                <a:gd name="connsiteX2" fmla="*/ 496561 w 1162064"/>
                <a:gd name="connsiteY2" fmla="*/ 0 h 677405"/>
                <a:gd name="connsiteX3" fmla="*/ 3085 w 1162064"/>
                <a:gd name="connsiteY3" fmla="*/ 218975 h 677405"/>
                <a:gd name="connsiteX4" fmla="*/ 3924 w 1162064"/>
                <a:gd name="connsiteY4" fmla="*/ 235812 h 677405"/>
                <a:gd name="connsiteX5" fmla="*/ 20760 w 1162064"/>
                <a:gd name="connsiteY5" fmla="*/ 234973 h 677405"/>
                <a:gd name="connsiteX6" fmla="*/ 496561 w 1162064"/>
                <a:gd name="connsiteY6" fmla="*/ 23836 h 677405"/>
                <a:gd name="connsiteX7" fmla="*/ 496561 w 1162064"/>
                <a:gd name="connsiteY7" fmla="*/ 23836 h 677405"/>
                <a:gd name="connsiteX8" fmla="*/ 1138213 w 1162064"/>
                <a:gd name="connsiteY8" fmla="*/ 665488 h 677405"/>
                <a:gd name="connsiteX9" fmla="*/ 1150131 w 1162064"/>
                <a:gd name="connsiteY9" fmla="*/ 677406 h 677405"/>
                <a:gd name="connsiteX10" fmla="*/ 1162049 w 1162064"/>
                <a:gd name="connsiteY10" fmla="*/ 665488 h 677405"/>
                <a:gd name="connsiteX11" fmla="*/ 1162049 w 1162064"/>
                <a:gd name="connsiteY11" fmla="*/ 665488 h 6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2064" h="677405">
                  <a:moveTo>
                    <a:pt x="1162065" y="665504"/>
                  </a:moveTo>
                  <a:cubicBezTo>
                    <a:pt x="1162065" y="297950"/>
                    <a:pt x="864115" y="0"/>
                    <a:pt x="496561" y="0"/>
                  </a:cubicBezTo>
                  <a:lnTo>
                    <a:pt x="496561" y="0"/>
                  </a:lnTo>
                  <a:cubicBezTo>
                    <a:pt x="300841" y="0"/>
                    <a:pt x="124861" y="84490"/>
                    <a:pt x="3085" y="218975"/>
                  </a:cubicBezTo>
                  <a:cubicBezTo>
                    <a:pt x="-1334" y="223845"/>
                    <a:pt x="-963" y="231393"/>
                    <a:pt x="3924" y="235812"/>
                  </a:cubicBezTo>
                  <a:cubicBezTo>
                    <a:pt x="8794" y="240230"/>
                    <a:pt x="16341" y="239859"/>
                    <a:pt x="20760" y="234973"/>
                  </a:cubicBezTo>
                  <a:cubicBezTo>
                    <a:pt x="138182" y="105310"/>
                    <a:pt x="307856" y="23836"/>
                    <a:pt x="496561" y="23836"/>
                  </a:cubicBezTo>
                  <a:lnTo>
                    <a:pt x="496561" y="23836"/>
                  </a:lnTo>
                  <a:cubicBezTo>
                    <a:pt x="850939" y="23836"/>
                    <a:pt x="1138213" y="311109"/>
                    <a:pt x="1138213" y="665488"/>
                  </a:cubicBezTo>
                  <a:cubicBezTo>
                    <a:pt x="1138213" y="672068"/>
                    <a:pt x="1143551" y="677406"/>
                    <a:pt x="1150131" y="677406"/>
                  </a:cubicBezTo>
                  <a:cubicBezTo>
                    <a:pt x="1156711" y="677406"/>
                    <a:pt x="1162049" y="672068"/>
                    <a:pt x="1162049" y="665488"/>
                  </a:cubicBezTo>
                  <a:lnTo>
                    <a:pt x="1162049" y="665488"/>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sp>
          <p:nvSpPr>
            <p:cNvPr id="102" name="Freeform: Shape 101">
              <a:extLst>
                <a:ext uri="{FF2B5EF4-FFF2-40B4-BE49-F238E27FC236}">
                  <a16:creationId xmlns:a16="http://schemas.microsoft.com/office/drawing/2014/main" id="{397A071D-5A93-9571-6555-83C765864955}"/>
                </a:ext>
              </a:extLst>
            </p:cNvPr>
            <p:cNvSpPr/>
            <p:nvPr userDrawn="1"/>
          </p:nvSpPr>
          <p:spPr>
            <a:xfrm>
              <a:off x="1072326" y="2088953"/>
              <a:ext cx="441172" cy="253938"/>
            </a:xfrm>
            <a:custGeom>
              <a:avLst/>
              <a:gdLst>
                <a:gd name="connsiteX0" fmla="*/ 1789 w 579916"/>
                <a:gd name="connsiteY0" fmla="*/ 18174 h 333799"/>
                <a:gd name="connsiteX1" fmla="*/ 567998 w 579916"/>
                <a:gd name="connsiteY1" fmla="*/ 333799 h 333799"/>
                <a:gd name="connsiteX2" fmla="*/ 579916 w 579916"/>
                <a:gd name="connsiteY2" fmla="*/ 321881 h 333799"/>
                <a:gd name="connsiteX3" fmla="*/ 567998 w 579916"/>
                <a:gd name="connsiteY3" fmla="*/ 309963 h 333799"/>
                <a:gd name="connsiteX4" fmla="*/ 22061 w 579916"/>
                <a:gd name="connsiteY4" fmla="*/ 5643 h 333799"/>
                <a:gd name="connsiteX5" fmla="*/ 5643 w 579916"/>
                <a:gd name="connsiteY5" fmla="*/ 1789 h 333799"/>
                <a:gd name="connsiteX6" fmla="*/ 1789 w 579916"/>
                <a:gd name="connsiteY6" fmla="*/ 18206 h 333799"/>
                <a:gd name="connsiteX7" fmla="*/ 1789 w 579916"/>
                <a:gd name="connsiteY7" fmla="*/ 18206 h 33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916" h="333799">
                  <a:moveTo>
                    <a:pt x="1789" y="18174"/>
                  </a:moveTo>
                  <a:cubicBezTo>
                    <a:pt x="119098" y="207604"/>
                    <a:pt x="328816" y="333799"/>
                    <a:pt x="567998" y="333799"/>
                  </a:cubicBezTo>
                  <a:cubicBezTo>
                    <a:pt x="574578" y="333799"/>
                    <a:pt x="579916" y="328461"/>
                    <a:pt x="579916" y="321881"/>
                  </a:cubicBezTo>
                  <a:cubicBezTo>
                    <a:pt x="579916" y="315301"/>
                    <a:pt x="574578" y="309963"/>
                    <a:pt x="567998" y="309963"/>
                  </a:cubicBezTo>
                  <a:cubicBezTo>
                    <a:pt x="337363" y="309963"/>
                    <a:pt x="135161" y="188284"/>
                    <a:pt x="22061" y="5643"/>
                  </a:cubicBezTo>
                  <a:cubicBezTo>
                    <a:pt x="18594" y="47"/>
                    <a:pt x="11240" y="-1678"/>
                    <a:pt x="5643" y="1789"/>
                  </a:cubicBezTo>
                  <a:cubicBezTo>
                    <a:pt x="47" y="5256"/>
                    <a:pt x="-1678" y="12610"/>
                    <a:pt x="1789" y="18206"/>
                  </a:cubicBezTo>
                  <a:lnTo>
                    <a:pt x="1789" y="18206"/>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sp>
          <p:nvSpPr>
            <p:cNvPr id="103" name="Freeform: Shape 102">
              <a:extLst>
                <a:ext uri="{FF2B5EF4-FFF2-40B4-BE49-F238E27FC236}">
                  <a16:creationId xmlns:a16="http://schemas.microsoft.com/office/drawing/2014/main" id="{0B181776-8A61-3EFC-5A85-B420B8022EB5}"/>
                </a:ext>
              </a:extLst>
            </p:cNvPr>
            <p:cNvSpPr/>
            <p:nvPr userDrawn="1"/>
          </p:nvSpPr>
          <p:spPr>
            <a:xfrm>
              <a:off x="1495365" y="1827542"/>
              <a:ext cx="515350" cy="515350"/>
            </a:xfrm>
            <a:custGeom>
              <a:avLst/>
              <a:gdLst>
                <a:gd name="connsiteX0" fmla="*/ 11918 w 677422"/>
                <a:gd name="connsiteY0" fmla="*/ 677422 h 677422"/>
                <a:gd name="connsiteX1" fmla="*/ 665504 w 677422"/>
                <a:gd name="connsiteY1" fmla="*/ 677422 h 677422"/>
                <a:gd name="connsiteX2" fmla="*/ 677422 w 677422"/>
                <a:gd name="connsiteY2" fmla="*/ 665504 h 677422"/>
                <a:gd name="connsiteX3" fmla="*/ 677422 w 677422"/>
                <a:gd name="connsiteY3" fmla="*/ 11918 h 677422"/>
                <a:gd name="connsiteX4" fmla="*/ 665504 w 677422"/>
                <a:gd name="connsiteY4" fmla="*/ 0 h 677422"/>
                <a:gd name="connsiteX5" fmla="*/ 653586 w 677422"/>
                <a:gd name="connsiteY5" fmla="*/ 11918 h 677422"/>
                <a:gd name="connsiteX6" fmla="*/ 653586 w 677422"/>
                <a:gd name="connsiteY6" fmla="*/ 653570 h 677422"/>
                <a:gd name="connsiteX7" fmla="*/ 11918 w 677422"/>
                <a:gd name="connsiteY7" fmla="*/ 653570 h 677422"/>
                <a:gd name="connsiteX8" fmla="*/ 0 w 677422"/>
                <a:gd name="connsiteY8" fmla="*/ 665488 h 677422"/>
                <a:gd name="connsiteX9" fmla="*/ 11918 w 677422"/>
                <a:gd name="connsiteY9" fmla="*/ 677406 h 677422"/>
                <a:gd name="connsiteX10" fmla="*/ 11918 w 677422"/>
                <a:gd name="connsiteY10" fmla="*/ 677406 h 677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7422" h="677422">
                  <a:moveTo>
                    <a:pt x="11918" y="677422"/>
                  </a:moveTo>
                  <a:lnTo>
                    <a:pt x="665504" y="677422"/>
                  </a:lnTo>
                  <a:cubicBezTo>
                    <a:pt x="672084" y="677422"/>
                    <a:pt x="677422" y="672084"/>
                    <a:pt x="677422" y="665504"/>
                  </a:cubicBezTo>
                  <a:lnTo>
                    <a:pt x="677422" y="11918"/>
                  </a:lnTo>
                  <a:cubicBezTo>
                    <a:pt x="677422" y="5338"/>
                    <a:pt x="672084" y="0"/>
                    <a:pt x="665504" y="0"/>
                  </a:cubicBezTo>
                  <a:cubicBezTo>
                    <a:pt x="658924" y="0"/>
                    <a:pt x="653586" y="5338"/>
                    <a:pt x="653586" y="11918"/>
                  </a:cubicBezTo>
                  <a:lnTo>
                    <a:pt x="653586" y="653570"/>
                  </a:lnTo>
                  <a:lnTo>
                    <a:pt x="11918" y="653570"/>
                  </a:lnTo>
                  <a:cubicBezTo>
                    <a:pt x="5338" y="653570"/>
                    <a:pt x="0" y="658908"/>
                    <a:pt x="0" y="665488"/>
                  </a:cubicBezTo>
                  <a:cubicBezTo>
                    <a:pt x="0" y="672068"/>
                    <a:pt x="5338" y="677406"/>
                    <a:pt x="11918" y="677406"/>
                  </a:cubicBezTo>
                  <a:lnTo>
                    <a:pt x="11918" y="677406"/>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grpSp>
      <p:grpSp>
        <p:nvGrpSpPr>
          <p:cNvPr id="94" name="Group 93">
            <a:extLst>
              <a:ext uri="{FF2B5EF4-FFF2-40B4-BE49-F238E27FC236}">
                <a16:creationId xmlns:a16="http://schemas.microsoft.com/office/drawing/2014/main" id="{4E0ABC75-6CDF-F16B-2733-7417758F01FD}"/>
              </a:ext>
            </a:extLst>
          </p:cNvPr>
          <p:cNvGrpSpPr/>
          <p:nvPr/>
        </p:nvGrpSpPr>
        <p:grpSpPr>
          <a:xfrm>
            <a:off x="5274002" y="2837101"/>
            <a:ext cx="1325379" cy="708718"/>
            <a:chOff x="998400" y="4177143"/>
            <a:chExt cx="1863853" cy="996655"/>
          </a:xfrm>
        </p:grpSpPr>
        <p:sp>
          <p:nvSpPr>
            <p:cNvPr id="95" name="Rectangle 94">
              <a:extLst>
                <a:ext uri="{FF2B5EF4-FFF2-40B4-BE49-F238E27FC236}">
                  <a16:creationId xmlns:a16="http://schemas.microsoft.com/office/drawing/2014/main" id="{10BF0BF3-49B5-6437-AADC-753F5E67D063}"/>
                </a:ext>
              </a:extLst>
            </p:cNvPr>
            <p:cNvSpPr>
              <a:spLocks/>
            </p:cNvSpPr>
            <p:nvPr/>
          </p:nvSpPr>
          <p:spPr>
            <a:xfrm>
              <a:off x="998400" y="4177143"/>
              <a:ext cx="1863853" cy="519384"/>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2400"/>
                </a:spcAft>
                <a:buClrTx/>
                <a:buSzTx/>
                <a:buFontTx/>
                <a:buNone/>
                <a:tabLst/>
                <a:defRPr/>
              </a:pPr>
              <a:r>
                <a:rPr kumimoji="0" lang="en-US" sz="2400" b="0" i="0" u="none" strike="noStrike" kern="1200" cap="none" spc="0" normalizeH="0" baseline="0" noProof="0">
                  <a:ln>
                    <a:noFill/>
                  </a:ln>
                  <a:solidFill>
                    <a:schemeClr val="tx2"/>
                  </a:solidFill>
                  <a:effectLst/>
                  <a:uLnTx/>
                  <a:uFillTx/>
                  <a:latin typeface="KPMG Bold"/>
                  <a:ea typeface="+mn-ea"/>
                  <a:cs typeface="+mn-cs"/>
                </a:rPr>
                <a:t>Adam White</a:t>
              </a:r>
              <a:endParaRPr kumimoji="0" lang="en-US" sz="1100" b="0" i="0" u="none" strike="noStrike" kern="1200" cap="none" spc="0" normalizeH="0" baseline="0" noProof="0">
                <a:ln>
                  <a:noFill/>
                </a:ln>
                <a:solidFill>
                  <a:schemeClr val="tx2"/>
                </a:solidFill>
                <a:effectLst/>
                <a:uLnTx/>
                <a:uFillTx/>
                <a:latin typeface="Arial"/>
                <a:ea typeface="+mn-ea"/>
                <a:cs typeface="+mn-cs"/>
              </a:endParaRPr>
            </a:p>
          </p:txBody>
        </p:sp>
        <p:cxnSp>
          <p:nvCxnSpPr>
            <p:cNvPr id="96" name="Straight Connector 95">
              <a:extLst>
                <a:ext uri="{FF2B5EF4-FFF2-40B4-BE49-F238E27FC236}">
                  <a16:creationId xmlns:a16="http://schemas.microsoft.com/office/drawing/2014/main" id="{9BB94C51-803C-10E7-535C-8332C3544109}"/>
                </a:ext>
              </a:extLst>
            </p:cNvPr>
            <p:cNvCxnSpPr/>
            <p:nvPr/>
          </p:nvCxnSpPr>
          <p:spPr>
            <a:xfrm>
              <a:off x="998400" y="4748029"/>
              <a:ext cx="71845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4CDC2ADD-3650-FCD7-B008-0F0E38252DEF}"/>
                </a:ext>
              </a:extLst>
            </p:cNvPr>
            <p:cNvSpPr>
              <a:spLocks/>
            </p:cNvSpPr>
            <p:nvPr/>
          </p:nvSpPr>
          <p:spPr>
            <a:xfrm>
              <a:off x="998400" y="4935748"/>
              <a:ext cx="1863853" cy="238050"/>
            </a:xfrm>
            <a:prstGeom prst="rect">
              <a:avLst/>
            </a:prstGeom>
          </p:spPr>
          <p:txBody>
            <a:bodyPr wrap="square" lIns="0" tIns="0" rIns="0" bIns="0">
              <a:spAutoFit/>
            </a:bodyPr>
            <a:lstStyle/>
            <a:p>
              <a:pPr>
                <a:spcAft>
                  <a:spcPts val="2400"/>
                </a:spcAft>
              </a:pPr>
              <a:r>
                <a:rPr lang="en-US" sz="1100" i="1"/>
                <a:t>IAM Partner</a:t>
              </a:r>
            </a:p>
          </p:txBody>
        </p:sp>
      </p:grpSp>
      <p:grpSp>
        <p:nvGrpSpPr>
          <p:cNvPr id="110" name="Group 109">
            <a:extLst>
              <a:ext uri="{FF2B5EF4-FFF2-40B4-BE49-F238E27FC236}">
                <a16:creationId xmlns:a16="http://schemas.microsoft.com/office/drawing/2014/main" id="{6ACF67C2-04CF-2EA2-1548-D24C69C0956A}"/>
              </a:ext>
            </a:extLst>
          </p:cNvPr>
          <p:cNvGrpSpPr/>
          <p:nvPr/>
        </p:nvGrpSpPr>
        <p:grpSpPr>
          <a:xfrm flipH="1">
            <a:off x="7882478" y="1529898"/>
            <a:ext cx="1036440" cy="1118369"/>
            <a:chOff x="1072326" y="1330325"/>
            <a:chExt cx="938389" cy="1012567"/>
          </a:xfrm>
        </p:grpSpPr>
        <p:sp>
          <p:nvSpPr>
            <p:cNvPr id="112" name="Freeform: Shape 111">
              <a:extLst>
                <a:ext uri="{FF2B5EF4-FFF2-40B4-BE49-F238E27FC236}">
                  <a16:creationId xmlns:a16="http://schemas.microsoft.com/office/drawing/2014/main" id="{A8B01AED-F0F9-BF6F-AED4-C300EEC3912C}"/>
                </a:ext>
              </a:extLst>
            </p:cNvPr>
            <p:cNvSpPr/>
            <p:nvPr userDrawn="1"/>
          </p:nvSpPr>
          <p:spPr>
            <a:xfrm>
              <a:off x="1747067" y="2082006"/>
              <a:ext cx="220719" cy="218337"/>
            </a:xfrm>
            <a:custGeom>
              <a:avLst/>
              <a:gdLst>
                <a:gd name="connsiteX0" fmla="*/ 290133 w 290133"/>
                <a:gd name="connsiteY0" fmla="*/ 14001 h 287002"/>
                <a:gd name="connsiteX1" fmla="*/ 281521 w 290133"/>
                <a:gd name="connsiteY1" fmla="*/ 1084 h 287002"/>
                <a:gd name="connsiteX2" fmla="*/ 266281 w 290133"/>
                <a:gd name="connsiteY2" fmla="*/ 4051 h 287002"/>
                <a:gd name="connsiteX3" fmla="*/ 4166 w 290133"/>
                <a:gd name="connsiteY3" fmla="*/ 263021 h 287002"/>
                <a:gd name="connsiteX4" fmla="*/ 1053 w 290133"/>
                <a:gd name="connsiteY4" fmla="*/ 278310 h 287002"/>
                <a:gd name="connsiteX5" fmla="*/ 14003 w 290133"/>
                <a:gd name="connsiteY5" fmla="*/ 287002 h 287002"/>
                <a:gd name="connsiteX6" fmla="*/ 276119 w 290133"/>
                <a:gd name="connsiteY6" fmla="*/ 287002 h 287002"/>
                <a:gd name="connsiteX7" fmla="*/ 290133 w 290133"/>
                <a:gd name="connsiteY7" fmla="*/ 272988 h 287002"/>
                <a:gd name="connsiteX8" fmla="*/ 290133 w 290133"/>
                <a:gd name="connsiteY8" fmla="*/ 14018 h 287002"/>
                <a:gd name="connsiteX9" fmla="*/ 290133 w 290133"/>
                <a:gd name="connsiteY9" fmla="*/ 14018 h 287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133" h="287002">
                  <a:moveTo>
                    <a:pt x="290133" y="14001"/>
                  </a:moveTo>
                  <a:cubicBezTo>
                    <a:pt x="290133" y="8357"/>
                    <a:pt x="286746" y="3261"/>
                    <a:pt x="281521" y="1084"/>
                  </a:cubicBezTo>
                  <a:cubicBezTo>
                    <a:pt x="276312" y="-1094"/>
                    <a:pt x="270297" y="67"/>
                    <a:pt x="266281" y="4051"/>
                  </a:cubicBezTo>
                  <a:cubicBezTo>
                    <a:pt x="208642" y="61012"/>
                    <a:pt x="62224" y="205657"/>
                    <a:pt x="4166" y="263021"/>
                  </a:cubicBezTo>
                  <a:cubicBezTo>
                    <a:pt x="118" y="267021"/>
                    <a:pt x="-1108" y="273052"/>
                    <a:pt x="1053" y="278310"/>
                  </a:cubicBezTo>
                  <a:cubicBezTo>
                    <a:pt x="3214" y="283567"/>
                    <a:pt x="8327" y="287002"/>
                    <a:pt x="14003" y="287002"/>
                  </a:cubicBezTo>
                  <a:lnTo>
                    <a:pt x="276119" y="287002"/>
                  </a:lnTo>
                  <a:cubicBezTo>
                    <a:pt x="283860" y="287002"/>
                    <a:pt x="290133" y="280729"/>
                    <a:pt x="290133" y="272988"/>
                  </a:cubicBezTo>
                  <a:lnTo>
                    <a:pt x="290133" y="14018"/>
                  </a:lnTo>
                  <a:lnTo>
                    <a:pt x="290133" y="14018"/>
                  </a:lnTo>
                  <a:close/>
                </a:path>
              </a:pathLst>
            </a:custGeom>
            <a:gradFill>
              <a:gsLst>
                <a:gs pos="0">
                  <a:srgbClr val="3B63E4"/>
                </a:gs>
                <a:gs pos="100000">
                  <a:srgbClr val="2EC8BA"/>
                </a:gs>
              </a:gsLst>
              <a:lin ang="5400000" scaled="1"/>
            </a:gradFill>
            <a:ln w="1611" cap="flat">
              <a:noFill/>
              <a:prstDash val="solid"/>
              <a:miter/>
            </a:ln>
          </p:spPr>
          <p:txBody>
            <a:bodyPr rtlCol="0" anchor="ctr"/>
            <a:lstStyle/>
            <a:p>
              <a:endParaRPr lang="en-US">
                <a:solidFill>
                  <a:schemeClr val="tx2"/>
                </a:solidFill>
              </a:endParaRPr>
            </a:p>
          </p:txBody>
        </p:sp>
        <p:sp>
          <p:nvSpPr>
            <p:cNvPr id="113" name="Freeform: Shape 112">
              <a:extLst>
                <a:ext uri="{FF2B5EF4-FFF2-40B4-BE49-F238E27FC236}">
                  <a16:creationId xmlns:a16="http://schemas.microsoft.com/office/drawing/2014/main" id="{7987D296-E280-729F-0B95-E85EF6409968}"/>
                </a:ext>
              </a:extLst>
            </p:cNvPr>
            <p:cNvSpPr/>
            <p:nvPr userDrawn="1"/>
          </p:nvSpPr>
          <p:spPr>
            <a:xfrm>
              <a:off x="1126672" y="1330325"/>
              <a:ext cx="884043" cy="515337"/>
            </a:xfrm>
            <a:custGeom>
              <a:avLst/>
              <a:gdLst>
                <a:gd name="connsiteX0" fmla="*/ 1162065 w 1162064"/>
                <a:gd name="connsiteY0" fmla="*/ 665504 h 677405"/>
                <a:gd name="connsiteX1" fmla="*/ 496561 w 1162064"/>
                <a:gd name="connsiteY1" fmla="*/ 0 h 677405"/>
                <a:gd name="connsiteX2" fmla="*/ 496561 w 1162064"/>
                <a:gd name="connsiteY2" fmla="*/ 0 h 677405"/>
                <a:gd name="connsiteX3" fmla="*/ 3085 w 1162064"/>
                <a:gd name="connsiteY3" fmla="*/ 218975 h 677405"/>
                <a:gd name="connsiteX4" fmla="*/ 3924 w 1162064"/>
                <a:gd name="connsiteY4" fmla="*/ 235812 h 677405"/>
                <a:gd name="connsiteX5" fmla="*/ 20760 w 1162064"/>
                <a:gd name="connsiteY5" fmla="*/ 234973 h 677405"/>
                <a:gd name="connsiteX6" fmla="*/ 496561 w 1162064"/>
                <a:gd name="connsiteY6" fmla="*/ 23836 h 677405"/>
                <a:gd name="connsiteX7" fmla="*/ 496561 w 1162064"/>
                <a:gd name="connsiteY7" fmla="*/ 23836 h 677405"/>
                <a:gd name="connsiteX8" fmla="*/ 1138213 w 1162064"/>
                <a:gd name="connsiteY8" fmla="*/ 665488 h 677405"/>
                <a:gd name="connsiteX9" fmla="*/ 1150131 w 1162064"/>
                <a:gd name="connsiteY9" fmla="*/ 677406 h 677405"/>
                <a:gd name="connsiteX10" fmla="*/ 1162049 w 1162064"/>
                <a:gd name="connsiteY10" fmla="*/ 665488 h 677405"/>
                <a:gd name="connsiteX11" fmla="*/ 1162049 w 1162064"/>
                <a:gd name="connsiteY11" fmla="*/ 665488 h 6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2064" h="677405">
                  <a:moveTo>
                    <a:pt x="1162065" y="665504"/>
                  </a:moveTo>
                  <a:cubicBezTo>
                    <a:pt x="1162065" y="297950"/>
                    <a:pt x="864115" y="0"/>
                    <a:pt x="496561" y="0"/>
                  </a:cubicBezTo>
                  <a:lnTo>
                    <a:pt x="496561" y="0"/>
                  </a:lnTo>
                  <a:cubicBezTo>
                    <a:pt x="300841" y="0"/>
                    <a:pt x="124861" y="84490"/>
                    <a:pt x="3085" y="218975"/>
                  </a:cubicBezTo>
                  <a:cubicBezTo>
                    <a:pt x="-1334" y="223845"/>
                    <a:pt x="-963" y="231393"/>
                    <a:pt x="3924" y="235812"/>
                  </a:cubicBezTo>
                  <a:cubicBezTo>
                    <a:pt x="8794" y="240230"/>
                    <a:pt x="16341" y="239859"/>
                    <a:pt x="20760" y="234973"/>
                  </a:cubicBezTo>
                  <a:cubicBezTo>
                    <a:pt x="138182" y="105310"/>
                    <a:pt x="307856" y="23836"/>
                    <a:pt x="496561" y="23836"/>
                  </a:cubicBezTo>
                  <a:lnTo>
                    <a:pt x="496561" y="23836"/>
                  </a:lnTo>
                  <a:cubicBezTo>
                    <a:pt x="850939" y="23836"/>
                    <a:pt x="1138213" y="311109"/>
                    <a:pt x="1138213" y="665488"/>
                  </a:cubicBezTo>
                  <a:cubicBezTo>
                    <a:pt x="1138213" y="672068"/>
                    <a:pt x="1143551" y="677406"/>
                    <a:pt x="1150131" y="677406"/>
                  </a:cubicBezTo>
                  <a:cubicBezTo>
                    <a:pt x="1156711" y="677406"/>
                    <a:pt x="1162049" y="672068"/>
                    <a:pt x="1162049" y="665488"/>
                  </a:cubicBezTo>
                  <a:lnTo>
                    <a:pt x="1162049" y="665488"/>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sp>
          <p:nvSpPr>
            <p:cNvPr id="114" name="Freeform: Shape 113">
              <a:extLst>
                <a:ext uri="{FF2B5EF4-FFF2-40B4-BE49-F238E27FC236}">
                  <a16:creationId xmlns:a16="http://schemas.microsoft.com/office/drawing/2014/main" id="{7F02BE71-0541-4297-0476-7032730F68ED}"/>
                </a:ext>
              </a:extLst>
            </p:cNvPr>
            <p:cNvSpPr/>
            <p:nvPr userDrawn="1"/>
          </p:nvSpPr>
          <p:spPr>
            <a:xfrm>
              <a:off x="1072326" y="2088953"/>
              <a:ext cx="441172" cy="253938"/>
            </a:xfrm>
            <a:custGeom>
              <a:avLst/>
              <a:gdLst>
                <a:gd name="connsiteX0" fmla="*/ 1789 w 579916"/>
                <a:gd name="connsiteY0" fmla="*/ 18174 h 333799"/>
                <a:gd name="connsiteX1" fmla="*/ 567998 w 579916"/>
                <a:gd name="connsiteY1" fmla="*/ 333799 h 333799"/>
                <a:gd name="connsiteX2" fmla="*/ 579916 w 579916"/>
                <a:gd name="connsiteY2" fmla="*/ 321881 h 333799"/>
                <a:gd name="connsiteX3" fmla="*/ 567998 w 579916"/>
                <a:gd name="connsiteY3" fmla="*/ 309963 h 333799"/>
                <a:gd name="connsiteX4" fmla="*/ 22061 w 579916"/>
                <a:gd name="connsiteY4" fmla="*/ 5643 h 333799"/>
                <a:gd name="connsiteX5" fmla="*/ 5643 w 579916"/>
                <a:gd name="connsiteY5" fmla="*/ 1789 h 333799"/>
                <a:gd name="connsiteX6" fmla="*/ 1789 w 579916"/>
                <a:gd name="connsiteY6" fmla="*/ 18206 h 333799"/>
                <a:gd name="connsiteX7" fmla="*/ 1789 w 579916"/>
                <a:gd name="connsiteY7" fmla="*/ 18206 h 33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916" h="333799">
                  <a:moveTo>
                    <a:pt x="1789" y="18174"/>
                  </a:moveTo>
                  <a:cubicBezTo>
                    <a:pt x="119098" y="207604"/>
                    <a:pt x="328816" y="333799"/>
                    <a:pt x="567998" y="333799"/>
                  </a:cubicBezTo>
                  <a:cubicBezTo>
                    <a:pt x="574578" y="333799"/>
                    <a:pt x="579916" y="328461"/>
                    <a:pt x="579916" y="321881"/>
                  </a:cubicBezTo>
                  <a:cubicBezTo>
                    <a:pt x="579916" y="315301"/>
                    <a:pt x="574578" y="309963"/>
                    <a:pt x="567998" y="309963"/>
                  </a:cubicBezTo>
                  <a:cubicBezTo>
                    <a:pt x="337363" y="309963"/>
                    <a:pt x="135161" y="188284"/>
                    <a:pt x="22061" y="5643"/>
                  </a:cubicBezTo>
                  <a:cubicBezTo>
                    <a:pt x="18594" y="47"/>
                    <a:pt x="11240" y="-1678"/>
                    <a:pt x="5643" y="1789"/>
                  </a:cubicBezTo>
                  <a:cubicBezTo>
                    <a:pt x="47" y="5256"/>
                    <a:pt x="-1678" y="12610"/>
                    <a:pt x="1789" y="18206"/>
                  </a:cubicBezTo>
                  <a:lnTo>
                    <a:pt x="1789" y="18206"/>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sp>
          <p:nvSpPr>
            <p:cNvPr id="115" name="Freeform: Shape 114">
              <a:extLst>
                <a:ext uri="{FF2B5EF4-FFF2-40B4-BE49-F238E27FC236}">
                  <a16:creationId xmlns:a16="http://schemas.microsoft.com/office/drawing/2014/main" id="{F2F97535-607C-D5F8-7DC3-749347627D26}"/>
                </a:ext>
              </a:extLst>
            </p:cNvPr>
            <p:cNvSpPr/>
            <p:nvPr userDrawn="1"/>
          </p:nvSpPr>
          <p:spPr>
            <a:xfrm>
              <a:off x="1495365" y="1827542"/>
              <a:ext cx="515350" cy="515350"/>
            </a:xfrm>
            <a:custGeom>
              <a:avLst/>
              <a:gdLst>
                <a:gd name="connsiteX0" fmla="*/ 11918 w 677422"/>
                <a:gd name="connsiteY0" fmla="*/ 677422 h 677422"/>
                <a:gd name="connsiteX1" fmla="*/ 665504 w 677422"/>
                <a:gd name="connsiteY1" fmla="*/ 677422 h 677422"/>
                <a:gd name="connsiteX2" fmla="*/ 677422 w 677422"/>
                <a:gd name="connsiteY2" fmla="*/ 665504 h 677422"/>
                <a:gd name="connsiteX3" fmla="*/ 677422 w 677422"/>
                <a:gd name="connsiteY3" fmla="*/ 11918 h 677422"/>
                <a:gd name="connsiteX4" fmla="*/ 665504 w 677422"/>
                <a:gd name="connsiteY4" fmla="*/ 0 h 677422"/>
                <a:gd name="connsiteX5" fmla="*/ 653586 w 677422"/>
                <a:gd name="connsiteY5" fmla="*/ 11918 h 677422"/>
                <a:gd name="connsiteX6" fmla="*/ 653586 w 677422"/>
                <a:gd name="connsiteY6" fmla="*/ 653570 h 677422"/>
                <a:gd name="connsiteX7" fmla="*/ 11918 w 677422"/>
                <a:gd name="connsiteY7" fmla="*/ 653570 h 677422"/>
                <a:gd name="connsiteX8" fmla="*/ 0 w 677422"/>
                <a:gd name="connsiteY8" fmla="*/ 665488 h 677422"/>
                <a:gd name="connsiteX9" fmla="*/ 11918 w 677422"/>
                <a:gd name="connsiteY9" fmla="*/ 677406 h 677422"/>
                <a:gd name="connsiteX10" fmla="*/ 11918 w 677422"/>
                <a:gd name="connsiteY10" fmla="*/ 677406 h 677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7422" h="677422">
                  <a:moveTo>
                    <a:pt x="11918" y="677422"/>
                  </a:moveTo>
                  <a:lnTo>
                    <a:pt x="665504" y="677422"/>
                  </a:lnTo>
                  <a:cubicBezTo>
                    <a:pt x="672084" y="677422"/>
                    <a:pt x="677422" y="672084"/>
                    <a:pt x="677422" y="665504"/>
                  </a:cubicBezTo>
                  <a:lnTo>
                    <a:pt x="677422" y="11918"/>
                  </a:lnTo>
                  <a:cubicBezTo>
                    <a:pt x="677422" y="5338"/>
                    <a:pt x="672084" y="0"/>
                    <a:pt x="665504" y="0"/>
                  </a:cubicBezTo>
                  <a:cubicBezTo>
                    <a:pt x="658924" y="0"/>
                    <a:pt x="653586" y="5338"/>
                    <a:pt x="653586" y="11918"/>
                  </a:cubicBezTo>
                  <a:lnTo>
                    <a:pt x="653586" y="653570"/>
                  </a:lnTo>
                  <a:lnTo>
                    <a:pt x="11918" y="653570"/>
                  </a:lnTo>
                  <a:cubicBezTo>
                    <a:pt x="5338" y="653570"/>
                    <a:pt x="0" y="658908"/>
                    <a:pt x="0" y="665488"/>
                  </a:cubicBezTo>
                  <a:cubicBezTo>
                    <a:pt x="0" y="672068"/>
                    <a:pt x="5338" y="677406"/>
                    <a:pt x="11918" y="677406"/>
                  </a:cubicBezTo>
                  <a:lnTo>
                    <a:pt x="11918" y="677406"/>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grpSp>
      <p:grpSp>
        <p:nvGrpSpPr>
          <p:cNvPr id="106" name="Group 105">
            <a:extLst>
              <a:ext uri="{FF2B5EF4-FFF2-40B4-BE49-F238E27FC236}">
                <a16:creationId xmlns:a16="http://schemas.microsoft.com/office/drawing/2014/main" id="{4EBEB098-A03F-9963-D59B-47FB2AFB39F6}"/>
              </a:ext>
            </a:extLst>
          </p:cNvPr>
          <p:cNvGrpSpPr/>
          <p:nvPr/>
        </p:nvGrpSpPr>
        <p:grpSpPr>
          <a:xfrm>
            <a:off x="7882481" y="2846045"/>
            <a:ext cx="1476834" cy="877995"/>
            <a:chOff x="998400" y="4177143"/>
            <a:chExt cx="2076840" cy="1234705"/>
          </a:xfrm>
        </p:grpSpPr>
        <p:sp>
          <p:nvSpPr>
            <p:cNvPr id="107" name="Rectangle 106">
              <a:extLst>
                <a:ext uri="{FF2B5EF4-FFF2-40B4-BE49-F238E27FC236}">
                  <a16:creationId xmlns:a16="http://schemas.microsoft.com/office/drawing/2014/main" id="{B92EEDBE-1DF0-D706-BF41-9BCBC1C7D4B2}"/>
                </a:ext>
              </a:extLst>
            </p:cNvPr>
            <p:cNvSpPr>
              <a:spLocks/>
            </p:cNvSpPr>
            <p:nvPr/>
          </p:nvSpPr>
          <p:spPr>
            <a:xfrm>
              <a:off x="998400" y="4177143"/>
              <a:ext cx="1863853" cy="519383"/>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2400"/>
                </a:spcAft>
                <a:buClrTx/>
                <a:buSzTx/>
                <a:buFontTx/>
                <a:buNone/>
                <a:tabLst/>
                <a:defRPr/>
              </a:pPr>
              <a:r>
                <a:rPr kumimoji="0" lang="en-US" sz="2400" b="0" i="0" u="none" strike="noStrike" kern="1200" cap="none" spc="0" normalizeH="0" baseline="0" noProof="0">
                  <a:ln>
                    <a:noFill/>
                  </a:ln>
                  <a:solidFill>
                    <a:schemeClr val="tx2"/>
                  </a:solidFill>
                  <a:effectLst/>
                  <a:uLnTx/>
                  <a:uFillTx/>
                  <a:latin typeface="KPMG Bold"/>
                  <a:ea typeface="+mn-ea"/>
                  <a:cs typeface="+mn-cs"/>
                </a:rPr>
                <a:t>Ryan Tuggle</a:t>
              </a:r>
              <a:endParaRPr kumimoji="0" lang="en-US" sz="1100" b="0" i="0" u="none" strike="noStrike" kern="1200" cap="none" spc="0" normalizeH="0" baseline="0" noProof="0">
                <a:ln>
                  <a:noFill/>
                </a:ln>
                <a:solidFill>
                  <a:schemeClr val="tx2"/>
                </a:solidFill>
                <a:effectLst/>
                <a:uLnTx/>
                <a:uFillTx/>
                <a:latin typeface="Arial"/>
                <a:ea typeface="+mn-ea"/>
                <a:cs typeface="+mn-cs"/>
              </a:endParaRPr>
            </a:p>
          </p:txBody>
        </p:sp>
        <p:cxnSp>
          <p:nvCxnSpPr>
            <p:cNvPr id="108" name="Straight Connector 107">
              <a:extLst>
                <a:ext uri="{FF2B5EF4-FFF2-40B4-BE49-F238E27FC236}">
                  <a16:creationId xmlns:a16="http://schemas.microsoft.com/office/drawing/2014/main" id="{E1E7A136-BE91-3F8A-3064-DCF1F9EFA8B2}"/>
                </a:ext>
              </a:extLst>
            </p:cNvPr>
            <p:cNvCxnSpPr/>
            <p:nvPr/>
          </p:nvCxnSpPr>
          <p:spPr>
            <a:xfrm>
              <a:off x="998400" y="4748029"/>
              <a:ext cx="71845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773D1B9D-8EEE-EE3F-94A0-FB932E767632}"/>
                </a:ext>
              </a:extLst>
            </p:cNvPr>
            <p:cNvSpPr>
              <a:spLocks/>
            </p:cNvSpPr>
            <p:nvPr/>
          </p:nvSpPr>
          <p:spPr>
            <a:xfrm>
              <a:off x="998400" y="4935747"/>
              <a:ext cx="2076840" cy="476101"/>
            </a:xfrm>
            <a:prstGeom prst="rect">
              <a:avLst/>
            </a:prstGeom>
          </p:spPr>
          <p:txBody>
            <a:bodyPr wrap="square" lIns="0" tIns="0" rIns="0" bIns="0">
              <a:spAutoFit/>
            </a:bodyPr>
            <a:lstStyle/>
            <a:p>
              <a:pPr>
                <a:spcAft>
                  <a:spcPts val="2400"/>
                </a:spcAft>
              </a:pPr>
              <a:r>
                <a:rPr lang="en-US" sz="1100" i="1"/>
                <a:t>Data Lake Engineering Partner</a:t>
              </a:r>
            </a:p>
          </p:txBody>
        </p:sp>
      </p:grpSp>
      <p:sp>
        <p:nvSpPr>
          <p:cNvPr id="163" name="Freeform: Shape 162">
            <a:extLst>
              <a:ext uri="{FF2B5EF4-FFF2-40B4-BE49-F238E27FC236}">
                <a16:creationId xmlns:a16="http://schemas.microsoft.com/office/drawing/2014/main" id="{5699757D-7427-9420-5DE0-690B8B6E179B}"/>
              </a:ext>
            </a:extLst>
          </p:cNvPr>
          <p:cNvSpPr/>
          <p:nvPr userDrawn="1"/>
        </p:nvSpPr>
        <p:spPr>
          <a:xfrm flipH="1">
            <a:off x="1240594" y="4604902"/>
            <a:ext cx="243782" cy="241151"/>
          </a:xfrm>
          <a:custGeom>
            <a:avLst/>
            <a:gdLst>
              <a:gd name="connsiteX0" fmla="*/ 290133 w 290133"/>
              <a:gd name="connsiteY0" fmla="*/ 14001 h 287002"/>
              <a:gd name="connsiteX1" fmla="*/ 281521 w 290133"/>
              <a:gd name="connsiteY1" fmla="*/ 1084 h 287002"/>
              <a:gd name="connsiteX2" fmla="*/ 266281 w 290133"/>
              <a:gd name="connsiteY2" fmla="*/ 4051 h 287002"/>
              <a:gd name="connsiteX3" fmla="*/ 4166 w 290133"/>
              <a:gd name="connsiteY3" fmla="*/ 263021 h 287002"/>
              <a:gd name="connsiteX4" fmla="*/ 1053 w 290133"/>
              <a:gd name="connsiteY4" fmla="*/ 278310 h 287002"/>
              <a:gd name="connsiteX5" fmla="*/ 14003 w 290133"/>
              <a:gd name="connsiteY5" fmla="*/ 287002 h 287002"/>
              <a:gd name="connsiteX6" fmla="*/ 276119 w 290133"/>
              <a:gd name="connsiteY6" fmla="*/ 287002 h 287002"/>
              <a:gd name="connsiteX7" fmla="*/ 290133 w 290133"/>
              <a:gd name="connsiteY7" fmla="*/ 272988 h 287002"/>
              <a:gd name="connsiteX8" fmla="*/ 290133 w 290133"/>
              <a:gd name="connsiteY8" fmla="*/ 14018 h 287002"/>
              <a:gd name="connsiteX9" fmla="*/ 290133 w 290133"/>
              <a:gd name="connsiteY9" fmla="*/ 14018 h 287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133" h="287002">
                <a:moveTo>
                  <a:pt x="290133" y="14001"/>
                </a:moveTo>
                <a:cubicBezTo>
                  <a:pt x="290133" y="8357"/>
                  <a:pt x="286746" y="3261"/>
                  <a:pt x="281521" y="1084"/>
                </a:cubicBezTo>
                <a:cubicBezTo>
                  <a:pt x="276312" y="-1094"/>
                  <a:pt x="270297" y="67"/>
                  <a:pt x="266281" y="4051"/>
                </a:cubicBezTo>
                <a:cubicBezTo>
                  <a:pt x="208642" y="61012"/>
                  <a:pt x="62224" y="205657"/>
                  <a:pt x="4166" y="263021"/>
                </a:cubicBezTo>
                <a:cubicBezTo>
                  <a:pt x="118" y="267021"/>
                  <a:pt x="-1108" y="273052"/>
                  <a:pt x="1053" y="278310"/>
                </a:cubicBezTo>
                <a:cubicBezTo>
                  <a:pt x="3214" y="283567"/>
                  <a:pt x="8327" y="287002"/>
                  <a:pt x="14003" y="287002"/>
                </a:cubicBezTo>
                <a:lnTo>
                  <a:pt x="276119" y="287002"/>
                </a:lnTo>
                <a:cubicBezTo>
                  <a:pt x="283860" y="287002"/>
                  <a:pt x="290133" y="280729"/>
                  <a:pt x="290133" y="272988"/>
                </a:cubicBezTo>
                <a:lnTo>
                  <a:pt x="290133" y="14018"/>
                </a:lnTo>
                <a:lnTo>
                  <a:pt x="290133" y="14018"/>
                </a:lnTo>
                <a:close/>
              </a:path>
            </a:pathLst>
          </a:custGeom>
          <a:gradFill>
            <a:gsLst>
              <a:gs pos="0">
                <a:srgbClr val="3B63E4"/>
              </a:gs>
              <a:gs pos="100000">
                <a:srgbClr val="2EC8BA"/>
              </a:gs>
            </a:gsLst>
            <a:lin ang="5400000" scaled="1"/>
          </a:gradFill>
          <a:ln w="1611" cap="flat">
            <a:noFill/>
            <a:prstDash val="solid"/>
            <a:miter/>
          </a:ln>
        </p:spPr>
        <p:txBody>
          <a:bodyPr rtlCol="0" anchor="ctr"/>
          <a:lstStyle/>
          <a:p>
            <a:endParaRPr lang="en-US">
              <a:solidFill>
                <a:schemeClr val="tx2"/>
              </a:solidFill>
            </a:endParaRPr>
          </a:p>
        </p:txBody>
      </p:sp>
      <p:sp>
        <p:nvSpPr>
          <p:cNvPr id="164" name="Freeform: Shape 163">
            <a:extLst>
              <a:ext uri="{FF2B5EF4-FFF2-40B4-BE49-F238E27FC236}">
                <a16:creationId xmlns:a16="http://schemas.microsoft.com/office/drawing/2014/main" id="{5D0FBAC9-8EB5-E023-8FF0-550628C0980F}"/>
              </a:ext>
            </a:extLst>
          </p:cNvPr>
          <p:cNvSpPr/>
          <p:nvPr userDrawn="1"/>
        </p:nvSpPr>
        <p:spPr>
          <a:xfrm flipH="1">
            <a:off x="1193179" y="3774679"/>
            <a:ext cx="976415" cy="569184"/>
          </a:xfrm>
          <a:custGeom>
            <a:avLst/>
            <a:gdLst>
              <a:gd name="connsiteX0" fmla="*/ 1162065 w 1162064"/>
              <a:gd name="connsiteY0" fmla="*/ 665504 h 677405"/>
              <a:gd name="connsiteX1" fmla="*/ 496561 w 1162064"/>
              <a:gd name="connsiteY1" fmla="*/ 0 h 677405"/>
              <a:gd name="connsiteX2" fmla="*/ 496561 w 1162064"/>
              <a:gd name="connsiteY2" fmla="*/ 0 h 677405"/>
              <a:gd name="connsiteX3" fmla="*/ 3085 w 1162064"/>
              <a:gd name="connsiteY3" fmla="*/ 218975 h 677405"/>
              <a:gd name="connsiteX4" fmla="*/ 3924 w 1162064"/>
              <a:gd name="connsiteY4" fmla="*/ 235812 h 677405"/>
              <a:gd name="connsiteX5" fmla="*/ 20760 w 1162064"/>
              <a:gd name="connsiteY5" fmla="*/ 234973 h 677405"/>
              <a:gd name="connsiteX6" fmla="*/ 496561 w 1162064"/>
              <a:gd name="connsiteY6" fmla="*/ 23836 h 677405"/>
              <a:gd name="connsiteX7" fmla="*/ 496561 w 1162064"/>
              <a:gd name="connsiteY7" fmla="*/ 23836 h 677405"/>
              <a:gd name="connsiteX8" fmla="*/ 1138213 w 1162064"/>
              <a:gd name="connsiteY8" fmla="*/ 665488 h 677405"/>
              <a:gd name="connsiteX9" fmla="*/ 1150131 w 1162064"/>
              <a:gd name="connsiteY9" fmla="*/ 677406 h 677405"/>
              <a:gd name="connsiteX10" fmla="*/ 1162049 w 1162064"/>
              <a:gd name="connsiteY10" fmla="*/ 665488 h 677405"/>
              <a:gd name="connsiteX11" fmla="*/ 1162049 w 1162064"/>
              <a:gd name="connsiteY11" fmla="*/ 665488 h 6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2064" h="677405">
                <a:moveTo>
                  <a:pt x="1162065" y="665504"/>
                </a:moveTo>
                <a:cubicBezTo>
                  <a:pt x="1162065" y="297950"/>
                  <a:pt x="864115" y="0"/>
                  <a:pt x="496561" y="0"/>
                </a:cubicBezTo>
                <a:lnTo>
                  <a:pt x="496561" y="0"/>
                </a:lnTo>
                <a:cubicBezTo>
                  <a:pt x="300841" y="0"/>
                  <a:pt x="124861" y="84490"/>
                  <a:pt x="3085" y="218975"/>
                </a:cubicBezTo>
                <a:cubicBezTo>
                  <a:pt x="-1334" y="223845"/>
                  <a:pt x="-963" y="231393"/>
                  <a:pt x="3924" y="235812"/>
                </a:cubicBezTo>
                <a:cubicBezTo>
                  <a:pt x="8794" y="240230"/>
                  <a:pt x="16341" y="239859"/>
                  <a:pt x="20760" y="234973"/>
                </a:cubicBezTo>
                <a:cubicBezTo>
                  <a:pt x="138182" y="105310"/>
                  <a:pt x="307856" y="23836"/>
                  <a:pt x="496561" y="23836"/>
                </a:cubicBezTo>
                <a:lnTo>
                  <a:pt x="496561" y="23836"/>
                </a:lnTo>
                <a:cubicBezTo>
                  <a:pt x="850939" y="23836"/>
                  <a:pt x="1138213" y="311109"/>
                  <a:pt x="1138213" y="665488"/>
                </a:cubicBezTo>
                <a:cubicBezTo>
                  <a:pt x="1138213" y="672068"/>
                  <a:pt x="1143551" y="677406"/>
                  <a:pt x="1150131" y="677406"/>
                </a:cubicBezTo>
                <a:cubicBezTo>
                  <a:pt x="1156711" y="677406"/>
                  <a:pt x="1162049" y="672068"/>
                  <a:pt x="1162049" y="665488"/>
                </a:cubicBezTo>
                <a:lnTo>
                  <a:pt x="1162049" y="665488"/>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sp>
        <p:nvSpPr>
          <p:cNvPr id="165" name="Freeform: Shape 164">
            <a:extLst>
              <a:ext uri="{FF2B5EF4-FFF2-40B4-BE49-F238E27FC236}">
                <a16:creationId xmlns:a16="http://schemas.microsoft.com/office/drawing/2014/main" id="{EAEAC39E-DD24-210D-86ED-E9A2099BDEB7}"/>
              </a:ext>
            </a:extLst>
          </p:cNvPr>
          <p:cNvSpPr/>
          <p:nvPr userDrawn="1"/>
        </p:nvSpPr>
        <p:spPr>
          <a:xfrm flipH="1">
            <a:off x="1742350" y="4612575"/>
            <a:ext cx="487269" cy="280472"/>
          </a:xfrm>
          <a:custGeom>
            <a:avLst/>
            <a:gdLst>
              <a:gd name="connsiteX0" fmla="*/ 1789 w 579916"/>
              <a:gd name="connsiteY0" fmla="*/ 18174 h 333799"/>
              <a:gd name="connsiteX1" fmla="*/ 567998 w 579916"/>
              <a:gd name="connsiteY1" fmla="*/ 333799 h 333799"/>
              <a:gd name="connsiteX2" fmla="*/ 579916 w 579916"/>
              <a:gd name="connsiteY2" fmla="*/ 321881 h 333799"/>
              <a:gd name="connsiteX3" fmla="*/ 567998 w 579916"/>
              <a:gd name="connsiteY3" fmla="*/ 309963 h 333799"/>
              <a:gd name="connsiteX4" fmla="*/ 22061 w 579916"/>
              <a:gd name="connsiteY4" fmla="*/ 5643 h 333799"/>
              <a:gd name="connsiteX5" fmla="*/ 5643 w 579916"/>
              <a:gd name="connsiteY5" fmla="*/ 1789 h 333799"/>
              <a:gd name="connsiteX6" fmla="*/ 1789 w 579916"/>
              <a:gd name="connsiteY6" fmla="*/ 18206 h 333799"/>
              <a:gd name="connsiteX7" fmla="*/ 1789 w 579916"/>
              <a:gd name="connsiteY7" fmla="*/ 18206 h 33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916" h="333799">
                <a:moveTo>
                  <a:pt x="1789" y="18174"/>
                </a:moveTo>
                <a:cubicBezTo>
                  <a:pt x="119098" y="207604"/>
                  <a:pt x="328816" y="333799"/>
                  <a:pt x="567998" y="333799"/>
                </a:cubicBezTo>
                <a:cubicBezTo>
                  <a:pt x="574578" y="333799"/>
                  <a:pt x="579916" y="328461"/>
                  <a:pt x="579916" y="321881"/>
                </a:cubicBezTo>
                <a:cubicBezTo>
                  <a:pt x="579916" y="315301"/>
                  <a:pt x="574578" y="309963"/>
                  <a:pt x="567998" y="309963"/>
                </a:cubicBezTo>
                <a:cubicBezTo>
                  <a:pt x="337363" y="309963"/>
                  <a:pt x="135161" y="188284"/>
                  <a:pt x="22061" y="5643"/>
                </a:cubicBezTo>
                <a:cubicBezTo>
                  <a:pt x="18594" y="47"/>
                  <a:pt x="11240" y="-1678"/>
                  <a:pt x="5643" y="1789"/>
                </a:cubicBezTo>
                <a:cubicBezTo>
                  <a:pt x="47" y="5256"/>
                  <a:pt x="-1678" y="12610"/>
                  <a:pt x="1789" y="18206"/>
                </a:cubicBezTo>
                <a:lnTo>
                  <a:pt x="1789" y="18206"/>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sp>
        <p:nvSpPr>
          <p:cNvPr id="166" name="Freeform: Shape 165">
            <a:extLst>
              <a:ext uri="{FF2B5EF4-FFF2-40B4-BE49-F238E27FC236}">
                <a16:creationId xmlns:a16="http://schemas.microsoft.com/office/drawing/2014/main" id="{EC593DAA-798F-BBD2-1587-F4935D03BF4D}"/>
              </a:ext>
            </a:extLst>
          </p:cNvPr>
          <p:cNvSpPr/>
          <p:nvPr userDrawn="1"/>
        </p:nvSpPr>
        <p:spPr>
          <a:xfrm flipH="1">
            <a:off x="1193179" y="4323850"/>
            <a:ext cx="569198" cy="569198"/>
          </a:xfrm>
          <a:custGeom>
            <a:avLst/>
            <a:gdLst>
              <a:gd name="connsiteX0" fmla="*/ 11918 w 677422"/>
              <a:gd name="connsiteY0" fmla="*/ 677422 h 677422"/>
              <a:gd name="connsiteX1" fmla="*/ 665504 w 677422"/>
              <a:gd name="connsiteY1" fmla="*/ 677422 h 677422"/>
              <a:gd name="connsiteX2" fmla="*/ 677422 w 677422"/>
              <a:gd name="connsiteY2" fmla="*/ 665504 h 677422"/>
              <a:gd name="connsiteX3" fmla="*/ 677422 w 677422"/>
              <a:gd name="connsiteY3" fmla="*/ 11918 h 677422"/>
              <a:gd name="connsiteX4" fmla="*/ 665504 w 677422"/>
              <a:gd name="connsiteY4" fmla="*/ 0 h 677422"/>
              <a:gd name="connsiteX5" fmla="*/ 653586 w 677422"/>
              <a:gd name="connsiteY5" fmla="*/ 11918 h 677422"/>
              <a:gd name="connsiteX6" fmla="*/ 653586 w 677422"/>
              <a:gd name="connsiteY6" fmla="*/ 653570 h 677422"/>
              <a:gd name="connsiteX7" fmla="*/ 11918 w 677422"/>
              <a:gd name="connsiteY7" fmla="*/ 653570 h 677422"/>
              <a:gd name="connsiteX8" fmla="*/ 0 w 677422"/>
              <a:gd name="connsiteY8" fmla="*/ 665488 h 677422"/>
              <a:gd name="connsiteX9" fmla="*/ 11918 w 677422"/>
              <a:gd name="connsiteY9" fmla="*/ 677406 h 677422"/>
              <a:gd name="connsiteX10" fmla="*/ 11918 w 677422"/>
              <a:gd name="connsiteY10" fmla="*/ 677406 h 677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7422" h="677422">
                <a:moveTo>
                  <a:pt x="11918" y="677422"/>
                </a:moveTo>
                <a:lnTo>
                  <a:pt x="665504" y="677422"/>
                </a:lnTo>
                <a:cubicBezTo>
                  <a:pt x="672084" y="677422"/>
                  <a:pt x="677422" y="672084"/>
                  <a:pt x="677422" y="665504"/>
                </a:cubicBezTo>
                <a:lnTo>
                  <a:pt x="677422" y="11918"/>
                </a:lnTo>
                <a:cubicBezTo>
                  <a:pt x="677422" y="5338"/>
                  <a:pt x="672084" y="0"/>
                  <a:pt x="665504" y="0"/>
                </a:cubicBezTo>
                <a:cubicBezTo>
                  <a:pt x="658924" y="0"/>
                  <a:pt x="653586" y="5338"/>
                  <a:pt x="653586" y="11918"/>
                </a:cubicBezTo>
                <a:lnTo>
                  <a:pt x="653586" y="653570"/>
                </a:lnTo>
                <a:lnTo>
                  <a:pt x="11918" y="653570"/>
                </a:lnTo>
                <a:cubicBezTo>
                  <a:pt x="5338" y="653570"/>
                  <a:pt x="0" y="658908"/>
                  <a:pt x="0" y="665488"/>
                </a:cubicBezTo>
                <a:cubicBezTo>
                  <a:pt x="0" y="672068"/>
                  <a:pt x="5338" y="677406"/>
                  <a:pt x="11918" y="677406"/>
                </a:cubicBezTo>
                <a:lnTo>
                  <a:pt x="11918" y="677406"/>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grpSp>
        <p:nvGrpSpPr>
          <p:cNvPr id="157" name="Group 156">
            <a:extLst>
              <a:ext uri="{FF2B5EF4-FFF2-40B4-BE49-F238E27FC236}">
                <a16:creationId xmlns:a16="http://schemas.microsoft.com/office/drawing/2014/main" id="{F702A319-13EE-76DE-1C7C-311B0B037182}"/>
              </a:ext>
            </a:extLst>
          </p:cNvPr>
          <p:cNvGrpSpPr/>
          <p:nvPr/>
        </p:nvGrpSpPr>
        <p:grpSpPr>
          <a:xfrm>
            <a:off x="1193182" y="5090824"/>
            <a:ext cx="1325379" cy="708719"/>
            <a:chOff x="998400" y="4177143"/>
            <a:chExt cx="1863853" cy="996655"/>
          </a:xfrm>
        </p:grpSpPr>
        <p:sp>
          <p:nvSpPr>
            <p:cNvPr id="158" name="Rectangle 157">
              <a:extLst>
                <a:ext uri="{FF2B5EF4-FFF2-40B4-BE49-F238E27FC236}">
                  <a16:creationId xmlns:a16="http://schemas.microsoft.com/office/drawing/2014/main" id="{B5405B8C-DC1D-9560-485D-4FE047FFCC42}"/>
                </a:ext>
              </a:extLst>
            </p:cNvPr>
            <p:cNvSpPr>
              <a:spLocks/>
            </p:cNvSpPr>
            <p:nvPr/>
          </p:nvSpPr>
          <p:spPr>
            <a:xfrm>
              <a:off x="998400" y="4177143"/>
              <a:ext cx="1863853" cy="519383"/>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2400"/>
                </a:spcAft>
                <a:buClrTx/>
                <a:buSzTx/>
                <a:buFontTx/>
                <a:buNone/>
                <a:tabLst/>
                <a:defRPr/>
              </a:pPr>
              <a:r>
                <a:rPr kumimoji="0" lang="en-US" sz="2400" b="0" i="0" u="none" strike="noStrike" kern="1200" cap="none" spc="0" normalizeH="0" baseline="0" noProof="0">
                  <a:ln>
                    <a:noFill/>
                  </a:ln>
                  <a:solidFill>
                    <a:schemeClr val="tx2"/>
                  </a:solidFill>
                  <a:effectLst/>
                  <a:uLnTx/>
                  <a:uFillTx/>
                  <a:latin typeface="KPMG Bold"/>
                  <a:ea typeface="+mn-ea"/>
                  <a:cs typeface="+mn-cs"/>
                </a:rPr>
                <a:t>Mark Muto</a:t>
              </a:r>
              <a:endParaRPr kumimoji="0" lang="en-US" sz="1100" b="0" i="0" u="none" strike="noStrike" kern="1200" cap="none" spc="0" normalizeH="0" baseline="0" noProof="0">
                <a:ln>
                  <a:noFill/>
                </a:ln>
                <a:solidFill>
                  <a:schemeClr val="tx2"/>
                </a:solidFill>
                <a:effectLst/>
                <a:uLnTx/>
                <a:uFillTx/>
                <a:latin typeface="Arial"/>
                <a:ea typeface="+mn-ea"/>
                <a:cs typeface="+mn-cs"/>
              </a:endParaRPr>
            </a:p>
          </p:txBody>
        </p:sp>
        <p:cxnSp>
          <p:nvCxnSpPr>
            <p:cNvPr id="159" name="Straight Connector 158">
              <a:extLst>
                <a:ext uri="{FF2B5EF4-FFF2-40B4-BE49-F238E27FC236}">
                  <a16:creationId xmlns:a16="http://schemas.microsoft.com/office/drawing/2014/main" id="{9819DA4F-11DE-16FF-8959-FE8F4438EEA3}"/>
                </a:ext>
              </a:extLst>
            </p:cNvPr>
            <p:cNvCxnSpPr/>
            <p:nvPr/>
          </p:nvCxnSpPr>
          <p:spPr>
            <a:xfrm>
              <a:off x="998400" y="4748029"/>
              <a:ext cx="71845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60" name="Rectangle 159">
              <a:extLst>
                <a:ext uri="{FF2B5EF4-FFF2-40B4-BE49-F238E27FC236}">
                  <a16:creationId xmlns:a16="http://schemas.microsoft.com/office/drawing/2014/main" id="{963DF899-9ECF-411A-C9E8-60916108722A}"/>
                </a:ext>
              </a:extLst>
            </p:cNvPr>
            <p:cNvSpPr>
              <a:spLocks/>
            </p:cNvSpPr>
            <p:nvPr/>
          </p:nvSpPr>
          <p:spPr>
            <a:xfrm>
              <a:off x="998400" y="4935748"/>
              <a:ext cx="1863853" cy="238050"/>
            </a:xfrm>
            <a:prstGeom prst="rect">
              <a:avLst/>
            </a:prstGeom>
          </p:spPr>
          <p:txBody>
            <a:bodyPr wrap="square" lIns="0" tIns="0" rIns="0" bIns="0">
              <a:spAutoFit/>
            </a:bodyPr>
            <a:lstStyle/>
            <a:p>
              <a:pPr>
                <a:spcAft>
                  <a:spcPts val="2400"/>
                </a:spcAft>
              </a:pPr>
              <a:r>
                <a:rPr lang="en-US" sz="1100" i="1"/>
                <a:t>IAM Director</a:t>
              </a:r>
            </a:p>
          </p:txBody>
        </p:sp>
      </p:grpSp>
      <p:sp>
        <p:nvSpPr>
          <p:cNvPr id="152" name="Freeform: Shape 151">
            <a:extLst>
              <a:ext uri="{FF2B5EF4-FFF2-40B4-BE49-F238E27FC236}">
                <a16:creationId xmlns:a16="http://schemas.microsoft.com/office/drawing/2014/main" id="{9F3D506F-E879-2638-9DF3-63ED726F7063}"/>
              </a:ext>
            </a:extLst>
          </p:cNvPr>
          <p:cNvSpPr/>
          <p:nvPr userDrawn="1"/>
        </p:nvSpPr>
        <p:spPr>
          <a:xfrm flipH="1">
            <a:off x="9157173" y="4604902"/>
            <a:ext cx="243782" cy="241151"/>
          </a:xfrm>
          <a:custGeom>
            <a:avLst/>
            <a:gdLst>
              <a:gd name="connsiteX0" fmla="*/ 290133 w 290133"/>
              <a:gd name="connsiteY0" fmla="*/ 14001 h 287002"/>
              <a:gd name="connsiteX1" fmla="*/ 281521 w 290133"/>
              <a:gd name="connsiteY1" fmla="*/ 1084 h 287002"/>
              <a:gd name="connsiteX2" fmla="*/ 266281 w 290133"/>
              <a:gd name="connsiteY2" fmla="*/ 4051 h 287002"/>
              <a:gd name="connsiteX3" fmla="*/ 4166 w 290133"/>
              <a:gd name="connsiteY3" fmla="*/ 263021 h 287002"/>
              <a:gd name="connsiteX4" fmla="*/ 1053 w 290133"/>
              <a:gd name="connsiteY4" fmla="*/ 278310 h 287002"/>
              <a:gd name="connsiteX5" fmla="*/ 14003 w 290133"/>
              <a:gd name="connsiteY5" fmla="*/ 287002 h 287002"/>
              <a:gd name="connsiteX6" fmla="*/ 276119 w 290133"/>
              <a:gd name="connsiteY6" fmla="*/ 287002 h 287002"/>
              <a:gd name="connsiteX7" fmla="*/ 290133 w 290133"/>
              <a:gd name="connsiteY7" fmla="*/ 272988 h 287002"/>
              <a:gd name="connsiteX8" fmla="*/ 290133 w 290133"/>
              <a:gd name="connsiteY8" fmla="*/ 14018 h 287002"/>
              <a:gd name="connsiteX9" fmla="*/ 290133 w 290133"/>
              <a:gd name="connsiteY9" fmla="*/ 14018 h 287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133" h="287002">
                <a:moveTo>
                  <a:pt x="290133" y="14001"/>
                </a:moveTo>
                <a:cubicBezTo>
                  <a:pt x="290133" y="8357"/>
                  <a:pt x="286746" y="3261"/>
                  <a:pt x="281521" y="1084"/>
                </a:cubicBezTo>
                <a:cubicBezTo>
                  <a:pt x="276312" y="-1094"/>
                  <a:pt x="270297" y="67"/>
                  <a:pt x="266281" y="4051"/>
                </a:cubicBezTo>
                <a:cubicBezTo>
                  <a:pt x="208642" y="61012"/>
                  <a:pt x="62224" y="205657"/>
                  <a:pt x="4166" y="263021"/>
                </a:cubicBezTo>
                <a:cubicBezTo>
                  <a:pt x="118" y="267021"/>
                  <a:pt x="-1108" y="273052"/>
                  <a:pt x="1053" y="278310"/>
                </a:cubicBezTo>
                <a:cubicBezTo>
                  <a:pt x="3214" y="283567"/>
                  <a:pt x="8327" y="287002"/>
                  <a:pt x="14003" y="287002"/>
                </a:cubicBezTo>
                <a:lnTo>
                  <a:pt x="276119" y="287002"/>
                </a:lnTo>
                <a:cubicBezTo>
                  <a:pt x="283860" y="287002"/>
                  <a:pt x="290133" y="280729"/>
                  <a:pt x="290133" y="272988"/>
                </a:cubicBezTo>
                <a:lnTo>
                  <a:pt x="290133" y="14018"/>
                </a:lnTo>
                <a:lnTo>
                  <a:pt x="290133" y="14018"/>
                </a:lnTo>
                <a:close/>
              </a:path>
            </a:pathLst>
          </a:custGeom>
          <a:gradFill>
            <a:gsLst>
              <a:gs pos="0">
                <a:srgbClr val="3B63E4"/>
              </a:gs>
              <a:gs pos="100000">
                <a:srgbClr val="2EC8BA"/>
              </a:gs>
            </a:gsLst>
            <a:lin ang="5400000" scaled="1"/>
          </a:gradFill>
          <a:ln w="1611" cap="flat">
            <a:noFill/>
            <a:prstDash val="solid"/>
            <a:miter/>
          </a:ln>
        </p:spPr>
        <p:txBody>
          <a:bodyPr rtlCol="0" anchor="ctr"/>
          <a:lstStyle/>
          <a:p>
            <a:endParaRPr lang="en-US">
              <a:solidFill>
                <a:schemeClr val="tx2"/>
              </a:solidFill>
            </a:endParaRPr>
          </a:p>
        </p:txBody>
      </p:sp>
      <p:sp>
        <p:nvSpPr>
          <p:cNvPr id="153" name="Freeform: Shape 152">
            <a:extLst>
              <a:ext uri="{FF2B5EF4-FFF2-40B4-BE49-F238E27FC236}">
                <a16:creationId xmlns:a16="http://schemas.microsoft.com/office/drawing/2014/main" id="{2729EAE6-9E99-AAB0-F2C6-3DEBE0C50CF7}"/>
              </a:ext>
            </a:extLst>
          </p:cNvPr>
          <p:cNvSpPr/>
          <p:nvPr userDrawn="1"/>
        </p:nvSpPr>
        <p:spPr>
          <a:xfrm flipH="1">
            <a:off x="9109758" y="3774679"/>
            <a:ext cx="976415" cy="569184"/>
          </a:xfrm>
          <a:custGeom>
            <a:avLst/>
            <a:gdLst>
              <a:gd name="connsiteX0" fmla="*/ 1162065 w 1162064"/>
              <a:gd name="connsiteY0" fmla="*/ 665504 h 677405"/>
              <a:gd name="connsiteX1" fmla="*/ 496561 w 1162064"/>
              <a:gd name="connsiteY1" fmla="*/ 0 h 677405"/>
              <a:gd name="connsiteX2" fmla="*/ 496561 w 1162064"/>
              <a:gd name="connsiteY2" fmla="*/ 0 h 677405"/>
              <a:gd name="connsiteX3" fmla="*/ 3085 w 1162064"/>
              <a:gd name="connsiteY3" fmla="*/ 218975 h 677405"/>
              <a:gd name="connsiteX4" fmla="*/ 3924 w 1162064"/>
              <a:gd name="connsiteY4" fmla="*/ 235812 h 677405"/>
              <a:gd name="connsiteX5" fmla="*/ 20760 w 1162064"/>
              <a:gd name="connsiteY5" fmla="*/ 234973 h 677405"/>
              <a:gd name="connsiteX6" fmla="*/ 496561 w 1162064"/>
              <a:gd name="connsiteY6" fmla="*/ 23836 h 677405"/>
              <a:gd name="connsiteX7" fmla="*/ 496561 w 1162064"/>
              <a:gd name="connsiteY7" fmla="*/ 23836 h 677405"/>
              <a:gd name="connsiteX8" fmla="*/ 1138213 w 1162064"/>
              <a:gd name="connsiteY8" fmla="*/ 665488 h 677405"/>
              <a:gd name="connsiteX9" fmla="*/ 1150131 w 1162064"/>
              <a:gd name="connsiteY9" fmla="*/ 677406 h 677405"/>
              <a:gd name="connsiteX10" fmla="*/ 1162049 w 1162064"/>
              <a:gd name="connsiteY10" fmla="*/ 665488 h 677405"/>
              <a:gd name="connsiteX11" fmla="*/ 1162049 w 1162064"/>
              <a:gd name="connsiteY11" fmla="*/ 665488 h 6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2064" h="677405">
                <a:moveTo>
                  <a:pt x="1162065" y="665504"/>
                </a:moveTo>
                <a:cubicBezTo>
                  <a:pt x="1162065" y="297950"/>
                  <a:pt x="864115" y="0"/>
                  <a:pt x="496561" y="0"/>
                </a:cubicBezTo>
                <a:lnTo>
                  <a:pt x="496561" y="0"/>
                </a:lnTo>
                <a:cubicBezTo>
                  <a:pt x="300841" y="0"/>
                  <a:pt x="124861" y="84490"/>
                  <a:pt x="3085" y="218975"/>
                </a:cubicBezTo>
                <a:cubicBezTo>
                  <a:pt x="-1334" y="223845"/>
                  <a:pt x="-963" y="231393"/>
                  <a:pt x="3924" y="235812"/>
                </a:cubicBezTo>
                <a:cubicBezTo>
                  <a:pt x="8794" y="240230"/>
                  <a:pt x="16341" y="239859"/>
                  <a:pt x="20760" y="234973"/>
                </a:cubicBezTo>
                <a:cubicBezTo>
                  <a:pt x="138182" y="105310"/>
                  <a:pt x="307856" y="23836"/>
                  <a:pt x="496561" y="23836"/>
                </a:cubicBezTo>
                <a:lnTo>
                  <a:pt x="496561" y="23836"/>
                </a:lnTo>
                <a:cubicBezTo>
                  <a:pt x="850939" y="23836"/>
                  <a:pt x="1138213" y="311109"/>
                  <a:pt x="1138213" y="665488"/>
                </a:cubicBezTo>
                <a:cubicBezTo>
                  <a:pt x="1138213" y="672068"/>
                  <a:pt x="1143551" y="677406"/>
                  <a:pt x="1150131" y="677406"/>
                </a:cubicBezTo>
                <a:cubicBezTo>
                  <a:pt x="1156711" y="677406"/>
                  <a:pt x="1162049" y="672068"/>
                  <a:pt x="1162049" y="665488"/>
                </a:cubicBezTo>
                <a:lnTo>
                  <a:pt x="1162049" y="665488"/>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sp>
        <p:nvSpPr>
          <p:cNvPr id="154" name="Freeform: Shape 153">
            <a:extLst>
              <a:ext uri="{FF2B5EF4-FFF2-40B4-BE49-F238E27FC236}">
                <a16:creationId xmlns:a16="http://schemas.microsoft.com/office/drawing/2014/main" id="{C5ED4770-7768-D275-96F3-D7D0EA29BF57}"/>
              </a:ext>
            </a:extLst>
          </p:cNvPr>
          <p:cNvSpPr/>
          <p:nvPr userDrawn="1"/>
        </p:nvSpPr>
        <p:spPr>
          <a:xfrm flipH="1">
            <a:off x="9658929" y="4612575"/>
            <a:ext cx="487269" cy="280472"/>
          </a:xfrm>
          <a:custGeom>
            <a:avLst/>
            <a:gdLst>
              <a:gd name="connsiteX0" fmla="*/ 1789 w 579916"/>
              <a:gd name="connsiteY0" fmla="*/ 18174 h 333799"/>
              <a:gd name="connsiteX1" fmla="*/ 567998 w 579916"/>
              <a:gd name="connsiteY1" fmla="*/ 333799 h 333799"/>
              <a:gd name="connsiteX2" fmla="*/ 579916 w 579916"/>
              <a:gd name="connsiteY2" fmla="*/ 321881 h 333799"/>
              <a:gd name="connsiteX3" fmla="*/ 567998 w 579916"/>
              <a:gd name="connsiteY3" fmla="*/ 309963 h 333799"/>
              <a:gd name="connsiteX4" fmla="*/ 22061 w 579916"/>
              <a:gd name="connsiteY4" fmla="*/ 5643 h 333799"/>
              <a:gd name="connsiteX5" fmla="*/ 5643 w 579916"/>
              <a:gd name="connsiteY5" fmla="*/ 1789 h 333799"/>
              <a:gd name="connsiteX6" fmla="*/ 1789 w 579916"/>
              <a:gd name="connsiteY6" fmla="*/ 18206 h 333799"/>
              <a:gd name="connsiteX7" fmla="*/ 1789 w 579916"/>
              <a:gd name="connsiteY7" fmla="*/ 18206 h 33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916" h="333799">
                <a:moveTo>
                  <a:pt x="1789" y="18174"/>
                </a:moveTo>
                <a:cubicBezTo>
                  <a:pt x="119098" y="207604"/>
                  <a:pt x="328816" y="333799"/>
                  <a:pt x="567998" y="333799"/>
                </a:cubicBezTo>
                <a:cubicBezTo>
                  <a:pt x="574578" y="333799"/>
                  <a:pt x="579916" y="328461"/>
                  <a:pt x="579916" y="321881"/>
                </a:cubicBezTo>
                <a:cubicBezTo>
                  <a:pt x="579916" y="315301"/>
                  <a:pt x="574578" y="309963"/>
                  <a:pt x="567998" y="309963"/>
                </a:cubicBezTo>
                <a:cubicBezTo>
                  <a:pt x="337363" y="309963"/>
                  <a:pt x="135161" y="188284"/>
                  <a:pt x="22061" y="5643"/>
                </a:cubicBezTo>
                <a:cubicBezTo>
                  <a:pt x="18594" y="47"/>
                  <a:pt x="11240" y="-1678"/>
                  <a:pt x="5643" y="1789"/>
                </a:cubicBezTo>
                <a:cubicBezTo>
                  <a:pt x="47" y="5256"/>
                  <a:pt x="-1678" y="12610"/>
                  <a:pt x="1789" y="18206"/>
                </a:cubicBezTo>
                <a:lnTo>
                  <a:pt x="1789" y="18206"/>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sp>
        <p:nvSpPr>
          <p:cNvPr id="155" name="Freeform: Shape 154">
            <a:extLst>
              <a:ext uri="{FF2B5EF4-FFF2-40B4-BE49-F238E27FC236}">
                <a16:creationId xmlns:a16="http://schemas.microsoft.com/office/drawing/2014/main" id="{FF011956-8CC4-1571-E443-2B1375CEE451}"/>
              </a:ext>
            </a:extLst>
          </p:cNvPr>
          <p:cNvSpPr/>
          <p:nvPr userDrawn="1"/>
        </p:nvSpPr>
        <p:spPr>
          <a:xfrm flipH="1">
            <a:off x="9109758" y="4323850"/>
            <a:ext cx="569198" cy="569198"/>
          </a:xfrm>
          <a:custGeom>
            <a:avLst/>
            <a:gdLst>
              <a:gd name="connsiteX0" fmla="*/ 11918 w 677422"/>
              <a:gd name="connsiteY0" fmla="*/ 677422 h 677422"/>
              <a:gd name="connsiteX1" fmla="*/ 665504 w 677422"/>
              <a:gd name="connsiteY1" fmla="*/ 677422 h 677422"/>
              <a:gd name="connsiteX2" fmla="*/ 677422 w 677422"/>
              <a:gd name="connsiteY2" fmla="*/ 665504 h 677422"/>
              <a:gd name="connsiteX3" fmla="*/ 677422 w 677422"/>
              <a:gd name="connsiteY3" fmla="*/ 11918 h 677422"/>
              <a:gd name="connsiteX4" fmla="*/ 665504 w 677422"/>
              <a:gd name="connsiteY4" fmla="*/ 0 h 677422"/>
              <a:gd name="connsiteX5" fmla="*/ 653586 w 677422"/>
              <a:gd name="connsiteY5" fmla="*/ 11918 h 677422"/>
              <a:gd name="connsiteX6" fmla="*/ 653586 w 677422"/>
              <a:gd name="connsiteY6" fmla="*/ 653570 h 677422"/>
              <a:gd name="connsiteX7" fmla="*/ 11918 w 677422"/>
              <a:gd name="connsiteY7" fmla="*/ 653570 h 677422"/>
              <a:gd name="connsiteX8" fmla="*/ 0 w 677422"/>
              <a:gd name="connsiteY8" fmla="*/ 665488 h 677422"/>
              <a:gd name="connsiteX9" fmla="*/ 11918 w 677422"/>
              <a:gd name="connsiteY9" fmla="*/ 677406 h 677422"/>
              <a:gd name="connsiteX10" fmla="*/ 11918 w 677422"/>
              <a:gd name="connsiteY10" fmla="*/ 677406 h 677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7422" h="677422">
                <a:moveTo>
                  <a:pt x="11918" y="677422"/>
                </a:moveTo>
                <a:lnTo>
                  <a:pt x="665504" y="677422"/>
                </a:lnTo>
                <a:cubicBezTo>
                  <a:pt x="672084" y="677422"/>
                  <a:pt x="677422" y="672084"/>
                  <a:pt x="677422" y="665504"/>
                </a:cubicBezTo>
                <a:lnTo>
                  <a:pt x="677422" y="11918"/>
                </a:lnTo>
                <a:cubicBezTo>
                  <a:pt x="677422" y="5338"/>
                  <a:pt x="672084" y="0"/>
                  <a:pt x="665504" y="0"/>
                </a:cubicBezTo>
                <a:cubicBezTo>
                  <a:pt x="658924" y="0"/>
                  <a:pt x="653586" y="5338"/>
                  <a:pt x="653586" y="11918"/>
                </a:cubicBezTo>
                <a:lnTo>
                  <a:pt x="653586" y="653570"/>
                </a:lnTo>
                <a:lnTo>
                  <a:pt x="11918" y="653570"/>
                </a:lnTo>
                <a:cubicBezTo>
                  <a:pt x="5338" y="653570"/>
                  <a:pt x="0" y="658908"/>
                  <a:pt x="0" y="665488"/>
                </a:cubicBezTo>
                <a:cubicBezTo>
                  <a:pt x="0" y="672068"/>
                  <a:pt x="5338" y="677406"/>
                  <a:pt x="11918" y="677406"/>
                </a:cubicBezTo>
                <a:lnTo>
                  <a:pt x="11918" y="677406"/>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grpSp>
        <p:nvGrpSpPr>
          <p:cNvPr id="146" name="Group 145">
            <a:extLst>
              <a:ext uri="{FF2B5EF4-FFF2-40B4-BE49-F238E27FC236}">
                <a16:creationId xmlns:a16="http://schemas.microsoft.com/office/drawing/2014/main" id="{1E4C8C04-A34D-421E-1272-C495D65946ED}"/>
              </a:ext>
            </a:extLst>
          </p:cNvPr>
          <p:cNvGrpSpPr/>
          <p:nvPr/>
        </p:nvGrpSpPr>
        <p:grpSpPr>
          <a:xfrm>
            <a:off x="9062136" y="5090826"/>
            <a:ext cx="2173104" cy="708718"/>
            <a:chOff x="-193739" y="4177143"/>
            <a:chExt cx="3055992" cy="996653"/>
          </a:xfrm>
        </p:grpSpPr>
        <p:sp>
          <p:nvSpPr>
            <p:cNvPr id="147" name="Rectangle 146">
              <a:extLst>
                <a:ext uri="{FF2B5EF4-FFF2-40B4-BE49-F238E27FC236}">
                  <a16:creationId xmlns:a16="http://schemas.microsoft.com/office/drawing/2014/main" id="{A866B558-EB8D-3CDA-C324-445E4811ABFD}"/>
                </a:ext>
              </a:extLst>
            </p:cNvPr>
            <p:cNvSpPr>
              <a:spLocks/>
            </p:cNvSpPr>
            <p:nvPr/>
          </p:nvSpPr>
          <p:spPr>
            <a:xfrm>
              <a:off x="-146996" y="4177143"/>
              <a:ext cx="3009249" cy="519383"/>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2400"/>
                </a:spcAft>
                <a:buClrTx/>
                <a:buSzTx/>
                <a:buFontTx/>
                <a:buNone/>
                <a:tabLst/>
                <a:defRPr/>
              </a:pPr>
              <a:r>
                <a:rPr kumimoji="0" lang="en-US" sz="2400" b="0" i="0" u="none" strike="noStrike" kern="1200" cap="none" spc="0" normalizeH="0" baseline="0" noProof="0">
                  <a:ln>
                    <a:noFill/>
                  </a:ln>
                  <a:solidFill>
                    <a:schemeClr val="tx2"/>
                  </a:solidFill>
                  <a:effectLst/>
                  <a:uLnTx/>
                  <a:uFillTx/>
                  <a:latin typeface="KPMG Bold"/>
                  <a:ea typeface="+mn-ea"/>
                  <a:cs typeface="+mn-cs"/>
                </a:rPr>
                <a:t>Sydney Schemenauer  </a:t>
              </a:r>
              <a:endParaRPr kumimoji="0" lang="en-US" sz="1100" b="0" i="0" u="none" strike="noStrike" kern="1200" cap="none" spc="0" normalizeH="0" baseline="0" noProof="0">
                <a:ln>
                  <a:noFill/>
                </a:ln>
                <a:solidFill>
                  <a:schemeClr val="tx2"/>
                </a:solidFill>
                <a:effectLst/>
                <a:uLnTx/>
                <a:uFillTx/>
                <a:latin typeface="Arial"/>
                <a:ea typeface="+mn-ea"/>
                <a:cs typeface="+mn-cs"/>
              </a:endParaRPr>
            </a:p>
          </p:txBody>
        </p:sp>
        <p:cxnSp>
          <p:nvCxnSpPr>
            <p:cNvPr id="148" name="Straight Connector 147">
              <a:extLst>
                <a:ext uri="{FF2B5EF4-FFF2-40B4-BE49-F238E27FC236}">
                  <a16:creationId xmlns:a16="http://schemas.microsoft.com/office/drawing/2014/main" id="{BE752C3E-F4D4-796A-EA6F-921564393E4B}"/>
                </a:ext>
              </a:extLst>
            </p:cNvPr>
            <p:cNvCxnSpPr/>
            <p:nvPr/>
          </p:nvCxnSpPr>
          <p:spPr>
            <a:xfrm>
              <a:off x="-193739" y="4748029"/>
              <a:ext cx="71845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C1310A95-CA86-7BA2-5827-3C7D516130A7}"/>
                </a:ext>
              </a:extLst>
            </p:cNvPr>
            <p:cNvSpPr>
              <a:spLocks/>
            </p:cNvSpPr>
            <p:nvPr/>
          </p:nvSpPr>
          <p:spPr>
            <a:xfrm>
              <a:off x="-154633" y="4935746"/>
              <a:ext cx="2191001" cy="238050"/>
            </a:xfrm>
            <a:prstGeom prst="rect">
              <a:avLst/>
            </a:prstGeom>
          </p:spPr>
          <p:txBody>
            <a:bodyPr wrap="square" lIns="0" tIns="0" rIns="0" bIns="0">
              <a:spAutoFit/>
            </a:bodyPr>
            <a:lstStyle/>
            <a:p>
              <a:pPr>
                <a:spcAft>
                  <a:spcPts val="2400"/>
                </a:spcAft>
              </a:pPr>
              <a:r>
                <a:rPr lang="en-US" sz="1100" i="1"/>
                <a:t>Trusted AI Manager</a:t>
              </a:r>
            </a:p>
          </p:txBody>
        </p:sp>
      </p:grpSp>
      <p:sp>
        <p:nvSpPr>
          <p:cNvPr id="141" name="Freeform: Shape 140">
            <a:extLst>
              <a:ext uri="{FF2B5EF4-FFF2-40B4-BE49-F238E27FC236}">
                <a16:creationId xmlns:a16="http://schemas.microsoft.com/office/drawing/2014/main" id="{33381A4D-C7AA-F9BA-7635-D5FB2F2886BB}"/>
              </a:ext>
            </a:extLst>
          </p:cNvPr>
          <p:cNvSpPr/>
          <p:nvPr userDrawn="1"/>
        </p:nvSpPr>
        <p:spPr>
          <a:xfrm flipH="1">
            <a:off x="5227415" y="4604902"/>
            <a:ext cx="243781" cy="241151"/>
          </a:xfrm>
          <a:custGeom>
            <a:avLst/>
            <a:gdLst>
              <a:gd name="connsiteX0" fmla="*/ 290133 w 290133"/>
              <a:gd name="connsiteY0" fmla="*/ 14001 h 287002"/>
              <a:gd name="connsiteX1" fmla="*/ 281521 w 290133"/>
              <a:gd name="connsiteY1" fmla="*/ 1084 h 287002"/>
              <a:gd name="connsiteX2" fmla="*/ 266281 w 290133"/>
              <a:gd name="connsiteY2" fmla="*/ 4051 h 287002"/>
              <a:gd name="connsiteX3" fmla="*/ 4166 w 290133"/>
              <a:gd name="connsiteY3" fmla="*/ 263021 h 287002"/>
              <a:gd name="connsiteX4" fmla="*/ 1053 w 290133"/>
              <a:gd name="connsiteY4" fmla="*/ 278310 h 287002"/>
              <a:gd name="connsiteX5" fmla="*/ 14003 w 290133"/>
              <a:gd name="connsiteY5" fmla="*/ 287002 h 287002"/>
              <a:gd name="connsiteX6" fmla="*/ 276119 w 290133"/>
              <a:gd name="connsiteY6" fmla="*/ 287002 h 287002"/>
              <a:gd name="connsiteX7" fmla="*/ 290133 w 290133"/>
              <a:gd name="connsiteY7" fmla="*/ 272988 h 287002"/>
              <a:gd name="connsiteX8" fmla="*/ 290133 w 290133"/>
              <a:gd name="connsiteY8" fmla="*/ 14018 h 287002"/>
              <a:gd name="connsiteX9" fmla="*/ 290133 w 290133"/>
              <a:gd name="connsiteY9" fmla="*/ 14018 h 287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133" h="287002">
                <a:moveTo>
                  <a:pt x="290133" y="14001"/>
                </a:moveTo>
                <a:cubicBezTo>
                  <a:pt x="290133" y="8357"/>
                  <a:pt x="286746" y="3261"/>
                  <a:pt x="281521" y="1084"/>
                </a:cubicBezTo>
                <a:cubicBezTo>
                  <a:pt x="276312" y="-1094"/>
                  <a:pt x="270297" y="67"/>
                  <a:pt x="266281" y="4051"/>
                </a:cubicBezTo>
                <a:cubicBezTo>
                  <a:pt x="208642" y="61012"/>
                  <a:pt x="62224" y="205657"/>
                  <a:pt x="4166" y="263021"/>
                </a:cubicBezTo>
                <a:cubicBezTo>
                  <a:pt x="118" y="267021"/>
                  <a:pt x="-1108" y="273052"/>
                  <a:pt x="1053" y="278310"/>
                </a:cubicBezTo>
                <a:cubicBezTo>
                  <a:pt x="3214" y="283567"/>
                  <a:pt x="8327" y="287002"/>
                  <a:pt x="14003" y="287002"/>
                </a:cubicBezTo>
                <a:lnTo>
                  <a:pt x="276119" y="287002"/>
                </a:lnTo>
                <a:cubicBezTo>
                  <a:pt x="283860" y="287002"/>
                  <a:pt x="290133" y="280729"/>
                  <a:pt x="290133" y="272988"/>
                </a:cubicBezTo>
                <a:lnTo>
                  <a:pt x="290133" y="14018"/>
                </a:lnTo>
                <a:lnTo>
                  <a:pt x="290133" y="14018"/>
                </a:lnTo>
                <a:close/>
              </a:path>
            </a:pathLst>
          </a:custGeom>
          <a:gradFill>
            <a:gsLst>
              <a:gs pos="0">
                <a:srgbClr val="3B63E4"/>
              </a:gs>
              <a:gs pos="100000">
                <a:srgbClr val="2EC8BA"/>
              </a:gs>
            </a:gsLst>
            <a:lin ang="5400000" scaled="1"/>
          </a:gradFill>
          <a:ln w="1611" cap="flat">
            <a:noFill/>
            <a:prstDash val="solid"/>
            <a:miter/>
          </a:ln>
        </p:spPr>
        <p:txBody>
          <a:bodyPr rtlCol="0" anchor="ctr"/>
          <a:lstStyle/>
          <a:p>
            <a:endParaRPr lang="en-US">
              <a:solidFill>
                <a:schemeClr val="tx2"/>
              </a:solidFill>
            </a:endParaRPr>
          </a:p>
        </p:txBody>
      </p:sp>
      <p:sp>
        <p:nvSpPr>
          <p:cNvPr id="142" name="Freeform: Shape 141">
            <a:extLst>
              <a:ext uri="{FF2B5EF4-FFF2-40B4-BE49-F238E27FC236}">
                <a16:creationId xmlns:a16="http://schemas.microsoft.com/office/drawing/2014/main" id="{1B48D5EA-22AE-D12D-D6A8-6629DD5554D9}"/>
              </a:ext>
            </a:extLst>
          </p:cNvPr>
          <p:cNvSpPr/>
          <p:nvPr userDrawn="1"/>
        </p:nvSpPr>
        <p:spPr>
          <a:xfrm flipH="1">
            <a:off x="5180000" y="3774679"/>
            <a:ext cx="976415" cy="569184"/>
          </a:xfrm>
          <a:custGeom>
            <a:avLst/>
            <a:gdLst>
              <a:gd name="connsiteX0" fmla="*/ 1162065 w 1162064"/>
              <a:gd name="connsiteY0" fmla="*/ 665504 h 677405"/>
              <a:gd name="connsiteX1" fmla="*/ 496561 w 1162064"/>
              <a:gd name="connsiteY1" fmla="*/ 0 h 677405"/>
              <a:gd name="connsiteX2" fmla="*/ 496561 w 1162064"/>
              <a:gd name="connsiteY2" fmla="*/ 0 h 677405"/>
              <a:gd name="connsiteX3" fmla="*/ 3085 w 1162064"/>
              <a:gd name="connsiteY3" fmla="*/ 218975 h 677405"/>
              <a:gd name="connsiteX4" fmla="*/ 3924 w 1162064"/>
              <a:gd name="connsiteY4" fmla="*/ 235812 h 677405"/>
              <a:gd name="connsiteX5" fmla="*/ 20760 w 1162064"/>
              <a:gd name="connsiteY5" fmla="*/ 234973 h 677405"/>
              <a:gd name="connsiteX6" fmla="*/ 496561 w 1162064"/>
              <a:gd name="connsiteY6" fmla="*/ 23836 h 677405"/>
              <a:gd name="connsiteX7" fmla="*/ 496561 w 1162064"/>
              <a:gd name="connsiteY7" fmla="*/ 23836 h 677405"/>
              <a:gd name="connsiteX8" fmla="*/ 1138213 w 1162064"/>
              <a:gd name="connsiteY8" fmla="*/ 665488 h 677405"/>
              <a:gd name="connsiteX9" fmla="*/ 1150131 w 1162064"/>
              <a:gd name="connsiteY9" fmla="*/ 677406 h 677405"/>
              <a:gd name="connsiteX10" fmla="*/ 1162049 w 1162064"/>
              <a:gd name="connsiteY10" fmla="*/ 665488 h 677405"/>
              <a:gd name="connsiteX11" fmla="*/ 1162049 w 1162064"/>
              <a:gd name="connsiteY11" fmla="*/ 665488 h 6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2064" h="677405">
                <a:moveTo>
                  <a:pt x="1162065" y="665504"/>
                </a:moveTo>
                <a:cubicBezTo>
                  <a:pt x="1162065" y="297950"/>
                  <a:pt x="864115" y="0"/>
                  <a:pt x="496561" y="0"/>
                </a:cubicBezTo>
                <a:lnTo>
                  <a:pt x="496561" y="0"/>
                </a:lnTo>
                <a:cubicBezTo>
                  <a:pt x="300841" y="0"/>
                  <a:pt x="124861" y="84490"/>
                  <a:pt x="3085" y="218975"/>
                </a:cubicBezTo>
                <a:cubicBezTo>
                  <a:pt x="-1334" y="223845"/>
                  <a:pt x="-963" y="231393"/>
                  <a:pt x="3924" y="235812"/>
                </a:cubicBezTo>
                <a:cubicBezTo>
                  <a:pt x="8794" y="240230"/>
                  <a:pt x="16341" y="239859"/>
                  <a:pt x="20760" y="234973"/>
                </a:cubicBezTo>
                <a:cubicBezTo>
                  <a:pt x="138182" y="105310"/>
                  <a:pt x="307856" y="23836"/>
                  <a:pt x="496561" y="23836"/>
                </a:cubicBezTo>
                <a:lnTo>
                  <a:pt x="496561" y="23836"/>
                </a:lnTo>
                <a:cubicBezTo>
                  <a:pt x="850939" y="23836"/>
                  <a:pt x="1138213" y="311109"/>
                  <a:pt x="1138213" y="665488"/>
                </a:cubicBezTo>
                <a:cubicBezTo>
                  <a:pt x="1138213" y="672068"/>
                  <a:pt x="1143551" y="677406"/>
                  <a:pt x="1150131" y="677406"/>
                </a:cubicBezTo>
                <a:cubicBezTo>
                  <a:pt x="1156711" y="677406"/>
                  <a:pt x="1162049" y="672068"/>
                  <a:pt x="1162049" y="665488"/>
                </a:cubicBezTo>
                <a:lnTo>
                  <a:pt x="1162049" y="665488"/>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sp>
        <p:nvSpPr>
          <p:cNvPr id="143" name="Freeform: Shape 142">
            <a:extLst>
              <a:ext uri="{FF2B5EF4-FFF2-40B4-BE49-F238E27FC236}">
                <a16:creationId xmlns:a16="http://schemas.microsoft.com/office/drawing/2014/main" id="{65BCEABE-42BA-1EF5-D3C2-99E9E2492049}"/>
              </a:ext>
            </a:extLst>
          </p:cNvPr>
          <p:cNvSpPr/>
          <p:nvPr userDrawn="1"/>
        </p:nvSpPr>
        <p:spPr>
          <a:xfrm flipH="1">
            <a:off x="5729170" y="4612575"/>
            <a:ext cx="487269" cy="280472"/>
          </a:xfrm>
          <a:custGeom>
            <a:avLst/>
            <a:gdLst>
              <a:gd name="connsiteX0" fmla="*/ 1789 w 579916"/>
              <a:gd name="connsiteY0" fmla="*/ 18174 h 333799"/>
              <a:gd name="connsiteX1" fmla="*/ 567998 w 579916"/>
              <a:gd name="connsiteY1" fmla="*/ 333799 h 333799"/>
              <a:gd name="connsiteX2" fmla="*/ 579916 w 579916"/>
              <a:gd name="connsiteY2" fmla="*/ 321881 h 333799"/>
              <a:gd name="connsiteX3" fmla="*/ 567998 w 579916"/>
              <a:gd name="connsiteY3" fmla="*/ 309963 h 333799"/>
              <a:gd name="connsiteX4" fmla="*/ 22061 w 579916"/>
              <a:gd name="connsiteY4" fmla="*/ 5643 h 333799"/>
              <a:gd name="connsiteX5" fmla="*/ 5643 w 579916"/>
              <a:gd name="connsiteY5" fmla="*/ 1789 h 333799"/>
              <a:gd name="connsiteX6" fmla="*/ 1789 w 579916"/>
              <a:gd name="connsiteY6" fmla="*/ 18206 h 333799"/>
              <a:gd name="connsiteX7" fmla="*/ 1789 w 579916"/>
              <a:gd name="connsiteY7" fmla="*/ 18206 h 33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916" h="333799">
                <a:moveTo>
                  <a:pt x="1789" y="18174"/>
                </a:moveTo>
                <a:cubicBezTo>
                  <a:pt x="119098" y="207604"/>
                  <a:pt x="328816" y="333799"/>
                  <a:pt x="567998" y="333799"/>
                </a:cubicBezTo>
                <a:cubicBezTo>
                  <a:pt x="574578" y="333799"/>
                  <a:pt x="579916" y="328461"/>
                  <a:pt x="579916" y="321881"/>
                </a:cubicBezTo>
                <a:cubicBezTo>
                  <a:pt x="579916" y="315301"/>
                  <a:pt x="574578" y="309963"/>
                  <a:pt x="567998" y="309963"/>
                </a:cubicBezTo>
                <a:cubicBezTo>
                  <a:pt x="337363" y="309963"/>
                  <a:pt x="135161" y="188284"/>
                  <a:pt x="22061" y="5643"/>
                </a:cubicBezTo>
                <a:cubicBezTo>
                  <a:pt x="18594" y="47"/>
                  <a:pt x="11240" y="-1678"/>
                  <a:pt x="5643" y="1789"/>
                </a:cubicBezTo>
                <a:cubicBezTo>
                  <a:pt x="47" y="5256"/>
                  <a:pt x="-1678" y="12610"/>
                  <a:pt x="1789" y="18206"/>
                </a:cubicBezTo>
                <a:lnTo>
                  <a:pt x="1789" y="18206"/>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sp>
        <p:nvSpPr>
          <p:cNvPr id="144" name="Freeform: Shape 143">
            <a:extLst>
              <a:ext uri="{FF2B5EF4-FFF2-40B4-BE49-F238E27FC236}">
                <a16:creationId xmlns:a16="http://schemas.microsoft.com/office/drawing/2014/main" id="{64E3AD8B-C363-2C74-48AB-461514288E6B}"/>
              </a:ext>
            </a:extLst>
          </p:cNvPr>
          <p:cNvSpPr/>
          <p:nvPr userDrawn="1"/>
        </p:nvSpPr>
        <p:spPr>
          <a:xfrm flipH="1">
            <a:off x="5180000" y="4323850"/>
            <a:ext cx="569198" cy="569198"/>
          </a:xfrm>
          <a:custGeom>
            <a:avLst/>
            <a:gdLst>
              <a:gd name="connsiteX0" fmla="*/ 11918 w 677422"/>
              <a:gd name="connsiteY0" fmla="*/ 677422 h 677422"/>
              <a:gd name="connsiteX1" fmla="*/ 665504 w 677422"/>
              <a:gd name="connsiteY1" fmla="*/ 677422 h 677422"/>
              <a:gd name="connsiteX2" fmla="*/ 677422 w 677422"/>
              <a:gd name="connsiteY2" fmla="*/ 665504 h 677422"/>
              <a:gd name="connsiteX3" fmla="*/ 677422 w 677422"/>
              <a:gd name="connsiteY3" fmla="*/ 11918 h 677422"/>
              <a:gd name="connsiteX4" fmla="*/ 665504 w 677422"/>
              <a:gd name="connsiteY4" fmla="*/ 0 h 677422"/>
              <a:gd name="connsiteX5" fmla="*/ 653586 w 677422"/>
              <a:gd name="connsiteY5" fmla="*/ 11918 h 677422"/>
              <a:gd name="connsiteX6" fmla="*/ 653586 w 677422"/>
              <a:gd name="connsiteY6" fmla="*/ 653570 h 677422"/>
              <a:gd name="connsiteX7" fmla="*/ 11918 w 677422"/>
              <a:gd name="connsiteY7" fmla="*/ 653570 h 677422"/>
              <a:gd name="connsiteX8" fmla="*/ 0 w 677422"/>
              <a:gd name="connsiteY8" fmla="*/ 665488 h 677422"/>
              <a:gd name="connsiteX9" fmla="*/ 11918 w 677422"/>
              <a:gd name="connsiteY9" fmla="*/ 677406 h 677422"/>
              <a:gd name="connsiteX10" fmla="*/ 11918 w 677422"/>
              <a:gd name="connsiteY10" fmla="*/ 677406 h 677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7422" h="677422">
                <a:moveTo>
                  <a:pt x="11918" y="677422"/>
                </a:moveTo>
                <a:lnTo>
                  <a:pt x="665504" y="677422"/>
                </a:lnTo>
                <a:cubicBezTo>
                  <a:pt x="672084" y="677422"/>
                  <a:pt x="677422" y="672084"/>
                  <a:pt x="677422" y="665504"/>
                </a:cubicBezTo>
                <a:lnTo>
                  <a:pt x="677422" y="11918"/>
                </a:lnTo>
                <a:cubicBezTo>
                  <a:pt x="677422" y="5338"/>
                  <a:pt x="672084" y="0"/>
                  <a:pt x="665504" y="0"/>
                </a:cubicBezTo>
                <a:cubicBezTo>
                  <a:pt x="658924" y="0"/>
                  <a:pt x="653586" y="5338"/>
                  <a:pt x="653586" y="11918"/>
                </a:cubicBezTo>
                <a:lnTo>
                  <a:pt x="653586" y="653570"/>
                </a:lnTo>
                <a:lnTo>
                  <a:pt x="11918" y="653570"/>
                </a:lnTo>
                <a:cubicBezTo>
                  <a:pt x="5338" y="653570"/>
                  <a:pt x="0" y="658908"/>
                  <a:pt x="0" y="665488"/>
                </a:cubicBezTo>
                <a:cubicBezTo>
                  <a:pt x="0" y="672068"/>
                  <a:pt x="5338" y="677406"/>
                  <a:pt x="11918" y="677406"/>
                </a:cubicBezTo>
                <a:lnTo>
                  <a:pt x="11918" y="677406"/>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grpSp>
        <p:nvGrpSpPr>
          <p:cNvPr id="135" name="Group 134">
            <a:extLst>
              <a:ext uri="{FF2B5EF4-FFF2-40B4-BE49-F238E27FC236}">
                <a16:creationId xmlns:a16="http://schemas.microsoft.com/office/drawing/2014/main" id="{271EA0A8-8A55-4DE9-1A16-166D8DAA7A0B}"/>
              </a:ext>
            </a:extLst>
          </p:cNvPr>
          <p:cNvGrpSpPr/>
          <p:nvPr/>
        </p:nvGrpSpPr>
        <p:grpSpPr>
          <a:xfrm>
            <a:off x="5180003" y="5090823"/>
            <a:ext cx="1560573" cy="1047273"/>
            <a:chOff x="998400" y="4177143"/>
            <a:chExt cx="2194603" cy="1472756"/>
          </a:xfrm>
        </p:grpSpPr>
        <p:sp>
          <p:nvSpPr>
            <p:cNvPr id="136" name="Rectangle 135">
              <a:extLst>
                <a:ext uri="{FF2B5EF4-FFF2-40B4-BE49-F238E27FC236}">
                  <a16:creationId xmlns:a16="http://schemas.microsoft.com/office/drawing/2014/main" id="{FDEE454D-E8D1-5957-9863-39A0726B37AF}"/>
                </a:ext>
              </a:extLst>
            </p:cNvPr>
            <p:cNvSpPr>
              <a:spLocks/>
            </p:cNvSpPr>
            <p:nvPr/>
          </p:nvSpPr>
          <p:spPr>
            <a:xfrm>
              <a:off x="998400" y="4177143"/>
              <a:ext cx="2194603" cy="519383"/>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2400"/>
                </a:spcAft>
                <a:buClrTx/>
                <a:buSzTx/>
                <a:buFontTx/>
                <a:buNone/>
                <a:tabLst/>
                <a:defRPr/>
              </a:pPr>
              <a:r>
                <a:rPr kumimoji="0" lang="en-US" sz="2400" b="0" i="0" u="none" strike="noStrike" kern="1200" cap="none" spc="0" normalizeH="0" baseline="0" noProof="0">
                  <a:ln>
                    <a:noFill/>
                  </a:ln>
                  <a:solidFill>
                    <a:schemeClr val="tx2"/>
                  </a:solidFill>
                  <a:effectLst/>
                  <a:uLnTx/>
                  <a:uFillTx/>
                  <a:latin typeface="+mj-lt"/>
                  <a:ea typeface="+mn-ea"/>
                  <a:cs typeface="+mn-cs"/>
                </a:rPr>
                <a:t>Diana Griffin</a:t>
              </a:r>
              <a:endParaRPr kumimoji="0" lang="en-US" sz="1100" b="0" i="0" u="none" strike="noStrike" kern="1200" cap="none" spc="0" normalizeH="0" baseline="0" noProof="0">
                <a:ln>
                  <a:noFill/>
                </a:ln>
                <a:solidFill>
                  <a:schemeClr val="tx2"/>
                </a:solidFill>
                <a:effectLst/>
                <a:uLnTx/>
                <a:uFillTx/>
                <a:latin typeface="+mj-lt"/>
                <a:ea typeface="+mn-ea"/>
                <a:cs typeface="+mn-cs"/>
              </a:endParaRPr>
            </a:p>
          </p:txBody>
        </p:sp>
        <p:cxnSp>
          <p:nvCxnSpPr>
            <p:cNvPr id="137" name="Straight Connector 136">
              <a:extLst>
                <a:ext uri="{FF2B5EF4-FFF2-40B4-BE49-F238E27FC236}">
                  <a16:creationId xmlns:a16="http://schemas.microsoft.com/office/drawing/2014/main" id="{0C7EBCC6-2127-65EB-BDD9-473602B7F1FF}"/>
                </a:ext>
              </a:extLst>
            </p:cNvPr>
            <p:cNvCxnSpPr/>
            <p:nvPr/>
          </p:nvCxnSpPr>
          <p:spPr>
            <a:xfrm>
              <a:off x="998400" y="4748029"/>
              <a:ext cx="71845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986A5ABD-E504-14DE-779E-A29FAD9B3865}"/>
                </a:ext>
              </a:extLst>
            </p:cNvPr>
            <p:cNvSpPr>
              <a:spLocks/>
            </p:cNvSpPr>
            <p:nvPr/>
          </p:nvSpPr>
          <p:spPr>
            <a:xfrm>
              <a:off x="998400" y="4935748"/>
              <a:ext cx="1863853" cy="714151"/>
            </a:xfrm>
            <a:prstGeom prst="rect">
              <a:avLst/>
            </a:prstGeom>
          </p:spPr>
          <p:txBody>
            <a:bodyPr wrap="square" lIns="0" tIns="0" rIns="0" bIns="0">
              <a:spAutoFit/>
            </a:bodyPr>
            <a:lstStyle/>
            <a:p>
              <a:pPr>
                <a:spcAft>
                  <a:spcPts val="2400"/>
                </a:spcAft>
              </a:pPr>
              <a:r>
                <a:rPr lang="en-US" sz="1100" i="1"/>
                <a:t>AI and Risk Transformation Director</a:t>
              </a:r>
            </a:p>
          </p:txBody>
        </p:sp>
      </p:grpSp>
      <p:sp>
        <p:nvSpPr>
          <p:cNvPr id="130" name="Freeform: Shape 129">
            <a:extLst>
              <a:ext uri="{FF2B5EF4-FFF2-40B4-BE49-F238E27FC236}">
                <a16:creationId xmlns:a16="http://schemas.microsoft.com/office/drawing/2014/main" id="{73854BEF-3535-4F63-34CC-94F766B232D3}"/>
              </a:ext>
            </a:extLst>
          </p:cNvPr>
          <p:cNvSpPr/>
          <p:nvPr userDrawn="1"/>
        </p:nvSpPr>
        <p:spPr>
          <a:xfrm flipH="1">
            <a:off x="7234998" y="4604902"/>
            <a:ext cx="243782" cy="241151"/>
          </a:xfrm>
          <a:custGeom>
            <a:avLst/>
            <a:gdLst>
              <a:gd name="connsiteX0" fmla="*/ 290133 w 290133"/>
              <a:gd name="connsiteY0" fmla="*/ 14001 h 287002"/>
              <a:gd name="connsiteX1" fmla="*/ 281521 w 290133"/>
              <a:gd name="connsiteY1" fmla="*/ 1084 h 287002"/>
              <a:gd name="connsiteX2" fmla="*/ 266281 w 290133"/>
              <a:gd name="connsiteY2" fmla="*/ 4051 h 287002"/>
              <a:gd name="connsiteX3" fmla="*/ 4166 w 290133"/>
              <a:gd name="connsiteY3" fmla="*/ 263021 h 287002"/>
              <a:gd name="connsiteX4" fmla="*/ 1053 w 290133"/>
              <a:gd name="connsiteY4" fmla="*/ 278310 h 287002"/>
              <a:gd name="connsiteX5" fmla="*/ 14003 w 290133"/>
              <a:gd name="connsiteY5" fmla="*/ 287002 h 287002"/>
              <a:gd name="connsiteX6" fmla="*/ 276119 w 290133"/>
              <a:gd name="connsiteY6" fmla="*/ 287002 h 287002"/>
              <a:gd name="connsiteX7" fmla="*/ 290133 w 290133"/>
              <a:gd name="connsiteY7" fmla="*/ 272988 h 287002"/>
              <a:gd name="connsiteX8" fmla="*/ 290133 w 290133"/>
              <a:gd name="connsiteY8" fmla="*/ 14018 h 287002"/>
              <a:gd name="connsiteX9" fmla="*/ 290133 w 290133"/>
              <a:gd name="connsiteY9" fmla="*/ 14018 h 287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133" h="287002">
                <a:moveTo>
                  <a:pt x="290133" y="14001"/>
                </a:moveTo>
                <a:cubicBezTo>
                  <a:pt x="290133" y="8357"/>
                  <a:pt x="286746" y="3261"/>
                  <a:pt x="281521" y="1084"/>
                </a:cubicBezTo>
                <a:cubicBezTo>
                  <a:pt x="276312" y="-1094"/>
                  <a:pt x="270297" y="67"/>
                  <a:pt x="266281" y="4051"/>
                </a:cubicBezTo>
                <a:cubicBezTo>
                  <a:pt x="208642" y="61012"/>
                  <a:pt x="62224" y="205657"/>
                  <a:pt x="4166" y="263021"/>
                </a:cubicBezTo>
                <a:cubicBezTo>
                  <a:pt x="118" y="267021"/>
                  <a:pt x="-1108" y="273052"/>
                  <a:pt x="1053" y="278310"/>
                </a:cubicBezTo>
                <a:cubicBezTo>
                  <a:pt x="3214" y="283567"/>
                  <a:pt x="8327" y="287002"/>
                  <a:pt x="14003" y="287002"/>
                </a:cubicBezTo>
                <a:lnTo>
                  <a:pt x="276119" y="287002"/>
                </a:lnTo>
                <a:cubicBezTo>
                  <a:pt x="283860" y="287002"/>
                  <a:pt x="290133" y="280729"/>
                  <a:pt x="290133" y="272988"/>
                </a:cubicBezTo>
                <a:lnTo>
                  <a:pt x="290133" y="14018"/>
                </a:lnTo>
                <a:lnTo>
                  <a:pt x="290133" y="14018"/>
                </a:lnTo>
                <a:close/>
              </a:path>
            </a:pathLst>
          </a:custGeom>
          <a:gradFill>
            <a:gsLst>
              <a:gs pos="0">
                <a:srgbClr val="3B63E4"/>
              </a:gs>
              <a:gs pos="100000">
                <a:srgbClr val="2EC8BA"/>
              </a:gs>
            </a:gsLst>
            <a:lin ang="5400000" scaled="1"/>
          </a:gradFill>
          <a:ln w="1611" cap="flat">
            <a:noFill/>
            <a:prstDash val="solid"/>
            <a:miter/>
          </a:ln>
        </p:spPr>
        <p:txBody>
          <a:bodyPr rtlCol="0" anchor="ctr"/>
          <a:lstStyle/>
          <a:p>
            <a:endParaRPr lang="en-US">
              <a:solidFill>
                <a:schemeClr val="tx2"/>
              </a:solidFill>
            </a:endParaRPr>
          </a:p>
        </p:txBody>
      </p:sp>
      <p:sp>
        <p:nvSpPr>
          <p:cNvPr id="131" name="Freeform: Shape 130">
            <a:extLst>
              <a:ext uri="{FF2B5EF4-FFF2-40B4-BE49-F238E27FC236}">
                <a16:creationId xmlns:a16="http://schemas.microsoft.com/office/drawing/2014/main" id="{7E3D2978-541D-A908-5E31-9E409CB2D331}"/>
              </a:ext>
            </a:extLst>
          </p:cNvPr>
          <p:cNvSpPr/>
          <p:nvPr userDrawn="1"/>
        </p:nvSpPr>
        <p:spPr>
          <a:xfrm flipH="1">
            <a:off x="7187583" y="3774679"/>
            <a:ext cx="976415" cy="569184"/>
          </a:xfrm>
          <a:custGeom>
            <a:avLst/>
            <a:gdLst>
              <a:gd name="connsiteX0" fmla="*/ 1162065 w 1162064"/>
              <a:gd name="connsiteY0" fmla="*/ 665504 h 677405"/>
              <a:gd name="connsiteX1" fmla="*/ 496561 w 1162064"/>
              <a:gd name="connsiteY1" fmla="*/ 0 h 677405"/>
              <a:gd name="connsiteX2" fmla="*/ 496561 w 1162064"/>
              <a:gd name="connsiteY2" fmla="*/ 0 h 677405"/>
              <a:gd name="connsiteX3" fmla="*/ 3085 w 1162064"/>
              <a:gd name="connsiteY3" fmla="*/ 218975 h 677405"/>
              <a:gd name="connsiteX4" fmla="*/ 3924 w 1162064"/>
              <a:gd name="connsiteY4" fmla="*/ 235812 h 677405"/>
              <a:gd name="connsiteX5" fmla="*/ 20760 w 1162064"/>
              <a:gd name="connsiteY5" fmla="*/ 234973 h 677405"/>
              <a:gd name="connsiteX6" fmla="*/ 496561 w 1162064"/>
              <a:gd name="connsiteY6" fmla="*/ 23836 h 677405"/>
              <a:gd name="connsiteX7" fmla="*/ 496561 w 1162064"/>
              <a:gd name="connsiteY7" fmla="*/ 23836 h 677405"/>
              <a:gd name="connsiteX8" fmla="*/ 1138213 w 1162064"/>
              <a:gd name="connsiteY8" fmla="*/ 665488 h 677405"/>
              <a:gd name="connsiteX9" fmla="*/ 1150131 w 1162064"/>
              <a:gd name="connsiteY9" fmla="*/ 677406 h 677405"/>
              <a:gd name="connsiteX10" fmla="*/ 1162049 w 1162064"/>
              <a:gd name="connsiteY10" fmla="*/ 665488 h 677405"/>
              <a:gd name="connsiteX11" fmla="*/ 1162049 w 1162064"/>
              <a:gd name="connsiteY11" fmla="*/ 665488 h 6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2064" h="677405">
                <a:moveTo>
                  <a:pt x="1162065" y="665504"/>
                </a:moveTo>
                <a:cubicBezTo>
                  <a:pt x="1162065" y="297950"/>
                  <a:pt x="864115" y="0"/>
                  <a:pt x="496561" y="0"/>
                </a:cubicBezTo>
                <a:lnTo>
                  <a:pt x="496561" y="0"/>
                </a:lnTo>
                <a:cubicBezTo>
                  <a:pt x="300841" y="0"/>
                  <a:pt x="124861" y="84490"/>
                  <a:pt x="3085" y="218975"/>
                </a:cubicBezTo>
                <a:cubicBezTo>
                  <a:pt x="-1334" y="223845"/>
                  <a:pt x="-963" y="231393"/>
                  <a:pt x="3924" y="235812"/>
                </a:cubicBezTo>
                <a:cubicBezTo>
                  <a:pt x="8794" y="240230"/>
                  <a:pt x="16341" y="239859"/>
                  <a:pt x="20760" y="234973"/>
                </a:cubicBezTo>
                <a:cubicBezTo>
                  <a:pt x="138182" y="105310"/>
                  <a:pt x="307856" y="23836"/>
                  <a:pt x="496561" y="23836"/>
                </a:cubicBezTo>
                <a:lnTo>
                  <a:pt x="496561" y="23836"/>
                </a:lnTo>
                <a:cubicBezTo>
                  <a:pt x="850939" y="23836"/>
                  <a:pt x="1138213" y="311109"/>
                  <a:pt x="1138213" y="665488"/>
                </a:cubicBezTo>
                <a:cubicBezTo>
                  <a:pt x="1138213" y="672068"/>
                  <a:pt x="1143551" y="677406"/>
                  <a:pt x="1150131" y="677406"/>
                </a:cubicBezTo>
                <a:cubicBezTo>
                  <a:pt x="1156711" y="677406"/>
                  <a:pt x="1162049" y="672068"/>
                  <a:pt x="1162049" y="665488"/>
                </a:cubicBezTo>
                <a:lnTo>
                  <a:pt x="1162049" y="665488"/>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sp>
        <p:nvSpPr>
          <p:cNvPr id="132" name="Freeform: Shape 131">
            <a:extLst>
              <a:ext uri="{FF2B5EF4-FFF2-40B4-BE49-F238E27FC236}">
                <a16:creationId xmlns:a16="http://schemas.microsoft.com/office/drawing/2014/main" id="{4E3874D1-8F56-1021-A426-392E7DE64C7B}"/>
              </a:ext>
            </a:extLst>
          </p:cNvPr>
          <p:cNvSpPr/>
          <p:nvPr userDrawn="1"/>
        </p:nvSpPr>
        <p:spPr>
          <a:xfrm flipH="1">
            <a:off x="7736754" y="4612575"/>
            <a:ext cx="487269" cy="280472"/>
          </a:xfrm>
          <a:custGeom>
            <a:avLst/>
            <a:gdLst>
              <a:gd name="connsiteX0" fmla="*/ 1789 w 579916"/>
              <a:gd name="connsiteY0" fmla="*/ 18174 h 333799"/>
              <a:gd name="connsiteX1" fmla="*/ 567998 w 579916"/>
              <a:gd name="connsiteY1" fmla="*/ 333799 h 333799"/>
              <a:gd name="connsiteX2" fmla="*/ 579916 w 579916"/>
              <a:gd name="connsiteY2" fmla="*/ 321881 h 333799"/>
              <a:gd name="connsiteX3" fmla="*/ 567998 w 579916"/>
              <a:gd name="connsiteY3" fmla="*/ 309963 h 333799"/>
              <a:gd name="connsiteX4" fmla="*/ 22061 w 579916"/>
              <a:gd name="connsiteY4" fmla="*/ 5643 h 333799"/>
              <a:gd name="connsiteX5" fmla="*/ 5643 w 579916"/>
              <a:gd name="connsiteY5" fmla="*/ 1789 h 333799"/>
              <a:gd name="connsiteX6" fmla="*/ 1789 w 579916"/>
              <a:gd name="connsiteY6" fmla="*/ 18206 h 333799"/>
              <a:gd name="connsiteX7" fmla="*/ 1789 w 579916"/>
              <a:gd name="connsiteY7" fmla="*/ 18206 h 33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916" h="333799">
                <a:moveTo>
                  <a:pt x="1789" y="18174"/>
                </a:moveTo>
                <a:cubicBezTo>
                  <a:pt x="119098" y="207604"/>
                  <a:pt x="328816" y="333799"/>
                  <a:pt x="567998" y="333799"/>
                </a:cubicBezTo>
                <a:cubicBezTo>
                  <a:pt x="574578" y="333799"/>
                  <a:pt x="579916" y="328461"/>
                  <a:pt x="579916" y="321881"/>
                </a:cubicBezTo>
                <a:cubicBezTo>
                  <a:pt x="579916" y="315301"/>
                  <a:pt x="574578" y="309963"/>
                  <a:pt x="567998" y="309963"/>
                </a:cubicBezTo>
                <a:cubicBezTo>
                  <a:pt x="337363" y="309963"/>
                  <a:pt x="135161" y="188284"/>
                  <a:pt x="22061" y="5643"/>
                </a:cubicBezTo>
                <a:cubicBezTo>
                  <a:pt x="18594" y="47"/>
                  <a:pt x="11240" y="-1678"/>
                  <a:pt x="5643" y="1789"/>
                </a:cubicBezTo>
                <a:cubicBezTo>
                  <a:pt x="47" y="5256"/>
                  <a:pt x="-1678" y="12610"/>
                  <a:pt x="1789" y="18206"/>
                </a:cubicBezTo>
                <a:lnTo>
                  <a:pt x="1789" y="18206"/>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sp>
        <p:nvSpPr>
          <p:cNvPr id="133" name="Freeform: Shape 132">
            <a:extLst>
              <a:ext uri="{FF2B5EF4-FFF2-40B4-BE49-F238E27FC236}">
                <a16:creationId xmlns:a16="http://schemas.microsoft.com/office/drawing/2014/main" id="{43856C68-60E7-31A0-0D4D-C52F77FFDF0D}"/>
              </a:ext>
            </a:extLst>
          </p:cNvPr>
          <p:cNvSpPr/>
          <p:nvPr userDrawn="1"/>
        </p:nvSpPr>
        <p:spPr>
          <a:xfrm flipH="1">
            <a:off x="7187583" y="4323850"/>
            <a:ext cx="569198" cy="569198"/>
          </a:xfrm>
          <a:custGeom>
            <a:avLst/>
            <a:gdLst>
              <a:gd name="connsiteX0" fmla="*/ 11918 w 677422"/>
              <a:gd name="connsiteY0" fmla="*/ 677422 h 677422"/>
              <a:gd name="connsiteX1" fmla="*/ 665504 w 677422"/>
              <a:gd name="connsiteY1" fmla="*/ 677422 h 677422"/>
              <a:gd name="connsiteX2" fmla="*/ 677422 w 677422"/>
              <a:gd name="connsiteY2" fmla="*/ 665504 h 677422"/>
              <a:gd name="connsiteX3" fmla="*/ 677422 w 677422"/>
              <a:gd name="connsiteY3" fmla="*/ 11918 h 677422"/>
              <a:gd name="connsiteX4" fmla="*/ 665504 w 677422"/>
              <a:gd name="connsiteY4" fmla="*/ 0 h 677422"/>
              <a:gd name="connsiteX5" fmla="*/ 653586 w 677422"/>
              <a:gd name="connsiteY5" fmla="*/ 11918 h 677422"/>
              <a:gd name="connsiteX6" fmla="*/ 653586 w 677422"/>
              <a:gd name="connsiteY6" fmla="*/ 653570 h 677422"/>
              <a:gd name="connsiteX7" fmla="*/ 11918 w 677422"/>
              <a:gd name="connsiteY7" fmla="*/ 653570 h 677422"/>
              <a:gd name="connsiteX8" fmla="*/ 0 w 677422"/>
              <a:gd name="connsiteY8" fmla="*/ 665488 h 677422"/>
              <a:gd name="connsiteX9" fmla="*/ 11918 w 677422"/>
              <a:gd name="connsiteY9" fmla="*/ 677406 h 677422"/>
              <a:gd name="connsiteX10" fmla="*/ 11918 w 677422"/>
              <a:gd name="connsiteY10" fmla="*/ 677406 h 677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7422" h="677422">
                <a:moveTo>
                  <a:pt x="11918" y="677422"/>
                </a:moveTo>
                <a:lnTo>
                  <a:pt x="665504" y="677422"/>
                </a:lnTo>
                <a:cubicBezTo>
                  <a:pt x="672084" y="677422"/>
                  <a:pt x="677422" y="672084"/>
                  <a:pt x="677422" y="665504"/>
                </a:cubicBezTo>
                <a:lnTo>
                  <a:pt x="677422" y="11918"/>
                </a:lnTo>
                <a:cubicBezTo>
                  <a:pt x="677422" y="5338"/>
                  <a:pt x="672084" y="0"/>
                  <a:pt x="665504" y="0"/>
                </a:cubicBezTo>
                <a:cubicBezTo>
                  <a:pt x="658924" y="0"/>
                  <a:pt x="653586" y="5338"/>
                  <a:pt x="653586" y="11918"/>
                </a:cubicBezTo>
                <a:lnTo>
                  <a:pt x="653586" y="653570"/>
                </a:lnTo>
                <a:lnTo>
                  <a:pt x="11918" y="653570"/>
                </a:lnTo>
                <a:cubicBezTo>
                  <a:pt x="5338" y="653570"/>
                  <a:pt x="0" y="658908"/>
                  <a:pt x="0" y="665488"/>
                </a:cubicBezTo>
                <a:cubicBezTo>
                  <a:pt x="0" y="672068"/>
                  <a:pt x="5338" y="677406"/>
                  <a:pt x="11918" y="677406"/>
                </a:cubicBezTo>
                <a:lnTo>
                  <a:pt x="11918" y="677406"/>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grpSp>
        <p:nvGrpSpPr>
          <p:cNvPr id="124" name="Group 123">
            <a:extLst>
              <a:ext uri="{FF2B5EF4-FFF2-40B4-BE49-F238E27FC236}">
                <a16:creationId xmlns:a16="http://schemas.microsoft.com/office/drawing/2014/main" id="{DB419D0A-BD65-6802-0A20-A7CD82147217}"/>
              </a:ext>
            </a:extLst>
          </p:cNvPr>
          <p:cNvGrpSpPr/>
          <p:nvPr/>
        </p:nvGrpSpPr>
        <p:grpSpPr>
          <a:xfrm>
            <a:off x="7187586" y="5090824"/>
            <a:ext cx="1325379" cy="708719"/>
            <a:chOff x="998400" y="4177143"/>
            <a:chExt cx="1863853" cy="996655"/>
          </a:xfrm>
        </p:grpSpPr>
        <p:sp>
          <p:nvSpPr>
            <p:cNvPr id="125" name="Rectangle 124">
              <a:extLst>
                <a:ext uri="{FF2B5EF4-FFF2-40B4-BE49-F238E27FC236}">
                  <a16:creationId xmlns:a16="http://schemas.microsoft.com/office/drawing/2014/main" id="{3C1A3171-7F27-41E0-12E8-D25CEC2A368B}"/>
                </a:ext>
              </a:extLst>
            </p:cNvPr>
            <p:cNvSpPr>
              <a:spLocks/>
            </p:cNvSpPr>
            <p:nvPr/>
          </p:nvSpPr>
          <p:spPr>
            <a:xfrm>
              <a:off x="998400" y="4177143"/>
              <a:ext cx="1863853" cy="519383"/>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2400"/>
                </a:spcAft>
                <a:buClrTx/>
                <a:buSzTx/>
                <a:buFontTx/>
                <a:buNone/>
                <a:tabLst/>
                <a:defRPr/>
              </a:pPr>
              <a:r>
                <a:rPr kumimoji="0" lang="en-US" sz="2400" b="0" i="0" u="none" strike="noStrike" kern="1200" cap="none" spc="0" normalizeH="0" baseline="0" noProof="0">
                  <a:ln>
                    <a:noFill/>
                  </a:ln>
                  <a:solidFill>
                    <a:schemeClr val="tx2"/>
                  </a:solidFill>
                  <a:effectLst/>
                  <a:uLnTx/>
                  <a:uFillTx/>
                  <a:latin typeface="KPMG Bold"/>
                  <a:ea typeface="+mn-ea"/>
                  <a:cs typeface="+mn-cs"/>
                </a:rPr>
                <a:t>Troy Bloesch</a:t>
              </a:r>
              <a:endParaRPr kumimoji="0" lang="en-US" sz="1100" b="0" i="0" u="none" strike="noStrike" kern="1200" cap="none" spc="0" normalizeH="0" baseline="0" noProof="0">
                <a:ln>
                  <a:noFill/>
                </a:ln>
                <a:solidFill>
                  <a:schemeClr val="tx2"/>
                </a:solidFill>
                <a:effectLst/>
                <a:uLnTx/>
                <a:uFillTx/>
                <a:latin typeface="Arial"/>
                <a:ea typeface="+mn-ea"/>
                <a:cs typeface="+mn-cs"/>
              </a:endParaRPr>
            </a:p>
          </p:txBody>
        </p:sp>
        <p:cxnSp>
          <p:nvCxnSpPr>
            <p:cNvPr id="126" name="Straight Connector 125">
              <a:extLst>
                <a:ext uri="{FF2B5EF4-FFF2-40B4-BE49-F238E27FC236}">
                  <a16:creationId xmlns:a16="http://schemas.microsoft.com/office/drawing/2014/main" id="{5AA811C0-A0D9-6AEE-8287-DA1BCA754ACE}"/>
                </a:ext>
              </a:extLst>
            </p:cNvPr>
            <p:cNvCxnSpPr/>
            <p:nvPr/>
          </p:nvCxnSpPr>
          <p:spPr>
            <a:xfrm>
              <a:off x="998400" y="4748029"/>
              <a:ext cx="71845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0156C473-2729-7E75-ED5B-B8E222B4ABB0}"/>
                </a:ext>
              </a:extLst>
            </p:cNvPr>
            <p:cNvSpPr>
              <a:spLocks/>
            </p:cNvSpPr>
            <p:nvPr/>
          </p:nvSpPr>
          <p:spPr>
            <a:xfrm>
              <a:off x="998400" y="4935748"/>
              <a:ext cx="1863853" cy="238050"/>
            </a:xfrm>
            <a:prstGeom prst="rect">
              <a:avLst/>
            </a:prstGeom>
          </p:spPr>
          <p:txBody>
            <a:bodyPr wrap="square" lIns="0" tIns="0" rIns="0" bIns="0">
              <a:spAutoFit/>
            </a:bodyPr>
            <a:lstStyle/>
            <a:p>
              <a:pPr>
                <a:spcAft>
                  <a:spcPts val="2400"/>
                </a:spcAft>
              </a:pPr>
              <a:r>
                <a:rPr lang="en-US" sz="1100" i="1"/>
                <a:t>IAM Manager</a:t>
              </a:r>
            </a:p>
          </p:txBody>
        </p:sp>
      </p:grpSp>
      <p:sp>
        <p:nvSpPr>
          <p:cNvPr id="3" name="Oval 2">
            <a:extLst>
              <a:ext uri="{FF2B5EF4-FFF2-40B4-BE49-F238E27FC236}">
                <a16:creationId xmlns:a16="http://schemas.microsoft.com/office/drawing/2014/main" id="{DD73A8FA-A9D7-6618-A07F-8329F43DE69B}"/>
              </a:ext>
            </a:extLst>
          </p:cNvPr>
          <p:cNvSpPr>
            <a:spLocks/>
          </p:cNvSpPr>
          <p:nvPr/>
        </p:nvSpPr>
        <p:spPr>
          <a:xfrm>
            <a:off x="7235335" y="3857364"/>
            <a:ext cx="988688" cy="988689"/>
          </a:xfrm>
          <a:prstGeom prst="ellipse">
            <a:avLst/>
          </a:prstGeom>
          <a:blipFill>
            <a:blip r:embed="rId7"/>
            <a:stretch>
              <a:fillRect/>
            </a:stretch>
          </a:blip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chemeClr val="tx2"/>
              </a:solidFill>
              <a:effectLst/>
              <a:uLnTx/>
              <a:uFillTx/>
            </a:endParaRPr>
          </a:p>
        </p:txBody>
      </p:sp>
      <p:pic>
        <p:nvPicPr>
          <p:cNvPr id="10" name="Picture 9">
            <a:extLst>
              <a:ext uri="{FF2B5EF4-FFF2-40B4-BE49-F238E27FC236}">
                <a16:creationId xmlns:a16="http://schemas.microsoft.com/office/drawing/2014/main" id="{73BB4ACA-CE51-83DD-60E7-99A97BDCE165}"/>
              </a:ext>
            </a:extLst>
          </p:cNvPr>
          <p:cNvPicPr>
            <a:picLocks noChangeAspect="1"/>
          </p:cNvPicPr>
          <p:nvPr/>
        </p:nvPicPr>
        <p:blipFill rotWithShape="1">
          <a:blip r:embed="rId8">
            <a:extLst>
              <a:ext uri="{28A0092B-C50C-407E-A947-70E740481C1C}">
                <a14:useLocalDpi xmlns:a14="http://schemas.microsoft.com/office/drawing/2010/main" val="0"/>
              </a:ext>
            </a:extLst>
          </a:blip>
          <a:srcRect t="2833" b="2833"/>
          <a:stretch/>
        </p:blipFill>
        <p:spPr>
          <a:xfrm>
            <a:off x="2765166" y="1620496"/>
            <a:ext cx="949746" cy="939287"/>
          </a:xfrm>
          <a:prstGeom prst="ellipse">
            <a:avLst/>
          </a:prstGeom>
          <a:blipFill>
            <a:blip r:embed="rId9"/>
            <a:stretch>
              <a:fillRect/>
            </a:stretch>
          </a:blipFill>
          <a:ln w="9525" cap="flat" cmpd="sng" algn="ctr">
            <a:solidFill>
              <a:schemeClr val="bg2"/>
            </a:solidFill>
            <a:prstDash val="solid"/>
            <a:miter lim="800000"/>
          </a:ln>
          <a:effectLst/>
        </p:spPr>
      </p:pic>
      <p:pic>
        <p:nvPicPr>
          <p:cNvPr id="11" name="Picture 10">
            <a:extLst>
              <a:ext uri="{FF2B5EF4-FFF2-40B4-BE49-F238E27FC236}">
                <a16:creationId xmlns:a16="http://schemas.microsoft.com/office/drawing/2014/main" id="{30A94CE2-C313-37ED-F5C8-0D759DDF77F5}"/>
              </a:ext>
            </a:extLst>
          </p:cNvPr>
          <p:cNvPicPr>
            <a:picLocks noChangeAspect="1"/>
          </p:cNvPicPr>
          <p:nvPr/>
        </p:nvPicPr>
        <p:blipFill rotWithShape="1">
          <a:blip r:embed="rId10">
            <a:extLst>
              <a:ext uri="{28A0092B-C50C-407E-A947-70E740481C1C}">
                <a14:useLocalDpi xmlns:a14="http://schemas.microsoft.com/office/drawing/2010/main" val="0"/>
              </a:ext>
            </a:extLst>
          </a:blip>
          <a:srcRect t="3213" b="3213"/>
          <a:stretch/>
        </p:blipFill>
        <p:spPr>
          <a:xfrm>
            <a:off x="5374489" y="1627743"/>
            <a:ext cx="949746" cy="939287"/>
          </a:xfrm>
          <a:prstGeom prst="ellipse">
            <a:avLst/>
          </a:prstGeom>
          <a:blipFill>
            <a:blip r:embed="rId9"/>
            <a:stretch>
              <a:fillRect/>
            </a:stretch>
          </a:blipFill>
          <a:ln w="9525" cap="flat" cmpd="sng" algn="ctr">
            <a:solidFill>
              <a:schemeClr val="bg2"/>
            </a:solidFill>
            <a:prstDash val="solid"/>
            <a:miter lim="800000"/>
          </a:ln>
          <a:effectLst/>
        </p:spPr>
      </p:pic>
      <p:pic>
        <p:nvPicPr>
          <p:cNvPr id="12" name="Picture 11">
            <a:extLst>
              <a:ext uri="{FF2B5EF4-FFF2-40B4-BE49-F238E27FC236}">
                <a16:creationId xmlns:a16="http://schemas.microsoft.com/office/drawing/2014/main" id="{9027DAF6-05C1-6295-D0F5-9EE7F2432FD1}"/>
              </a:ext>
            </a:extLst>
          </p:cNvPr>
          <p:cNvPicPr>
            <a:picLocks noChangeAspect="1"/>
          </p:cNvPicPr>
          <p:nvPr/>
        </p:nvPicPr>
        <p:blipFill rotWithShape="1">
          <a:blip r:embed="rId11">
            <a:extLst>
              <a:ext uri="{28A0092B-C50C-407E-A947-70E740481C1C}">
                <a14:useLocalDpi xmlns:a14="http://schemas.microsoft.com/office/drawing/2010/main" val="0"/>
              </a:ext>
            </a:extLst>
          </a:blip>
          <a:srcRect t="2928" b="2928"/>
          <a:stretch/>
        </p:blipFill>
        <p:spPr>
          <a:xfrm>
            <a:off x="7981502" y="1654569"/>
            <a:ext cx="949746" cy="939287"/>
          </a:xfrm>
          <a:prstGeom prst="ellipse">
            <a:avLst/>
          </a:prstGeom>
          <a:blipFill>
            <a:blip r:embed="rId9"/>
            <a:stretch>
              <a:fillRect/>
            </a:stretch>
          </a:blipFill>
          <a:ln w="9525" cap="flat" cmpd="sng" algn="ctr">
            <a:solidFill>
              <a:schemeClr val="bg2"/>
            </a:solidFill>
            <a:prstDash val="solid"/>
            <a:miter lim="800000"/>
          </a:ln>
          <a:effectLst/>
        </p:spPr>
      </p:pic>
      <p:pic>
        <p:nvPicPr>
          <p:cNvPr id="13" name="Picture 12">
            <a:extLst>
              <a:ext uri="{FF2B5EF4-FFF2-40B4-BE49-F238E27FC236}">
                <a16:creationId xmlns:a16="http://schemas.microsoft.com/office/drawing/2014/main" id="{B87FD37A-580B-9548-D655-F916DF5547A3}"/>
              </a:ext>
            </a:extLst>
          </p:cNvPr>
          <p:cNvPicPr>
            <a:picLocks noChangeAspect="1"/>
          </p:cNvPicPr>
          <p:nvPr/>
        </p:nvPicPr>
        <p:blipFill rotWithShape="1">
          <a:blip r:embed="rId12">
            <a:extLst>
              <a:ext uri="{28A0092B-C50C-407E-A947-70E740481C1C}">
                <a14:useLocalDpi xmlns:a14="http://schemas.microsoft.com/office/drawing/2010/main" val="0"/>
              </a:ext>
            </a:extLst>
          </a:blip>
          <a:srcRect t="2928" b="2928"/>
          <a:stretch/>
        </p:blipFill>
        <p:spPr>
          <a:xfrm>
            <a:off x="1274634" y="3866691"/>
            <a:ext cx="949746" cy="939287"/>
          </a:xfrm>
          <a:prstGeom prst="ellipse">
            <a:avLst/>
          </a:prstGeom>
          <a:blipFill>
            <a:blip r:embed="rId9"/>
            <a:stretch>
              <a:fillRect/>
            </a:stretch>
          </a:blipFill>
          <a:ln w="9525" cap="flat" cmpd="sng" algn="ctr">
            <a:solidFill>
              <a:schemeClr val="bg2"/>
            </a:solidFill>
            <a:prstDash val="solid"/>
            <a:miter lim="800000"/>
          </a:ln>
          <a:effectLst/>
        </p:spPr>
      </p:pic>
      <p:pic>
        <p:nvPicPr>
          <p:cNvPr id="14" name="Picture 13">
            <a:extLst>
              <a:ext uri="{FF2B5EF4-FFF2-40B4-BE49-F238E27FC236}">
                <a16:creationId xmlns:a16="http://schemas.microsoft.com/office/drawing/2014/main" id="{E57E5637-DFEE-8CEA-9E6D-D8D1ECB90A88}"/>
              </a:ext>
            </a:extLst>
          </p:cNvPr>
          <p:cNvPicPr>
            <a:picLocks noChangeAspect="1"/>
          </p:cNvPicPr>
          <p:nvPr/>
        </p:nvPicPr>
        <p:blipFill rotWithShape="1">
          <a:blip r:embed="rId13">
            <a:extLst>
              <a:ext uri="{28A0092B-C50C-407E-A947-70E740481C1C}">
                <a14:useLocalDpi xmlns:a14="http://schemas.microsoft.com/office/drawing/2010/main" val="0"/>
              </a:ext>
            </a:extLst>
          </a:blip>
          <a:srcRect t="551" b="551"/>
          <a:stretch/>
        </p:blipFill>
        <p:spPr>
          <a:xfrm>
            <a:off x="9166440" y="3862326"/>
            <a:ext cx="949746" cy="939287"/>
          </a:xfrm>
          <a:prstGeom prst="ellipse">
            <a:avLst/>
          </a:prstGeom>
          <a:blipFill>
            <a:blip r:embed="rId9"/>
            <a:stretch>
              <a:fillRect/>
            </a:stretch>
          </a:blipFill>
          <a:ln w="9525" cap="flat" cmpd="sng" algn="ctr">
            <a:solidFill>
              <a:schemeClr val="bg2"/>
            </a:solidFill>
            <a:prstDash val="solid"/>
            <a:miter lim="800000"/>
          </a:ln>
          <a:effectLst/>
        </p:spPr>
      </p:pic>
      <p:pic>
        <p:nvPicPr>
          <p:cNvPr id="15" name="Picture 14">
            <a:extLst>
              <a:ext uri="{FF2B5EF4-FFF2-40B4-BE49-F238E27FC236}">
                <a16:creationId xmlns:a16="http://schemas.microsoft.com/office/drawing/2014/main" id="{2182454C-FCEA-7A05-B89B-56B477C4C072}"/>
              </a:ext>
            </a:extLst>
          </p:cNvPr>
          <p:cNvPicPr>
            <a:picLocks noChangeAspect="1"/>
          </p:cNvPicPr>
          <p:nvPr/>
        </p:nvPicPr>
        <p:blipFill rotWithShape="1">
          <a:blip r:embed="rId14">
            <a:extLst>
              <a:ext uri="{28A0092B-C50C-407E-A947-70E740481C1C}">
                <a14:useLocalDpi xmlns:a14="http://schemas.microsoft.com/office/drawing/2010/main" val="0"/>
              </a:ext>
            </a:extLst>
          </a:blip>
          <a:srcRect t="551" b="551"/>
          <a:stretch/>
        </p:blipFill>
        <p:spPr>
          <a:xfrm>
            <a:off x="5250060" y="3874220"/>
            <a:ext cx="949746" cy="939287"/>
          </a:xfrm>
          <a:prstGeom prst="ellipse">
            <a:avLst/>
          </a:prstGeom>
          <a:blipFill>
            <a:blip r:embed="rId9"/>
            <a:stretch>
              <a:fillRect/>
            </a:stretch>
          </a:blipFill>
          <a:ln w="9525" cap="flat" cmpd="sng" algn="ctr">
            <a:solidFill>
              <a:schemeClr val="bg2"/>
            </a:solidFill>
            <a:prstDash val="solid"/>
            <a:miter lim="800000"/>
          </a:ln>
          <a:effectLst/>
        </p:spPr>
      </p:pic>
      <p:sp>
        <p:nvSpPr>
          <p:cNvPr id="20" name="Freeform: Shape 19">
            <a:extLst>
              <a:ext uri="{FF2B5EF4-FFF2-40B4-BE49-F238E27FC236}">
                <a16:creationId xmlns:a16="http://schemas.microsoft.com/office/drawing/2014/main" id="{8EF1537F-6446-9C4D-EBA3-8A582D7CA8F2}"/>
              </a:ext>
            </a:extLst>
          </p:cNvPr>
          <p:cNvSpPr/>
          <p:nvPr/>
        </p:nvSpPr>
        <p:spPr>
          <a:xfrm flipH="1">
            <a:off x="3185678" y="4627911"/>
            <a:ext cx="243782" cy="241151"/>
          </a:xfrm>
          <a:custGeom>
            <a:avLst/>
            <a:gdLst>
              <a:gd name="connsiteX0" fmla="*/ 290133 w 290133"/>
              <a:gd name="connsiteY0" fmla="*/ 14001 h 287002"/>
              <a:gd name="connsiteX1" fmla="*/ 281521 w 290133"/>
              <a:gd name="connsiteY1" fmla="*/ 1084 h 287002"/>
              <a:gd name="connsiteX2" fmla="*/ 266281 w 290133"/>
              <a:gd name="connsiteY2" fmla="*/ 4051 h 287002"/>
              <a:gd name="connsiteX3" fmla="*/ 4166 w 290133"/>
              <a:gd name="connsiteY3" fmla="*/ 263021 h 287002"/>
              <a:gd name="connsiteX4" fmla="*/ 1053 w 290133"/>
              <a:gd name="connsiteY4" fmla="*/ 278310 h 287002"/>
              <a:gd name="connsiteX5" fmla="*/ 14003 w 290133"/>
              <a:gd name="connsiteY5" fmla="*/ 287002 h 287002"/>
              <a:gd name="connsiteX6" fmla="*/ 276119 w 290133"/>
              <a:gd name="connsiteY6" fmla="*/ 287002 h 287002"/>
              <a:gd name="connsiteX7" fmla="*/ 290133 w 290133"/>
              <a:gd name="connsiteY7" fmla="*/ 272988 h 287002"/>
              <a:gd name="connsiteX8" fmla="*/ 290133 w 290133"/>
              <a:gd name="connsiteY8" fmla="*/ 14018 h 287002"/>
              <a:gd name="connsiteX9" fmla="*/ 290133 w 290133"/>
              <a:gd name="connsiteY9" fmla="*/ 14018 h 287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133" h="287002">
                <a:moveTo>
                  <a:pt x="290133" y="14001"/>
                </a:moveTo>
                <a:cubicBezTo>
                  <a:pt x="290133" y="8357"/>
                  <a:pt x="286746" y="3261"/>
                  <a:pt x="281521" y="1084"/>
                </a:cubicBezTo>
                <a:cubicBezTo>
                  <a:pt x="276312" y="-1094"/>
                  <a:pt x="270297" y="67"/>
                  <a:pt x="266281" y="4051"/>
                </a:cubicBezTo>
                <a:cubicBezTo>
                  <a:pt x="208642" y="61012"/>
                  <a:pt x="62224" y="205657"/>
                  <a:pt x="4166" y="263021"/>
                </a:cubicBezTo>
                <a:cubicBezTo>
                  <a:pt x="118" y="267021"/>
                  <a:pt x="-1108" y="273052"/>
                  <a:pt x="1053" y="278310"/>
                </a:cubicBezTo>
                <a:cubicBezTo>
                  <a:pt x="3214" y="283567"/>
                  <a:pt x="8327" y="287002"/>
                  <a:pt x="14003" y="287002"/>
                </a:cubicBezTo>
                <a:lnTo>
                  <a:pt x="276119" y="287002"/>
                </a:lnTo>
                <a:cubicBezTo>
                  <a:pt x="283860" y="287002"/>
                  <a:pt x="290133" y="280729"/>
                  <a:pt x="290133" y="272988"/>
                </a:cubicBezTo>
                <a:lnTo>
                  <a:pt x="290133" y="14018"/>
                </a:lnTo>
                <a:lnTo>
                  <a:pt x="290133" y="14018"/>
                </a:lnTo>
                <a:close/>
              </a:path>
            </a:pathLst>
          </a:custGeom>
          <a:gradFill>
            <a:gsLst>
              <a:gs pos="0">
                <a:srgbClr val="3B63E4"/>
              </a:gs>
              <a:gs pos="100000">
                <a:srgbClr val="2EC8BA"/>
              </a:gs>
            </a:gsLst>
            <a:lin ang="5400000" scaled="1"/>
          </a:gradFill>
          <a:ln w="1611" cap="flat">
            <a:noFill/>
            <a:prstDash val="solid"/>
            <a:miter/>
          </a:ln>
        </p:spPr>
        <p:txBody>
          <a:bodyPr rtlCol="0" anchor="ctr"/>
          <a:lstStyle/>
          <a:p>
            <a:endParaRPr lang="en-US">
              <a:solidFill>
                <a:schemeClr val="tx2"/>
              </a:solidFill>
            </a:endParaRPr>
          </a:p>
        </p:txBody>
      </p:sp>
      <p:sp>
        <p:nvSpPr>
          <p:cNvPr id="21" name="Freeform: Shape 20">
            <a:extLst>
              <a:ext uri="{FF2B5EF4-FFF2-40B4-BE49-F238E27FC236}">
                <a16:creationId xmlns:a16="http://schemas.microsoft.com/office/drawing/2014/main" id="{67E1D76A-738E-1AFD-3A4D-60C2EB28105E}"/>
              </a:ext>
            </a:extLst>
          </p:cNvPr>
          <p:cNvSpPr/>
          <p:nvPr/>
        </p:nvSpPr>
        <p:spPr>
          <a:xfrm flipH="1">
            <a:off x="3138263" y="3797688"/>
            <a:ext cx="976415" cy="569184"/>
          </a:xfrm>
          <a:custGeom>
            <a:avLst/>
            <a:gdLst>
              <a:gd name="connsiteX0" fmla="*/ 1162065 w 1162064"/>
              <a:gd name="connsiteY0" fmla="*/ 665504 h 677405"/>
              <a:gd name="connsiteX1" fmla="*/ 496561 w 1162064"/>
              <a:gd name="connsiteY1" fmla="*/ 0 h 677405"/>
              <a:gd name="connsiteX2" fmla="*/ 496561 w 1162064"/>
              <a:gd name="connsiteY2" fmla="*/ 0 h 677405"/>
              <a:gd name="connsiteX3" fmla="*/ 3085 w 1162064"/>
              <a:gd name="connsiteY3" fmla="*/ 218975 h 677405"/>
              <a:gd name="connsiteX4" fmla="*/ 3924 w 1162064"/>
              <a:gd name="connsiteY4" fmla="*/ 235812 h 677405"/>
              <a:gd name="connsiteX5" fmla="*/ 20760 w 1162064"/>
              <a:gd name="connsiteY5" fmla="*/ 234973 h 677405"/>
              <a:gd name="connsiteX6" fmla="*/ 496561 w 1162064"/>
              <a:gd name="connsiteY6" fmla="*/ 23836 h 677405"/>
              <a:gd name="connsiteX7" fmla="*/ 496561 w 1162064"/>
              <a:gd name="connsiteY7" fmla="*/ 23836 h 677405"/>
              <a:gd name="connsiteX8" fmla="*/ 1138213 w 1162064"/>
              <a:gd name="connsiteY8" fmla="*/ 665488 h 677405"/>
              <a:gd name="connsiteX9" fmla="*/ 1150131 w 1162064"/>
              <a:gd name="connsiteY9" fmla="*/ 677406 h 677405"/>
              <a:gd name="connsiteX10" fmla="*/ 1162049 w 1162064"/>
              <a:gd name="connsiteY10" fmla="*/ 665488 h 677405"/>
              <a:gd name="connsiteX11" fmla="*/ 1162049 w 1162064"/>
              <a:gd name="connsiteY11" fmla="*/ 665488 h 6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2064" h="677405">
                <a:moveTo>
                  <a:pt x="1162065" y="665504"/>
                </a:moveTo>
                <a:cubicBezTo>
                  <a:pt x="1162065" y="297950"/>
                  <a:pt x="864115" y="0"/>
                  <a:pt x="496561" y="0"/>
                </a:cubicBezTo>
                <a:lnTo>
                  <a:pt x="496561" y="0"/>
                </a:lnTo>
                <a:cubicBezTo>
                  <a:pt x="300841" y="0"/>
                  <a:pt x="124861" y="84490"/>
                  <a:pt x="3085" y="218975"/>
                </a:cubicBezTo>
                <a:cubicBezTo>
                  <a:pt x="-1334" y="223845"/>
                  <a:pt x="-963" y="231393"/>
                  <a:pt x="3924" y="235812"/>
                </a:cubicBezTo>
                <a:cubicBezTo>
                  <a:pt x="8794" y="240230"/>
                  <a:pt x="16341" y="239859"/>
                  <a:pt x="20760" y="234973"/>
                </a:cubicBezTo>
                <a:cubicBezTo>
                  <a:pt x="138182" y="105310"/>
                  <a:pt x="307856" y="23836"/>
                  <a:pt x="496561" y="23836"/>
                </a:cubicBezTo>
                <a:lnTo>
                  <a:pt x="496561" y="23836"/>
                </a:lnTo>
                <a:cubicBezTo>
                  <a:pt x="850939" y="23836"/>
                  <a:pt x="1138213" y="311109"/>
                  <a:pt x="1138213" y="665488"/>
                </a:cubicBezTo>
                <a:cubicBezTo>
                  <a:pt x="1138213" y="672068"/>
                  <a:pt x="1143551" y="677406"/>
                  <a:pt x="1150131" y="677406"/>
                </a:cubicBezTo>
                <a:cubicBezTo>
                  <a:pt x="1156711" y="677406"/>
                  <a:pt x="1162049" y="672068"/>
                  <a:pt x="1162049" y="665488"/>
                </a:cubicBezTo>
                <a:lnTo>
                  <a:pt x="1162049" y="665488"/>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sp>
        <p:nvSpPr>
          <p:cNvPr id="22" name="Freeform: Shape 21">
            <a:extLst>
              <a:ext uri="{FF2B5EF4-FFF2-40B4-BE49-F238E27FC236}">
                <a16:creationId xmlns:a16="http://schemas.microsoft.com/office/drawing/2014/main" id="{831502AD-3248-8837-34B5-C76F866C9100}"/>
              </a:ext>
            </a:extLst>
          </p:cNvPr>
          <p:cNvSpPr/>
          <p:nvPr/>
        </p:nvSpPr>
        <p:spPr>
          <a:xfrm flipH="1">
            <a:off x="3687434" y="4635584"/>
            <a:ext cx="487269" cy="280472"/>
          </a:xfrm>
          <a:custGeom>
            <a:avLst/>
            <a:gdLst>
              <a:gd name="connsiteX0" fmla="*/ 1789 w 579916"/>
              <a:gd name="connsiteY0" fmla="*/ 18174 h 333799"/>
              <a:gd name="connsiteX1" fmla="*/ 567998 w 579916"/>
              <a:gd name="connsiteY1" fmla="*/ 333799 h 333799"/>
              <a:gd name="connsiteX2" fmla="*/ 579916 w 579916"/>
              <a:gd name="connsiteY2" fmla="*/ 321881 h 333799"/>
              <a:gd name="connsiteX3" fmla="*/ 567998 w 579916"/>
              <a:gd name="connsiteY3" fmla="*/ 309963 h 333799"/>
              <a:gd name="connsiteX4" fmla="*/ 22061 w 579916"/>
              <a:gd name="connsiteY4" fmla="*/ 5643 h 333799"/>
              <a:gd name="connsiteX5" fmla="*/ 5643 w 579916"/>
              <a:gd name="connsiteY5" fmla="*/ 1789 h 333799"/>
              <a:gd name="connsiteX6" fmla="*/ 1789 w 579916"/>
              <a:gd name="connsiteY6" fmla="*/ 18206 h 333799"/>
              <a:gd name="connsiteX7" fmla="*/ 1789 w 579916"/>
              <a:gd name="connsiteY7" fmla="*/ 18206 h 33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916" h="333799">
                <a:moveTo>
                  <a:pt x="1789" y="18174"/>
                </a:moveTo>
                <a:cubicBezTo>
                  <a:pt x="119098" y="207604"/>
                  <a:pt x="328816" y="333799"/>
                  <a:pt x="567998" y="333799"/>
                </a:cubicBezTo>
                <a:cubicBezTo>
                  <a:pt x="574578" y="333799"/>
                  <a:pt x="579916" y="328461"/>
                  <a:pt x="579916" y="321881"/>
                </a:cubicBezTo>
                <a:cubicBezTo>
                  <a:pt x="579916" y="315301"/>
                  <a:pt x="574578" y="309963"/>
                  <a:pt x="567998" y="309963"/>
                </a:cubicBezTo>
                <a:cubicBezTo>
                  <a:pt x="337363" y="309963"/>
                  <a:pt x="135161" y="188284"/>
                  <a:pt x="22061" y="5643"/>
                </a:cubicBezTo>
                <a:cubicBezTo>
                  <a:pt x="18594" y="47"/>
                  <a:pt x="11240" y="-1678"/>
                  <a:pt x="5643" y="1789"/>
                </a:cubicBezTo>
                <a:cubicBezTo>
                  <a:pt x="47" y="5256"/>
                  <a:pt x="-1678" y="12610"/>
                  <a:pt x="1789" y="18206"/>
                </a:cubicBezTo>
                <a:lnTo>
                  <a:pt x="1789" y="18206"/>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sp>
        <p:nvSpPr>
          <p:cNvPr id="23" name="Freeform: Shape 22">
            <a:extLst>
              <a:ext uri="{FF2B5EF4-FFF2-40B4-BE49-F238E27FC236}">
                <a16:creationId xmlns:a16="http://schemas.microsoft.com/office/drawing/2014/main" id="{22BAEC82-91A9-A350-0D4C-32C706956AFD}"/>
              </a:ext>
            </a:extLst>
          </p:cNvPr>
          <p:cNvSpPr/>
          <p:nvPr/>
        </p:nvSpPr>
        <p:spPr>
          <a:xfrm flipH="1">
            <a:off x="3138263" y="4346859"/>
            <a:ext cx="569198" cy="569198"/>
          </a:xfrm>
          <a:custGeom>
            <a:avLst/>
            <a:gdLst>
              <a:gd name="connsiteX0" fmla="*/ 11918 w 677422"/>
              <a:gd name="connsiteY0" fmla="*/ 677422 h 677422"/>
              <a:gd name="connsiteX1" fmla="*/ 665504 w 677422"/>
              <a:gd name="connsiteY1" fmla="*/ 677422 h 677422"/>
              <a:gd name="connsiteX2" fmla="*/ 677422 w 677422"/>
              <a:gd name="connsiteY2" fmla="*/ 665504 h 677422"/>
              <a:gd name="connsiteX3" fmla="*/ 677422 w 677422"/>
              <a:gd name="connsiteY3" fmla="*/ 11918 h 677422"/>
              <a:gd name="connsiteX4" fmla="*/ 665504 w 677422"/>
              <a:gd name="connsiteY4" fmla="*/ 0 h 677422"/>
              <a:gd name="connsiteX5" fmla="*/ 653586 w 677422"/>
              <a:gd name="connsiteY5" fmla="*/ 11918 h 677422"/>
              <a:gd name="connsiteX6" fmla="*/ 653586 w 677422"/>
              <a:gd name="connsiteY6" fmla="*/ 653570 h 677422"/>
              <a:gd name="connsiteX7" fmla="*/ 11918 w 677422"/>
              <a:gd name="connsiteY7" fmla="*/ 653570 h 677422"/>
              <a:gd name="connsiteX8" fmla="*/ 0 w 677422"/>
              <a:gd name="connsiteY8" fmla="*/ 665488 h 677422"/>
              <a:gd name="connsiteX9" fmla="*/ 11918 w 677422"/>
              <a:gd name="connsiteY9" fmla="*/ 677406 h 677422"/>
              <a:gd name="connsiteX10" fmla="*/ 11918 w 677422"/>
              <a:gd name="connsiteY10" fmla="*/ 677406 h 677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7422" h="677422">
                <a:moveTo>
                  <a:pt x="11918" y="677422"/>
                </a:moveTo>
                <a:lnTo>
                  <a:pt x="665504" y="677422"/>
                </a:lnTo>
                <a:cubicBezTo>
                  <a:pt x="672084" y="677422"/>
                  <a:pt x="677422" y="672084"/>
                  <a:pt x="677422" y="665504"/>
                </a:cubicBezTo>
                <a:lnTo>
                  <a:pt x="677422" y="11918"/>
                </a:lnTo>
                <a:cubicBezTo>
                  <a:pt x="677422" y="5338"/>
                  <a:pt x="672084" y="0"/>
                  <a:pt x="665504" y="0"/>
                </a:cubicBezTo>
                <a:cubicBezTo>
                  <a:pt x="658924" y="0"/>
                  <a:pt x="653586" y="5338"/>
                  <a:pt x="653586" y="11918"/>
                </a:cubicBezTo>
                <a:lnTo>
                  <a:pt x="653586" y="653570"/>
                </a:lnTo>
                <a:lnTo>
                  <a:pt x="11918" y="653570"/>
                </a:lnTo>
                <a:cubicBezTo>
                  <a:pt x="5338" y="653570"/>
                  <a:pt x="0" y="658908"/>
                  <a:pt x="0" y="665488"/>
                </a:cubicBezTo>
                <a:cubicBezTo>
                  <a:pt x="0" y="672068"/>
                  <a:pt x="5338" y="677406"/>
                  <a:pt x="11918" y="677406"/>
                </a:cubicBezTo>
                <a:lnTo>
                  <a:pt x="11918" y="677406"/>
                </a:lnTo>
                <a:close/>
              </a:path>
            </a:pathLst>
          </a:custGeom>
          <a:solidFill>
            <a:schemeClr val="accent3"/>
          </a:solidFill>
          <a:ln w="1611" cap="flat">
            <a:noFill/>
            <a:prstDash val="solid"/>
            <a:miter/>
          </a:ln>
        </p:spPr>
        <p:txBody>
          <a:bodyPr rtlCol="0" anchor="ctr"/>
          <a:lstStyle/>
          <a:p>
            <a:endParaRPr lang="en-US">
              <a:solidFill>
                <a:schemeClr val="tx2"/>
              </a:solidFill>
            </a:endParaRPr>
          </a:p>
        </p:txBody>
      </p:sp>
      <p:grpSp>
        <p:nvGrpSpPr>
          <p:cNvPr id="24" name="Group 23">
            <a:extLst>
              <a:ext uri="{FF2B5EF4-FFF2-40B4-BE49-F238E27FC236}">
                <a16:creationId xmlns:a16="http://schemas.microsoft.com/office/drawing/2014/main" id="{547FDD2A-6DA3-8972-FD14-EEA0EC44CD23}"/>
              </a:ext>
            </a:extLst>
          </p:cNvPr>
          <p:cNvGrpSpPr/>
          <p:nvPr/>
        </p:nvGrpSpPr>
        <p:grpSpPr>
          <a:xfrm>
            <a:off x="3138266" y="5113831"/>
            <a:ext cx="1325379" cy="877996"/>
            <a:chOff x="998400" y="4177143"/>
            <a:chExt cx="1863853" cy="1234706"/>
          </a:xfrm>
        </p:grpSpPr>
        <p:sp>
          <p:nvSpPr>
            <p:cNvPr id="25" name="Rectangle 24">
              <a:extLst>
                <a:ext uri="{FF2B5EF4-FFF2-40B4-BE49-F238E27FC236}">
                  <a16:creationId xmlns:a16="http://schemas.microsoft.com/office/drawing/2014/main" id="{A74FA6C2-CC84-5947-049C-AB410422CC1B}"/>
                </a:ext>
              </a:extLst>
            </p:cNvPr>
            <p:cNvSpPr>
              <a:spLocks/>
            </p:cNvSpPr>
            <p:nvPr/>
          </p:nvSpPr>
          <p:spPr>
            <a:xfrm>
              <a:off x="998400" y="4177143"/>
              <a:ext cx="1863853" cy="519383"/>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2400"/>
                </a:spcAft>
                <a:buClrTx/>
                <a:buSzTx/>
                <a:buFontTx/>
                <a:buNone/>
                <a:tabLst/>
                <a:defRPr/>
              </a:pPr>
              <a:r>
                <a:rPr kumimoji="0" lang="en-US" sz="2400" b="0" i="0" u="none" strike="noStrike" kern="1200" cap="none" spc="0" normalizeH="0" baseline="0" noProof="0">
                  <a:ln>
                    <a:noFill/>
                  </a:ln>
                  <a:solidFill>
                    <a:schemeClr val="tx2"/>
                  </a:solidFill>
                  <a:effectLst/>
                  <a:uLnTx/>
                  <a:uFillTx/>
                  <a:latin typeface="KPMG Bold"/>
                  <a:ea typeface="+mn-ea"/>
                  <a:cs typeface="+mn-cs"/>
                </a:rPr>
                <a:t>Randall Walker</a:t>
              </a:r>
              <a:endParaRPr kumimoji="0" lang="en-US" sz="1100" b="0" i="0" u="none" strike="noStrike" kern="1200" cap="none" spc="0" normalizeH="0" baseline="0" noProof="0">
                <a:ln>
                  <a:noFill/>
                </a:ln>
                <a:solidFill>
                  <a:schemeClr val="tx2"/>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C6B911DA-09A4-CFE6-DBAF-0A630E10AD28}"/>
                </a:ext>
              </a:extLst>
            </p:cNvPr>
            <p:cNvCxnSpPr/>
            <p:nvPr/>
          </p:nvCxnSpPr>
          <p:spPr>
            <a:xfrm>
              <a:off x="998400" y="4748029"/>
              <a:ext cx="71845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9850D6EC-0381-6E53-0365-9850EF24778F}"/>
                </a:ext>
              </a:extLst>
            </p:cNvPr>
            <p:cNvSpPr>
              <a:spLocks/>
            </p:cNvSpPr>
            <p:nvPr/>
          </p:nvSpPr>
          <p:spPr>
            <a:xfrm>
              <a:off x="998400" y="4935748"/>
              <a:ext cx="1863853" cy="476101"/>
            </a:xfrm>
            <a:prstGeom prst="rect">
              <a:avLst/>
            </a:prstGeom>
          </p:spPr>
          <p:txBody>
            <a:bodyPr wrap="square" lIns="0" tIns="0" rIns="0" bIns="0">
              <a:spAutoFit/>
            </a:bodyPr>
            <a:lstStyle/>
            <a:p>
              <a:pPr>
                <a:spcAft>
                  <a:spcPts val="2400"/>
                </a:spcAft>
              </a:pPr>
              <a:r>
                <a:rPr lang="en-US" sz="1100" i="1"/>
                <a:t>Data Lake Engineering Director</a:t>
              </a:r>
            </a:p>
          </p:txBody>
        </p:sp>
      </p:grpSp>
      <p:pic>
        <p:nvPicPr>
          <p:cNvPr id="28" name="Picture 27">
            <a:extLst>
              <a:ext uri="{FF2B5EF4-FFF2-40B4-BE49-F238E27FC236}">
                <a16:creationId xmlns:a16="http://schemas.microsoft.com/office/drawing/2014/main" id="{14E2281B-221C-62DB-3125-4D110796DE2E}"/>
              </a:ext>
            </a:extLst>
          </p:cNvPr>
          <p:cNvPicPr>
            <a:picLocks noChangeAspect="1"/>
          </p:cNvPicPr>
          <p:nvPr/>
        </p:nvPicPr>
        <p:blipFill rotWithShape="1">
          <a:blip r:embed="rId15">
            <a:extLst>
              <a:ext uri="{28A0092B-C50C-407E-A947-70E740481C1C}">
                <a14:useLocalDpi xmlns:a14="http://schemas.microsoft.com/office/drawing/2010/main" val="0"/>
              </a:ext>
            </a:extLst>
          </a:blip>
          <a:srcRect l="2034" t="-245" r="-2034" b="16116"/>
          <a:stretch>
            <a:fillRect/>
          </a:stretch>
        </p:blipFill>
        <p:spPr>
          <a:xfrm>
            <a:off x="3219718" y="3861125"/>
            <a:ext cx="949746" cy="939287"/>
          </a:xfrm>
          <a:prstGeom prst="ellipse">
            <a:avLst/>
          </a:prstGeom>
          <a:blipFill>
            <a:blip r:embed="rId9"/>
            <a:stretch>
              <a:fillRect/>
            </a:stretch>
          </a:blipFill>
          <a:ln w="9525" cap="flat" cmpd="sng" algn="ctr">
            <a:solidFill>
              <a:schemeClr val="bg2"/>
            </a:solidFill>
            <a:prstDash val="solid"/>
            <a:miter lim="800000"/>
          </a:ln>
          <a:effectLst/>
        </p:spPr>
      </p:pic>
    </p:spTree>
    <p:custDataLst>
      <p:tags r:id="rId1"/>
    </p:custDataLst>
    <p:extLst>
      <p:ext uri="{BB962C8B-B14F-4D97-AF65-F5344CB8AC3E}">
        <p14:creationId xmlns:p14="http://schemas.microsoft.com/office/powerpoint/2010/main" val="36941933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D08AE1-A1D0-07FA-AD93-4A4C261E1EC3}"/>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6C46F03-6AB5-3977-0F46-811BC6FF810C}"/>
              </a:ext>
            </a:extLst>
          </p:cNvPr>
          <p:cNvGraphicFramePr>
            <a:graphicFrameLocks noChangeAspect="1"/>
          </p:cNvGraphicFramePr>
          <p:nvPr>
            <p:custDataLst>
              <p:tags r:id="rId1"/>
            </p:custDataLst>
            <p:extLst>
              <p:ext uri="{D42A27DB-BD31-4B8C-83A1-F6EECF244321}">
                <p14:modId xmlns:p14="http://schemas.microsoft.com/office/powerpoint/2010/main" val="394178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A6C46F03-6AB5-3977-0F46-811BC6FF81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98" name="Table 24">
            <a:extLst>
              <a:ext uri="{FF2B5EF4-FFF2-40B4-BE49-F238E27FC236}">
                <a16:creationId xmlns:a16="http://schemas.microsoft.com/office/drawing/2014/main" id="{6E351540-B710-D572-8CB2-3456A34351AE}"/>
              </a:ext>
            </a:extLst>
          </p:cNvPr>
          <p:cNvGraphicFramePr>
            <a:graphicFrameLocks/>
          </p:cNvGraphicFramePr>
          <p:nvPr>
            <p:extLst>
              <p:ext uri="{D42A27DB-BD31-4B8C-83A1-F6EECF244321}">
                <p14:modId xmlns:p14="http://schemas.microsoft.com/office/powerpoint/2010/main" val="1061462053"/>
              </p:ext>
            </p:extLst>
          </p:nvPr>
        </p:nvGraphicFramePr>
        <p:xfrm>
          <a:off x="1176382" y="1876425"/>
          <a:ext cx="4745698" cy="3686176"/>
        </p:xfrm>
        <a:graphic>
          <a:graphicData uri="http://schemas.openxmlformats.org/drawingml/2006/table">
            <a:tbl>
              <a:tblPr firstRow="1" bandRow="1">
                <a:tableStyleId>{5C22544A-7EE6-4342-B048-85BDC9FD1C3A}</a:tableStyleId>
              </a:tblPr>
              <a:tblGrid>
                <a:gridCol w="455568">
                  <a:extLst>
                    <a:ext uri="{9D8B030D-6E8A-4147-A177-3AD203B41FA5}">
                      <a16:colId xmlns:a16="http://schemas.microsoft.com/office/drawing/2014/main" val="466643504"/>
                    </a:ext>
                  </a:extLst>
                </a:gridCol>
                <a:gridCol w="25400">
                  <a:extLst>
                    <a:ext uri="{9D8B030D-6E8A-4147-A177-3AD203B41FA5}">
                      <a16:colId xmlns:a16="http://schemas.microsoft.com/office/drawing/2014/main" val="2901781449"/>
                    </a:ext>
                  </a:extLst>
                </a:gridCol>
                <a:gridCol w="3687827">
                  <a:extLst>
                    <a:ext uri="{9D8B030D-6E8A-4147-A177-3AD203B41FA5}">
                      <a16:colId xmlns:a16="http://schemas.microsoft.com/office/drawing/2014/main" val="620299569"/>
                    </a:ext>
                  </a:extLst>
                </a:gridCol>
                <a:gridCol w="576903">
                  <a:extLst>
                    <a:ext uri="{9D8B030D-6E8A-4147-A177-3AD203B41FA5}">
                      <a16:colId xmlns:a16="http://schemas.microsoft.com/office/drawing/2014/main" val="3953245774"/>
                    </a:ext>
                  </a:extLst>
                </a:gridCol>
              </a:tblGrid>
              <a:tr h="921544">
                <a:tc>
                  <a:txBody>
                    <a:bodyPr/>
                    <a:lstStyle/>
                    <a:p>
                      <a:pPr marL="0" marR="0" lvl="0" indent="0" algn="l" defTabSz="914400" rtl="0" eaLnBrk="1" fontAlgn="auto" latinLnBrk="0" hangingPunct="1">
                        <a:lnSpc>
                          <a:spcPts val="1240"/>
                        </a:lnSpc>
                        <a:spcBef>
                          <a:spcPts val="0"/>
                        </a:spcBef>
                        <a:spcAft>
                          <a:spcPts val="0"/>
                        </a:spcAft>
                        <a:buClrTx/>
                        <a:buSzTx/>
                        <a:buFontTx/>
                        <a:buNone/>
                        <a:tabLst/>
                        <a:defRPr/>
                      </a:pPr>
                      <a:r>
                        <a:rPr lang="en-GB" sz="2800" b="0" kern="1200">
                          <a:solidFill>
                            <a:srgbClr val="00C0AE"/>
                          </a:solidFill>
                          <a:latin typeface="+mj-lt"/>
                          <a:ea typeface="+mn-ea"/>
                          <a:cs typeface="+mn-cs"/>
                        </a:rPr>
                        <a:t>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73025" marR="0" lvl="0" indent="0" algn="l" defTabSz="914400" rtl="0" eaLnBrk="1" fontAlgn="auto" latinLnBrk="0" hangingPunct="1">
                        <a:lnSpc>
                          <a:spcPts val="1240"/>
                        </a:lnSpc>
                        <a:spcBef>
                          <a:spcPts val="0"/>
                        </a:spcBef>
                        <a:spcAft>
                          <a:spcPts val="0"/>
                        </a:spcAft>
                        <a:buClrTx/>
                        <a:buSzTx/>
                        <a:buFontTx/>
                        <a:buNone/>
                        <a:tabLst/>
                        <a:defRPr/>
                      </a:pPr>
                      <a:endParaRPr lang="en-GB" sz="1600" b="0" kern="1200">
                        <a:solidFill>
                          <a:schemeClr val="tx2"/>
                        </a:solidFill>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73025" marR="0" lvl="0" indent="0" algn="l" defTabSz="914400" rtl="0" eaLnBrk="1" fontAlgn="auto" latinLnBrk="0" hangingPunct="1">
                        <a:lnSpc>
                          <a:spcPts val="1240"/>
                        </a:lnSpc>
                        <a:spcBef>
                          <a:spcPts val="0"/>
                        </a:spcBef>
                        <a:spcAft>
                          <a:spcPts val="0"/>
                        </a:spcAft>
                        <a:buClrTx/>
                        <a:buSzTx/>
                        <a:buFontTx/>
                        <a:buNone/>
                        <a:tabLst/>
                        <a:defRPr/>
                      </a:pPr>
                      <a:r>
                        <a:rPr lang="en-GB" sz="1600" b="0" u="none" kern="1200">
                          <a:solidFill>
                            <a:schemeClr val="tx1"/>
                          </a:solidFill>
                          <a:latin typeface="+mn-lt"/>
                          <a:ea typeface="+mn-ea"/>
                          <a:cs typeface="+mn-cs"/>
                        </a:rPr>
                        <a:t>Executive Summar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73025" marR="0" lvl="0" indent="0" algn="ctr" defTabSz="914400" rtl="0" eaLnBrk="1" fontAlgn="auto" latinLnBrk="0" hangingPunct="1">
                        <a:lnSpc>
                          <a:spcPts val="1240"/>
                        </a:lnSpc>
                        <a:spcBef>
                          <a:spcPts val="0"/>
                        </a:spcBef>
                        <a:spcAft>
                          <a:spcPts val="0"/>
                        </a:spcAft>
                        <a:buClrTx/>
                        <a:buSzTx/>
                        <a:buFontTx/>
                        <a:buNone/>
                        <a:tabLst/>
                        <a:defRPr/>
                      </a:pPr>
                      <a:endParaRPr lang="en-GB" sz="1600" b="0" kern="1200">
                        <a:solidFill>
                          <a:schemeClr val="tx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9216587"/>
                  </a:ext>
                </a:extLst>
              </a:tr>
              <a:tr h="921544">
                <a:tc>
                  <a:txBody>
                    <a:bodyPr/>
                    <a:lstStyle/>
                    <a:p>
                      <a:pPr marL="0" marR="0" lvl="0" indent="0" algn="l" defTabSz="914400" rtl="0" eaLnBrk="1" fontAlgn="auto" latinLnBrk="0" hangingPunct="1">
                        <a:lnSpc>
                          <a:spcPts val="1240"/>
                        </a:lnSpc>
                        <a:spcBef>
                          <a:spcPts val="0"/>
                        </a:spcBef>
                        <a:spcAft>
                          <a:spcPts val="0"/>
                        </a:spcAft>
                        <a:buClrTx/>
                        <a:buSzTx/>
                        <a:buFontTx/>
                        <a:buNone/>
                        <a:tabLst/>
                        <a:defRPr/>
                      </a:pPr>
                      <a:r>
                        <a:rPr lang="en-GB" sz="2800" b="0" kern="1200">
                          <a:solidFill>
                            <a:srgbClr val="00C0AE"/>
                          </a:solidFill>
                          <a:latin typeface="+mj-lt"/>
                          <a:ea typeface="+mn-ea"/>
                          <a:cs typeface="+mn-cs"/>
                        </a:rPr>
                        <a:t>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73025" marR="0" lvl="0" indent="0" algn="l" defTabSz="914400" rtl="0" eaLnBrk="1" fontAlgn="auto" latinLnBrk="0" hangingPunct="1">
                        <a:lnSpc>
                          <a:spcPts val="1240"/>
                        </a:lnSpc>
                        <a:spcBef>
                          <a:spcPts val="0"/>
                        </a:spcBef>
                        <a:spcAft>
                          <a:spcPts val="0"/>
                        </a:spcAft>
                        <a:buClrTx/>
                        <a:buSzTx/>
                        <a:buFontTx/>
                        <a:buNone/>
                        <a:tabLst/>
                        <a:defRPr/>
                      </a:pPr>
                      <a:endParaRPr lang="en-GB" sz="1600" b="0" kern="1200">
                        <a:solidFill>
                          <a:schemeClr val="tx2"/>
                        </a:solidFill>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73025" marR="0" lvl="0" indent="0" algn="l" defTabSz="914400" rtl="0" eaLnBrk="1" fontAlgn="auto" latinLnBrk="0" hangingPunct="1">
                        <a:lnSpc>
                          <a:spcPts val="1240"/>
                        </a:lnSpc>
                        <a:spcBef>
                          <a:spcPts val="0"/>
                        </a:spcBef>
                        <a:spcAft>
                          <a:spcPts val="0"/>
                        </a:spcAft>
                        <a:buClrTx/>
                        <a:buSzTx/>
                        <a:buFontTx/>
                        <a:buNone/>
                        <a:tabLst/>
                        <a:defRPr/>
                      </a:pPr>
                      <a:r>
                        <a:rPr lang="en-US" sz="1600" b="0" u="none" kern="1200" noProof="0">
                          <a:solidFill>
                            <a:schemeClr val="tx1"/>
                          </a:solidFill>
                          <a:latin typeface="+mn-lt"/>
                          <a:ea typeface="+mn-ea"/>
                          <a:cs typeface="+mn-cs"/>
                        </a:rPr>
                        <a:t>Our Approach and Methodolog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73025" marR="0" lvl="0" indent="0" algn="ctr" defTabSz="914400" rtl="0" eaLnBrk="1" fontAlgn="auto" latinLnBrk="0" hangingPunct="1">
                        <a:lnSpc>
                          <a:spcPts val="1240"/>
                        </a:lnSpc>
                        <a:spcBef>
                          <a:spcPts val="0"/>
                        </a:spcBef>
                        <a:spcAft>
                          <a:spcPts val="0"/>
                        </a:spcAft>
                        <a:buClrTx/>
                        <a:buSzTx/>
                        <a:buFontTx/>
                        <a:buNone/>
                        <a:tabLst/>
                        <a:defRPr/>
                      </a:pPr>
                      <a:endParaRPr lang="en-GB" sz="1600" b="0" kern="1200">
                        <a:solidFill>
                          <a:schemeClr val="tx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0955894"/>
                  </a:ext>
                </a:extLst>
              </a:tr>
              <a:tr h="921544">
                <a:tc>
                  <a:txBody>
                    <a:bodyPr/>
                    <a:lstStyle/>
                    <a:p>
                      <a:pPr marL="0" marR="0" lvl="0" indent="0" algn="l" defTabSz="914400" rtl="0" eaLnBrk="1" fontAlgn="auto" latinLnBrk="0" hangingPunct="1">
                        <a:lnSpc>
                          <a:spcPts val="1240"/>
                        </a:lnSpc>
                        <a:spcBef>
                          <a:spcPts val="0"/>
                        </a:spcBef>
                        <a:spcAft>
                          <a:spcPts val="0"/>
                        </a:spcAft>
                        <a:buClrTx/>
                        <a:buSzTx/>
                        <a:buFontTx/>
                        <a:buNone/>
                        <a:tabLst/>
                        <a:defRPr/>
                      </a:pPr>
                      <a:r>
                        <a:rPr lang="en-US" sz="2800" b="0" kern="1200" noProof="0">
                          <a:solidFill>
                            <a:srgbClr val="00C0AE"/>
                          </a:solidFill>
                          <a:latin typeface="+mj-lt"/>
                          <a:ea typeface="+mn-ea"/>
                          <a:cs typeface="+mn-cs"/>
                        </a:rPr>
                        <a:t>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73025" marR="0" lvl="0" indent="0" algn="l" defTabSz="914400" rtl="0" eaLnBrk="1" fontAlgn="auto" latinLnBrk="0" hangingPunct="1">
                        <a:lnSpc>
                          <a:spcPts val="1240"/>
                        </a:lnSpc>
                        <a:spcBef>
                          <a:spcPts val="0"/>
                        </a:spcBef>
                        <a:spcAft>
                          <a:spcPts val="0"/>
                        </a:spcAft>
                        <a:buClrTx/>
                        <a:buSzTx/>
                        <a:buFontTx/>
                        <a:buNone/>
                        <a:tabLst/>
                        <a:defRPr/>
                      </a:pPr>
                      <a:endParaRPr lang="en-US" sz="1600" b="0" kern="1200" noProof="0">
                        <a:solidFill>
                          <a:schemeClr val="tx2"/>
                        </a:solidFill>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73025" marR="0" lvl="0" indent="0" algn="l" defTabSz="914400" rtl="0" eaLnBrk="1" fontAlgn="auto" latinLnBrk="0" hangingPunct="1">
                        <a:lnSpc>
                          <a:spcPts val="124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mn-lt"/>
                          <a:ea typeface="+mn-ea"/>
                          <a:cs typeface="+mn-cs"/>
                        </a:rPr>
                        <a:t>Timelin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73025" marR="0" lvl="0" indent="0" algn="ctr" defTabSz="914400" rtl="0" eaLnBrk="1" fontAlgn="auto" latinLnBrk="0" hangingPunct="1">
                        <a:lnSpc>
                          <a:spcPts val="1240"/>
                        </a:lnSpc>
                        <a:spcBef>
                          <a:spcPts val="0"/>
                        </a:spcBef>
                        <a:spcAft>
                          <a:spcPts val="0"/>
                        </a:spcAft>
                        <a:buClrTx/>
                        <a:buSzTx/>
                        <a:buFontTx/>
                        <a:buNone/>
                        <a:tabLst/>
                        <a:defRPr/>
                      </a:pPr>
                      <a:endParaRPr lang="en-GB" sz="1600" b="0" kern="1200" noProof="0">
                        <a:solidFill>
                          <a:schemeClr val="tx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0045840"/>
                  </a:ext>
                </a:extLst>
              </a:tr>
              <a:tr h="921544">
                <a:tc>
                  <a:txBody>
                    <a:bodyPr/>
                    <a:lstStyle/>
                    <a:p>
                      <a:pPr marL="0" marR="0" lvl="0" indent="0" algn="l" defTabSz="914400" rtl="0" eaLnBrk="1" fontAlgn="auto" latinLnBrk="0" hangingPunct="1">
                        <a:lnSpc>
                          <a:spcPts val="1240"/>
                        </a:lnSpc>
                        <a:spcBef>
                          <a:spcPts val="0"/>
                        </a:spcBef>
                        <a:spcAft>
                          <a:spcPts val="0"/>
                        </a:spcAft>
                        <a:buClrTx/>
                        <a:buSzTx/>
                        <a:buFontTx/>
                        <a:buNone/>
                        <a:tabLst/>
                        <a:defRPr/>
                      </a:pPr>
                      <a:r>
                        <a:rPr lang="en-US" sz="2800" b="0" kern="1200" noProof="0">
                          <a:solidFill>
                            <a:srgbClr val="00C0AE"/>
                          </a:solidFill>
                          <a:latin typeface="+mj-lt"/>
                          <a:ea typeface="+mn-ea"/>
                          <a:cs typeface="+mn-cs"/>
                        </a:rPr>
                        <a:t>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73025" marR="0" lvl="0" indent="0" algn="l" defTabSz="914400" rtl="0" eaLnBrk="1" fontAlgn="auto" latinLnBrk="0" hangingPunct="1">
                        <a:lnSpc>
                          <a:spcPts val="1240"/>
                        </a:lnSpc>
                        <a:spcBef>
                          <a:spcPts val="0"/>
                        </a:spcBef>
                        <a:spcAft>
                          <a:spcPts val="0"/>
                        </a:spcAft>
                        <a:buClrTx/>
                        <a:buSzTx/>
                        <a:buFontTx/>
                        <a:buNone/>
                        <a:tabLst/>
                        <a:defRPr/>
                      </a:pPr>
                      <a:endParaRPr lang="en-US" sz="1600" b="0" kern="1200" noProof="0">
                        <a:solidFill>
                          <a:schemeClr val="tx2"/>
                        </a:solidFill>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73025" marR="0" lvl="0" indent="0" algn="l" defTabSz="914400" rtl="0" eaLnBrk="1" fontAlgn="auto" latinLnBrk="0" hangingPunct="1">
                        <a:lnSpc>
                          <a:spcPts val="124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mn-lt"/>
                          <a:ea typeface="+mn-ea"/>
                          <a:cs typeface="+mn-cs"/>
                        </a:rPr>
                        <a:t>Conclusio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73025" marR="0" lvl="0" indent="0" algn="ctr" defTabSz="914400" rtl="0" eaLnBrk="1" fontAlgn="auto" latinLnBrk="0" hangingPunct="1">
                        <a:lnSpc>
                          <a:spcPts val="1240"/>
                        </a:lnSpc>
                        <a:spcBef>
                          <a:spcPts val="0"/>
                        </a:spcBef>
                        <a:spcAft>
                          <a:spcPts val="0"/>
                        </a:spcAft>
                        <a:buClrTx/>
                        <a:buSzTx/>
                        <a:buFontTx/>
                        <a:buNone/>
                        <a:tabLst/>
                        <a:defRPr/>
                      </a:pPr>
                      <a:endParaRPr lang="en-GB" sz="1600" b="0" kern="1200" noProof="0">
                        <a:solidFill>
                          <a:schemeClr val="tx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883214"/>
                  </a:ext>
                </a:extLst>
              </a:tr>
            </a:tbl>
          </a:graphicData>
        </a:graphic>
      </p:graphicFrame>
      <p:sp>
        <p:nvSpPr>
          <p:cNvPr id="3" name="Title 2">
            <a:extLst>
              <a:ext uri="{FF2B5EF4-FFF2-40B4-BE49-F238E27FC236}">
                <a16:creationId xmlns:a16="http://schemas.microsoft.com/office/drawing/2014/main" id="{AFBEFE8A-4931-A3A2-D3E2-214AD7FDAF6F}"/>
              </a:ext>
            </a:extLst>
          </p:cNvPr>
          <p:cNvSpPr>
            <a:spLocks noGrp="1"/>
          </p:cNvSpPr>
          <p:nvPr>
            <p:ph type="title" idx="4294967295"/>
          </p:nvPr>
        </p:nvSpPr>
        <p:spPr>
          <a:xfrm>
            <a:off x="1176382" y="836613"/>
            <a:ext cx="3046368" cy="603000"/>
          </a:xfrm>
        </p:spPr>
        <p:txBody>
          <a:bodyPr vert="horz"/>
          <a:lstStyle/>
          <a:p>
            <a:r>
              <a:rPr lang="en-GB" sz="5400">
                <a:ea typeface="+mn-ea"/>
                <a:cs typeface="+mn-cs"/>
              </a:rPr>
              <a:t>Agenda</a:t>
            </a:r>
            <a:endParaRPr lang="en-US" sz="5400"/>
          </a:p>
        </p:txBody>
      </p:sp>
    </p:spTree>
    <p:extLst>
      <p:ext uri="{BB962C8B-B14F-4D97-AF65-F5344CB8AC3E}">
        <p14:creationId xmlns:p14="http://schemas.microsoft.com/office/powerpoint/2010/main" val="23597276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CA3A82-A2C0-3245-65E0-252DA1722BE7}"/>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3F14EF0-221F-A96D-7D44-E57BBC84D2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0" name="think-cell data - do not delete" hidden="1">
                        <a:extLst>
                          <a:ext uri="{FF2B5EF4-FFF2-40B4-BE49-F238E27FC236}">
                            <a16:creationId xmlns:a16="http://schemas.microsoft.com/office/drawing/2014/main" id="{43F14EF0-221F-A96D-7D44-E57BBC84D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Rectangle: Rounded Corners 32">
            <a:extLst>
              <a:ext uri="{FF2B5EF4-FFF2-40B4-BE49-F238E27FC236}">
                <a16:creationId xmlns:a16="http://schemas.microsoft.com/office/drawing/2014/main" id="{0C6951AD-1C50-9A2E-4368-84E3CAC868C2}"/>
              </a:ext>
            </a:extLst>
          </p:cNvPr>
          <p:cNvSpPr>
            <a:spLocks/>
          </p:cNvSpPr>
          <p:nvPr/>
        </p:nvSpPr>
        <p:spPr>
          <a:xfrm>
            <a:off x="4280085" y="1821577"/>
            <a:ext cx="3475518" cy="1590088"/>
          </a:xfrm>
          <a:prstGeom prst="roundRect">
            <a:avLst/>
          </a:prstGeom>
          <a:solidFill>
            <a:schemeClr val="bg1">
              <a:lumMod val="95000"/>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800">
              <a:solidFill>
                <a:schemeClr val="bg1"/>
              </a:solidFill>
            </a:endParaRPr>
          </a:p>
        </p:txBody>
      </p:sp>
      <p:sp>
        <p:nvSpPr>
          <p:cNvPr id="111" name="TextBox 110">
            <a:extLst>
              <a:ext uri="{FF2B5EF4-FFF2-40B4-BE49-F238E27FC236}">
                <a16:creationId xmlns:a16="http://schemas.microsoft.com/office/drawing/2014/main" id="{5AC17887-5687-8DBD-88E7-482DCCEB172F}"/>
              </a:ext>
            </a:extLst>
          </p:cNvPr>
          <p:cNvSpPr txBox="1">
            <a:spLocks/>
          </p:cNvSpPr>
          <p:nvPr/>
        </p:nvSpPr>
        <p:spPr>
          <a:xfrm>
            <a:off x="598460" y="4021146"/>
            <a:ext cx="1266335" cy="1874829"/>
          </a:xfrm>
          <a:prstGeom prst="roundRect">
            <a:avLst>
              <a:gd name="adj" fmla="val 5244"/>
            </a:avLst>
          </a:prstGeom>
          <a:solidFill>
            <a:schemeClr val="bg1"/>
          </a:solidFill>
          <a:ln>
            <a:solidFill>
              <a:schemeClr val="bg2"/>
            </a:solidFill>
          </a:ln>
        </p:spPr>
        <p:txBody>
          <a:bodyPr wrap="square" lIns="180000" tIns="360000" rIns="180000" bIns="18000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110" name="Rectangle: Rounded Corners 109">
            <a:extLst>
              <a:ext uri="{FF2B5EF4-FFF2-40B4-BE49-F238E27FC236}">
                <a16:creationId xmlns:a16="http://schemas.microsoft.com/office/drawing/2014/main" id="{C358C567-E087-A6E9-2428-EDEFAEAF4F50}"/>
              </a:ext>
            </a:extLst>
          </p:cNvPr>
          <p:cNvSpPr/>
          <p:nvPr/>
        </p:nvSpPr>
        <p:spPr>
          <a:xfrm>
            <a:off x="590839" y="3624380"/>
            <a:ext cx="5435889" cy="329333"/>
          </a:xfrm>
          <a:prstGeom prst="roundRect">
            <a:avLst/>
          </a:prstGeom>
          <a:gradFill>
            <a:gsLst>
              <a:gs pos="5000">
                <a:schemeClr val="accent1">
                  <a:alpha val="85000"/>
                </a:schemeClr>
              </a:gs>
              <a:gs pos="82000">
                <a:srgbClr val="00C0AE">
                  <a:alpha val="80000"/>
                </a:srgbClr>
              </a:gs>
              <a:gs pos="58000">
                <a:schemeClr val="accent4">
                  <a:alpha val="84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a:ea typeface="+mn-ea"/>
              <a:cs typeface="+mn-cs"/>
            </a:endParaRPr>
          </a:p>
        </p:txBody>
      </p:sp>
      <p:sp>
        <p:nvSpPr>
          <p:cNvPr id="109" name="Rectangle: Rounded Corners 108">
            <a:extLst>
              <a:ext uri="{FF2B5EF4-FFF2-40B4-BE49-F238E27FC236}">
                <a16:creationId xmlns:a16="http://schemas.microsoft.com/office/drawing/2014/main" id="{DAE35741-FDC0-D827-3936-3872AC69F0FB}"/>
              </a:ext>
            </a:extLst>
          </p:cNvPr>
          <p:cNvSpPr/>
          <p:nvPr/>
        </p:nvSpPr>
        <p:spPr>
          <a:xfrm>
            <a:off x="587375" y="1197958"/>
            <a:ext cx="11017250" cy="387987"/>
          </a:xfrm>
          <a:prstGeom prst="roundRect">
            <a:avLst/>
          </a:prstGeom>
          <a:gradFill>
            <a:gsLst>
              <a:gs pos="5000">
                <a:schemeClr val="accent1">
                  <a:alpha val="85000"/>
                </a:schemeClr>
              </a:gs>
              <a:gs pos="82000">
                <a:srgbClr val="00C0AE">
                  <a:alpha val="80000"/>
                </a:srgbClr>
              </a:gs>
              <a:gs pos="58000">
                <a:schemeClr val="accent4">
                  <a:alpha val="84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a:ea typeface="+mn-ea"/>
              <a:cs typeface="+mn-cs"/>
            </a:endParaRPr>
          </a:p>
        </p:txBody>
      </p:sp>
      <p:sp>
        <p:nvSpPr>
          <p:cNvPr id="24" name="Title 23">
            <a:extLst>
              <a:ext uri="{FF2B5EF4-FFF2-40B4-BE49-F238E27FC236}">
                <a16:creationId xmlns:a16="http://schemas.microsoft.com/office/drawing/2014/main" id="{04F6B8B0-990D-ED75-9019-ED5176379FB5}"/>
              </a:ext>
            </a:extLst>
          </p:cNvPr>
          <p:cNvSpPr>
            <a:spLocks noGrp="1"/>
          </p:cNvSpPr>
          <p:nvPr>
            <p:ph type="title"/>
          </p:nvPr>
        </p:nvSpPr>
        <p:spPr>
          <a:xfrm>
            <a:off x="598968" y="551503"/>
            <a:ext cx="11020726" cy="533400"/>
          </a:xfrm>
        </p:spPr>
        <p:txBody>
          <a:bodyPr vert="horz"/>
          <a:lstStyle/>
          <a:p>
            <a:r>
              <a:rPr lang="en-US"/>
              <a:t>Our Understanding &amp; Path Forward for Modernization</a:t>
            </a:r>
            <a:br>
              <a:rPr lang="en-US" sz="3200"/>
            </a:br>
            <a:endParaRPr lang="en-US" sz="3200"/>
          </a:p>
        </p:txBody>
      </p:sp>
      <p:sp>
        <p:nvSpPr>
          <p:cNvPr id="108" name="Text Placeholder 107">
            <a:extLst>
              <a:ext uri="{FF2B5EF4-FFF2-40B4-BE49-F238E27FC236}">
                <a16:creationId xmlns:a16="http://schemas.microsoft.com/office/drawing/2014/main" id="{67F7F0DC-ADEA-FA0A-B10E-AA2B84E7491E}"/>
              </a:ext>
            </a:extLst>
          </p:cNvPr>
          <p:cNvSpPr>
            <a:spLocks noGrp="1"/>
          </p:cNvSpPr>
          <p:nvPr>
            <p:ph type="body" sz="quarter" idx="11"/>
          </p:nvPr>
        </p:nvSpPr>
        <p:spPr>
          <a:xfrm>
            <a:off x="598968" y="265313"/>
            <a:ext cx="5334288" cy="169200"/>
          </a:xfrm>
        </p:spPr>
        <p:txBody>
          <a:bodyPr/>
          <a:lstStyle/>
          <a:p>
            <a:pPr lvl="0"/>
            <a:r>
              <a:rPr lang="en-GB" sz="1000" b="1">
                <a:solidFill>
                  <a:srgbClr val="FFFFFF"/>
                </a:solidFill>
                <a:latin typeface="Arial"/>
              </a:rPr>
              <a:t>01.Executive Summary </a:t>
            </a:r>
          </a:p>
        </p:txBody>
      </p:sp>
      <p:sp>
        <p:nvSpPr>
          <p:cNvPr id="11" name="Rectangle 10">
            <a:extLst>
              <a:ext uri="{FF2B5EF4-FFF2-40B4-BE49-F238E27FC236}">
                <a16:creationId xmlns:a16="http://schemas.microsoft.com/office/drawing/2014/main" id="{593D5EE7-D281-51C3-241C-D0B57139F0AF}"/>
              </a:ext>
            </a:extLst>
          </p:cNvPr>
          <p:cNvSpPr/>
          <p:nvPr/>
        </p:nvSpPr>
        <p:spPr>
          <a:xfrm>
            <a:off x="711682" y="1243536"/>
            <a:ext cx="10768635" cy="252826"/>
          </a:xfrm>
          <a:prstGeom prst="rect">
            <a:avLst/>
          </a:prstGeom>
          <a:noFill/>
        </p:spPr>
        <p:txBody>
          <a:bodyPr wrap="square" lIns="0" tIns="0" rIns="0" bIns="0" rtlCol="0" anchor="t">
            <a:spAutoFit/>
          </a:bodyPr>
          <a:lstStyle/>
          <a:p>
            <a:pPr lvl="0">
              <a:lnSpc>
                <a:spcPct val="110000"/>
              </a:lnSpc>
              <a:defRPr/>
            </a:pPr>
            <a:r>
              <a:rPr lang="en-US" sz="1750" b="1">
                <a:solidFill>
                  <a:schemeClr val="bg1"/>
                </a:solidFill>
                <a:latin typeface="+mj-lt"/>
                <a:cs typeface="Arial" panose="020B0604020202020204" pitchFamily="34" charset="0"/>
              </a:rPr>
              <a:t>Current Challenges </a:t>
            </a:r>
            <a:endParaRPr lang="en-GB" sz="1750" b="1">
              <a:solidFill>
                <a:schemeClr val="bg1"/>
              </a:solidFill>
              <a:latin typeface="+mj-lt"/>
              <a:cs typeface="Arial" panose="020B0604020202020204" pitchFamily="34" charset="0"/>
            </a:endParaRPr>
          </a:p>
        </p:txBody>
      </p:sp>
      <p:grpSp>
        <p:nvGrpSpPr>
          <p:cNvPr id="4" name="Group 3">
            <a:extLst>
              <a:ext uri="{FF2B5EF4-FFF2-40B4-BE49-F238E27FC236}">
                <a16:creationId xmlns:a16="http://schemas.microsoft.com/office/drawing/2014/main" id="{D552C1C6-11FF-7D50-8E69-EB2C54542E24}"/>
              </a:ext>
            </a:extLst>
          </p:cNvPr>
          <p:cNvGrpSpPr/>
          <p:nvPr/>
        </p:nvGrpSpPr>
        <p:grpSpPr>
          <a:xfrm>
            <a:off x="4447805" y="1964323"/>
            <a:ext cx="3140077" cy="1109181"/>
            <a:chOff x="1741693" y="3139546"/>
            <a:chExt cx="2836158" cy="1109181"/>
          </a:xfrm>
        </p:grpSpPr>
        <p:sp>
          <p:nvSpPr>
            <p:cNvPr id="43" name="TextBox 42">
              <a:extLst>
                <a:ext uri="{FF2B5EF4-FFF2-40B4-BE49-F238E27FC236}">
                  <a16:creationId xmlns:a16="http://schemas.microsoft.com/office/drawing/2014/main" id="{C741CB62-E624-7AA3-6268-A19D33977CE4}"/>
                </a:ext>
              </a:extLst>
            </p:cNvPr>
            <p:cNvSpPr txBox="1"/>
            <p:nvPr/>
          </p:nvSpPr>
          <p:spPr>
            <a:xfrm>
              <a:off x="1776663" y="3139546"/>
              <a:ext cx="2596460" cy="276999"/>
            </a:xfrm>
            <a:prstGeom prst="rect">
              <a:avLst/>
            </a:prstGeom>
            <a:noFill/>
          </p:spPr>
          <p:txBody>
            <a:bodyPr wrap="square" lIns="0" tIns="0" rIns="0" bIns="0">
              <a:spAutoFit/>
            </a:bodyPr>
            <a:lstStyle/>
            <a:p>
              <a:r>
                <a:rPr kumimoji="0" lang="en-GB" b="0" i="0" u="none" strike="noStrike" kern="1200" cap="none" spc="0" normalizeH="0" baseline="0" noProof="0">
                  <a:ln>
                    <a:noFill/>
                  </a:ln>
                  <a:solidFill>
                    <a:schemeClr val="accent4"/>
                  </a:solidFill>
                  <a:effectLst/>
                  <a:uLnTx/>
                  <a:uFillTx/>
                  <a:latin typeface="KPMG Bold"/>
                  <a:ea typeface="+mn-ea"/>
                  <a:cs typeface="+mn-cs"/>
                </a:rPr>
                <a:t>Manual Access Review </a:t>
              </a:r>
            </a:p>
          </p:txBody>
        </p:sp>
        <p:sp>
          <p:nvSpPr>
            <p:cNvPr id="46" name="TextBox 45">
              <a:extLst>
                <a:ext uri="{FF2B5EF4-FFF2-40B4-BE49-F238E27FC236}">
                  <a16:creationId xmlns:a16="http://schemas.microsoft.com/office/drawing/2014/main" id="{C222A9AC-7751-5333-9E6D-2EF2E7F863D7}"/>
                </a:ext>
              </a:extLst>
            </p:cNvPr>
            <p:cNvSpPr txBox="1"/>
            <p:nvPr/>
          </p:nvSpPr>
          <p:spPr>
            <a:xfrm>
              <a:off x="1741693" y="3602396"/>
              <a:ext cx="2836158" cy="646331"/>
            </a:xfrm>
            <a:prstGeom prst="rect">
              <a:avLst/>
            </a:prstGeom>
            <a:noFill/>
          </p:spPr>
          <p:txBody>
            <a:bodyPr wrap="square" lIns="0" tIns="0" rIns="0" bIns="0">
              <a:spAutoFit/>
            </a:bodyPr>
            <a:lstStyle/>
            <a:p>
              <a:r>
                <a:rPr lang="en-US" sz="1050" b="1"/>
                <a:t>Time-consuming and error-prone manual reviews </a:t>
              </a:r>
              <a:r>
                <a:rPr lang="en-US" sz="1050"/>
                <a:t>result in </a:t>
              </a:r>
              <a:r>
                <a:rPr lang="en-US" sz="1050" b="1"/>
                <a:t>outdated permissions</a:t>
              </a:r>
              <a:r>
                <a:rPr lang="en-US" sz="1050"/>
                <a:t>, creating vulnerabilities and delaying compliance reporting, impacting the overall </a:t>
              </a:r>
              <a:r>
                <a:rPr lang="en-US" sz="1050" b="1"/>
                <a:t>security posture.</a:t>
              </a:r>
            </a:p>
          </p:txBody>
        </p:sp>
      </p:grpSp>
      <p:sp>
        <p:nvSpPr>
          <p:cNvPr id="51" name="Rectangle: Rounded Corners 50">
            <a:extLst>
              <a:ext uri="{FF2B5EF4-FFF2-40B4-BE49-F238E27FC236}">
                <a16:creationId xmlns:a16="http://schemas.microsoft.com/office/drawing/2014/main" id="{9DA6F2DB-BC27-2F4B-1973-E5DD839AEA88}"/>
              </a:ext>
            </a:extLst>
          </p:cNvPr>
          <p:cNvSpPr>
            <a:spLocks/>
          </p:cNvSpPr>
          <p:nvPr/>
        </p:nvSpPr>
        <p:spPr>
          <a:xfrm>
            <a:off x="654414" y="1830625"/>
            <a:ext cx="3475518" cy="1590089"/>
          </a:xfrm>
          <a:prstGeom prst="roundRect">
            <a:avLst/>
          </a:prstGeom>
          <a:solidFill>
            <a:schemeClr val="bg1">
              <a:lumMod val="95000"/>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800" err="1">
              <a:solidFill>
                <a:schemeClr val="bg1"/>
              </a:solidFill>
            </a:endParaRPr>
          </a:p>
        </p:txBody>
      </p:sp>
      <p:grpSp>
        <p:nvGrpSpPr>
          <p:cNvPr id="7" name="Group 6">
            <a:extLst>
              <a:ext uri="{FF2B5EF4-FFF2-40B4-BE49-F238E27FC236}">
                <a16:creationId xmlns:a16="http://schemas.microsoft.com/office/drawing/2014/main" id="{7B54470A-F73A-0698-2D5C-C1A23A626EA1}"/>
              </a:ext>
            </a:extLst>
          </p:cNvPr>
          <p:cNvGrpSpPr/>
          <p:nvPr/>
        </p:nvGrpSpPr>
        <p:grpSpPr>
          <a:xfrm>
            <a:off x="929769" y="1964323"/>
            <a:ext cx="2994893" cy="1270651"/>
            <a:chOff x="1776663" y="2131576"/>
            <a:chExt cx="2866361" cy="1270651"/>
          </a:xfrm>
        </p:grpSpPr>
        <p:sp>
          <p:nvSpPr>
            <p:cNvPr id="55" name="TextBox 54">
              <a:extLst>
                <a:ext uri="{FF2B5EF4-FFF2-40B4-BE49-F238E27FC236}">
                  <a16:creationId xmlns:a16="http://schemas.microsoft.com/office/drawing/2014/main" id="{A55272A2-00F8-2757-7640-6D61477D8AB7}"/>
                </a:ext>
              </a:extLst>
            </p:cNvPr>
            <p:cNvSpPr txBox="1"/>
            <p:nvPr/>
          </p:nvSpPr>
          <p:spPr>
            <a:xfrm>
              <a:off x="1776663" y="2131576"/>
              <a:ext cx="1772979" cy="276999"/>
            </a:xfrm>
            <a:prstGeom prst="rect">
              <a:avLst/>
            </a:prstGeom>
            <a:noFill/>
          </p:spPr>
          <p:txBody>
            <a:bodyPr wrap="square" lIns="0" tIns="0" rIns="0" bIns="0">
              <a:spAutoFit/>
            </a:bodyPr>
            <a:lstStyle/>
            <a:p>
              <a:r>
                <a:rPr kumimoji="0" lang="en-US" b="0" i="0" u="none" strike="noStrike" kern="1200" cap="none" spc="0" normalizeH="0" baseline="0" noProof="0">
                  <a:ln>
                    <a:noFill/>
                  </a:ln>
                  <a:solidFill>
                    <a:schemeClr val="accent1"/>
                  </a:solidFill>
                  <a:effectLst/>
                  <a:uLnTx/>
                  <a:uFillTx/>
                  <a:latin typeface="KPMG Bold"/>
                  <a:ea typeface="+mn-ea"/>
                  <a:cs typeface="+mn-cs"/>
                </a:rPr>
                <a:t>Fragmented Identity Data </a:t>
              </a:r>
            </a:p>
          </p:txBody>
        </p:sp>
        <p:sp>
          <p:nvSpPr>
            <p:cNvPr id="56" name="TextBox 55">
              <a:extLst>
                <a:ext uri="{FF2B5EF4-FFF2-40B4-BE49-F238E27FC236}">
                  <a16:creationId xmlns:a16="http://schemas.microsoft.com/office/drawing/2014/main" id="{A9EA004C-938A-9D92-F7D9-1E2C1CA93AD5}"/>
                </a:ext>
              </a:extLst>
            </p:cNvPr>
            <p:cNvSpPr txBox="1"/>
            <p:nvPr/>
          </p:nvSpPr>
          <p:spPr>
            <a:xfrm>
              <a:off x="1789756" y="2594314"/>
              <a:ext cx="2853268" cy="807913"/>
            </a:xfrm>
            <a:prstGeom prst="rect">
              <a:avLst/>
            </a:prstGeom>
            <a:noFill/>
          </p:spPr>
          <p:txBody>
            <a:bodyPr wrap="square" lIns="0" tIns="0" rIns="0" bIns="0">
              <a:spAutoFit/>
            </a:bodyPr>
            <a:lstStyle/>
            <a:p>
              <a:r>
                <a:rPr lang="en-US" sz="1050" b="1"/>
                <a:t>Identity data spread across disparate systems </a:t>
              </a:r>
              <a:r>
                <a:rPr lang="en-US" sz="1050"/>
                <a:t>leads to </a:t>
              </a:r>
              <a:r>
                <a:rPr lang="en-US" sz="1050" b="1"/>
                <a:t>inconsistencies and inefficiencies </a:t>
              </a:r>
              <a:r>
                <a:rPr lang="en-US" sz="1050"/>
                <a:t>in managing user identities, increasing the risk of</a:t>
              </a:r>
              <a:r>
                <a:rPr lang="en-US" sz="1050" b="1"/>
                <a:t> unauthorized access </a:t>
              </a:r>
              <a:r>
                <a:rPr lang="en-US" sz="1050"/>
                <a:t>and complicating </a:t>
              </a:r>
              <a:r>
                <a:rPr lang="en-US" sz="1050" b="1"/>
                <a:t>regulatory compliance.</a:t>
              </a:r>
            </a:p>
          </p:txBody>
        </p:sp>
      </p:grpSp>
      <p:sp>
        <p:nvSpPr>
          <p:cNvPr id="39" name="TextBox 38">
            <a:extLst>
              <a:ext uri="{FF2B5EF4-FFF2-40B4-BE49-F238E27FC236}">
                <a16:creationId xmlns:a16="http://schemas.microsoft.com/office/drawing/2014/main" id="{6F387A4E-F146-D46C-1233-A92722E55DF6}"/>
              </a:ext>
            </a:extLst>
          </p:cNvPr>
          <p:cNvSpPr txBox="1">
            <a:spLocks/>
          </p:cNvSpPr>
          <p:nvPr/>
        </p:nvSpPr>
        <p:spPr>
          <a:xfrm>
            <a:off x="598460" y="3988083"/>
            <a:ext cx="1288346" cy="1721879"/>
          </a:xfrm>
          <a:prstGeom prst="rect">
            <a:avLst/>
          </a:prstGeom>
          <a:noFill/>
          <a:ln>
            <a:noFill/>
          </a:ln>
        </p:spPr>
        <p:txBody>
          <a:bodyPr wrap="square" lIns="180000" tIns="360000" rIns="180000" bIns="18000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sz="1600">
                <a:solidFill>
                  <a:schemeClr val="tx2"/>
                </a:solidFill>
                <a:latin typeface="KPMG Bold"/>
              </a:rPr>
              <a:t>Unify Identity Data</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989898"/>
              </a:solidFill>
              <a:effectLst/>
              <a:uLnTx/>
              <a:uFillTx/>
              <a:latin typeface="Arial"/>
              <a:ea typeface="+mn-ea"/>
              <a:cs typeface="Arial" panose="020B0604020202020204" pitchFamily="34" charset="0"/>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a:ea typeface="+mn-ea"/>
                <a:cs typeface="Arial" panose="020B0604020202020204" pitchFamily="34" charset="0"/>
              </a:rPr>
              <a:t>Integrate data into a single authoritative view for improved accuracy and governance.</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effectLst/>
              <a:uLnTx/>
              <a:uFillTx/>
              <a:latin typeface="Arial"/>
              <a:ea typeface="+mn-ea"/>
              <a:cs typeface="Arial" panose="020B0604020202020204" pitchFamily="34" charset="0"/>
            </a:endParaRPr>
          </a:p>
        </p:txBody>
      </p:sp>
      <p:pic>
        <p:nvPicPr>
          <p:cNvPr id="61" name="Graphic 60">
            <a:extLst>
              <a:ext uri="{FF2B5EF4-FFF2-40B4-BE49-F238E27FC236}">
                <a16:creationId xmlns:a16="http://schemas.microsoft.com/office/drawing/2014/main" id="{51638EE8-9F0C-6620-20B5-26E7C3EA1C02}"/>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571066" y="4080494"/>
            <a:ext cx="271718" cy="271718"/>
          </a:xfrm>
          <a:prstGeom prst="rect">
            <a:avLst/>
          </a:prstGeom>
        </p:spPr>
      </p:pic>
      <p:sp>
        <p:nvSpPr>
          <p:cNvPr id="66" name="Rectangle 65">
            <a:extLst>
              <a:ext uri="{FF2B5EF4-FFF2-40B4-BE49-F238E27FC236}">
                <a16:creationId xmlns:a16="http://schemas.microsoft.com/office/drawing/2014/main" id="{2F43B858-7706-5726-A52C-37E32020C21F}"/>
              </a:ext>
            </a:extLst>
          </p:cNvPr>
          <p:cNvSpPr/>
          <p:nvPr/>
        </p:nvSpPr>
        <p:spPr>
          <a:xfrm>
            <a:off x="715146" y="3660625"/>
            <a:ext cx="4384473" cy="252826"/>
          </a:xfrm>
          <a:prstGeom prst="rect">
            <a:avLst/>
          </a:prstGeom>
          <a:noFill/>
        </p:spPr>
        <p:txBody>
          <a:bodyPr wrap="square" lIns="0" tIns="0" rIns="0" bIns="0" rtlCol="0" anchor="t">
            <a:spAutoFit/>
          </a:bodyPr>
          <a:lstStyle/>
          <a:p>
            <a:pPr lvl="0">
              <a:lnSpc>
                <a:spcPct val="110000"/>
              </a:lnSpc>
              <a:defRPr/>
            </a:pPr>
            <a:r>
              <a:rPr lang="en-US" sz="1750" b="1">
                <a:solidFill>
                  <a:schemeClr val="bg1"/>
                </a:solidFill>
                <a:latin typeface="+mj-lt"/>
                <a:cs typeface="Arial" panose="020B0604020202020204" pitchFamily="34" charset="0"/>
              </a:rPr>
              <a:t>Strengthen the Foundation</a:t>
            </a:r>
            <a:endParaRPr kumimoji="0" lang="en-GB" sz="1750" b="1" i="0" u="none" strike="noStrike" kern="1200" cap="none" spc="0" normalizeH="0" baseline="0" noProof="0">
              <a:ln>
                <a:noFill/>
              </a:ln>
              <a:solidFill>
                <a:schemeClr val="bg1"/>
              </a:solidFill>
              <a:effectLst/>
              <a:uLnTx/>
              <a:uFillTx/>
              <a:latin typeface="+mj-lt"/>
              <a:ea typeface="+mn-ea"/>
              <a:cs typeface="Arial" panose="020B0604020202020204" pitchFamily="34" charset="0"/>
            </a:endParaRPr>
          </a:p>
        </p:txBody>
      </p:sp>
      <p:sp>
        <p:nvSpPr>
          <p:cNvPr id="12" name="Rectangle: Rounded Corners 11">
            <a:extLst>
              <a:ext uri="{FF2B5EF4-FFF2-40B4-BE49-F238E27FC236}">
                <a16:creationId xmlns:a16="http://schemas.microsoft.com/office/drawing/2014/main" id="{D038E270-76B4-8F00-2E21-F7B9F666FB90}"/>
              </a:ext>
            </a:extLst>
          </p:cNvPr>
          <p:cNvSpPr>
            <a:spLocks/>
          </p:cNvSpPr>
          <p:nvPr/>
        </p:nvSpPr>
        <p:spPr>
          <a:xfrm>
            <a:off x="7878696" y="1831571"/>
            <a:ext cx="3475519" cy="1542100"/>
          </a:xfrm>
          <a:prstGeom prst="roundRect">
            <a:avLst/>
          </a:prstGeom>
          <a:solidFill>
            <a:schemeClr val="bg1">
              <a:lumMod val="95000"/>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800">
              <a:solidFill>
                <a:schemeClr val="bg1"/>
              </a:solidFill>
            </a:endParaRPr>
          </a:p>
        </p:txBody>
      </p:sp>
      <p:grpSp>
        <p:nvGrpSpPr>
          <p:cNvPr id="26" name="Group 25">
            <a:extLst>
              <a:ext uri="{FF2B5EF4-FFF2-40B4-BE49-F238E27FC236}">
                <a16:creationId xmlns:a16="http://schemas.microsoft.com/office/drawing/2014/main" id="{762E2E1E-1A0B-4C05-2587-450180F3EFC8}"/>
              </a:ext>
            </a:extLst>
          </p:cNvPr>
          <p:cNvGrpSpPr/>
          <p:nvPr/>
        </p:nvGrpSpPr>
        <p:grpSpPr>
          <a:xfrm>
            <a:off x="8087640" y="1964323"/>
            <a:ext cx="3249005" cy="1109069"/>
            <a:chOff x="1776663" y="3139546"/>
            <a:chExt cx="3011089" cy="1109069"/>
          </a:xfrm>
        </p:grpSpPr>
        <p:sp>
          <p:nvSpPr>
            <p:cNvPr id="29" name="TextBox 28">
              <a:extLst>
                <a:ext uri="{FF2B5EF4-FFF2-40B4-BE49-F238E27FC236}">
                  <a16:creationId xmlns:a16="http://schemas.microsoft.com/office/drawing/2014/main" id="{4EF441F7-2F3F-09A4-0FEA-15DD5CA52751}"/>
                </a:ext>
              </a:extLst>
            </p:cNvPr>
            <p:cNvSpPr txBox="1"/>
            <p:nvPr/>
          </p:nvSpPr>
          <p:spPr>
            <a:xfrm>
              <a:off x="1776663" y="3139546"/>
              <a:ext cx="3011089" cy="276999"/>
            </a:xfrm>
            <a:prstGeom prst="rect">
              <a:avLst/>
            </a:prstGeom>
            <a:noFill/>
          </p:spPr>
          <p:txBody>
            <a:bodyPr wrap="square" lIns="0" tIns="0" rIns="0" bIns="0">
              <a:spAutoFit/>
            </a:bodyPr>
            <a:lstStyle/>
            <a:p>
              <a:r>
                <a:rPr kumimoji="0" lang="en-GB" b="0" i="0" u="none" strike="noStrike" kern="1200" cap="none" spc="0" normalizeH="0" baseline="0" noProof="0">
                  <a:ln>
                    <a:noFill/>
                  </a:ln>
                  <a:solidFill>
                    <a:schemeClr val="accent5"/>
                  </a:solidFill>
                  <a:effectLst/>
                  <a:uLnTx/>
                  <a:uFillTx/>
                  <a:latin typeface="KPMG Bold"/>
                  <a:ea typeface="+mn-ea"/>
                  <a:cs typeface="+mn-cs"/>
                </a:rPr>
                <a:t>Reactive &amp; Proactive Security </a:t>
              </a:r>
            </a:p>
          </p:txBody>
        </p:sp>
        <p:sp>
          <p:nvSpPr>
            <p:cNvPr id="30" name="TextBox 29">
              <a:extLst>
                <a:ext uri="{FF2B5EF4-FFF2-40B4-BE49-F238E27FC236}">
                  <a16:creationId xmlns:a16="http://schemas.microsoft.com/office/drawing/2014/main" id="{E488579B-1573-E5F6-08F9-C78B7D8A75FB}"/>
                </a:ext>
              </a:extLst>
            </p:cNvPr>
            <p:cNvSpPr txBox="1"/>
            <p:nvPr/>
          </p:nvSpPr>
          <p:spPr>
            <a:xfrm>
              <a:off x="1789300" y="3602284"/>
              <a:ext cx="2998452" cy="646331"/>
            </a:xfrm>
            <a:prstGeom prst="rect">
              <a:avLst/>
            </a:prstGeom>
            <a:noFill/>
          </p:spPr>
          <p:txBody>
            <a:bodyPr wrap="square" lIns="0" tIns="0" rIns="0" bIns="0">
              <a:spAutoFit/>
            </a:bodyPr>
            <a:lstStyle/>
            <a:p>
              <a:r>
                <a:rPr lang="en-US" sz="1050"/>
                <a:t>Balancing </a:t>
              </a:r>
              <a:r>
                <a:rPr lang="en-US" sz="1050" b="1"/>
                <a:t>reactive incident response </a:t>
              </a:r>
              <a:r>
                <a:rPr lang="en-US" sz="1050"/>
                <a:t>with </a:t>
              </a:r>
              <a:r>
                <a:rPr lang="en-US" sz="1050" b="1"/>
                <a:t>proactive threat detection </a:t>
              </a:r>
              <a:r>
                <a:rPr lang="en-US" sz="1050"/>
                <a:t>is essential, requiring strategic approaches to efficiently </a:t>
              </a:r>
              <a:r>
                <a:rPr lang="en-US" sz="1050" b="1"/>
                <a:t>mitigate risks </a:t>
              </a:r>
              <a:r>
                <a:rPr lang="en-US" sz="1050"/>
                <a:t>and ensure robust </a:t>
              </a:r>
              <a:r>
                <a:rPr lang="en-US" sz="1050" b="1"/>
                <a:t>security measures </a:t>
              </a:r>
              <a:r>
                <a:rPr lang="en-US" sz="1050"/>
                <a:t>are in place.</a:t>
              </a:r>
            </a:p>
          </p:txBody>
        </p:sp>
      </p:grpSp>
      <p:sp>
        <p:nvSpPr>
          <p:cNvPr id="31" name="Rectangle: Rounded Corners 30">
            <a:extLst>
              <a:ext uri="{FF2B5EF4-FFF2-40B4-BE49-F238E27FC236}">
                <a16:creationId xmlns:a16="http://schemas.microsoft.com/office/drawing/2014/main" id="{C7E10056-B4DA-7163-4A1D-A3E6A16E9797}"/>
              </a:ext>
            </a:extLst>
          </p:cNvPr>
          <p:cNvSpPr/>
          <p:nvPr/>
        </p:nvSpPr>
        <p:spPr>
          <a:xfrm>
            <a:off x="6200571" y="3619297"/>
            <a:ext cx="5360719" cy="329333"/>
          </a:xfrm>
          <a:prstGeom prst="roundRect">
            <a:avLst/>
          </a:prstGeom>
          <a:gradFill>
            <a:gsLst>
              <a:gs pos="5000">
                <a:schemeClr val="accent1">
                  <a:alpha val="85000"/>
                </a:schemeClr>
              </a:gs>
              <a:gs pos="82000">
                <a:srgbClr val="00C0AE">
                  <a:alpha val="80000"/>
                </a:srgbClr>
              </a:gs>
              <a:gs pos="58000">
                <a:schemeClr val="accent4">
                  <a:alpha val="84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F59137D2-E896-274D-64A7-162E674491A2}"/>
              </a:ext>
            </a:extLst>
          </p:cNvPr>
          <p:cNvSpPr/>
          <p:nvPr/>
        </p:nvSpPr>
        <p:spPr>
          <a:xfrm>
            <a:off x="6265664" y="3634878"/>
            <a:ext cx="4384473" cy="252826"/>
          </a:xfrm>
          <a:prstGeom prst="rect">
            <a:avLst/>
          </a:prstGeom>
          <a:noFill/>
        </p:spPr>
        <p:txBody>
          <a:bodyPr wrap="square" lIns="0" tIns="0" rIns="0" bIns="0" rtlCol="0" anchor="t">
            <a:spAutoFit/>
          </a:bodyPr>
          <a:lstStyle/>
          <a:p>
            <a:pPr lvl="0">
              <a:lnSpc>
                <a:spcPct val="110000"/>
              </a:lnSpc>
              <a:defRPr/>
            </a:pPr>
            <a:r>
              <a:rPr lang="en-US" sz="1750" b="1">
                <a:solidFill>
                  <a:schemeClr val="bg1"/>
                </a:solidFill>
                <a:latin typeface="+mj-lt"/>
                <a:cs typeface="Arial" panose="020B0604020202020204" pitchFamily="34" charset="0"/>
              </a:rPr>
              <a:t>Modernize for Scale</a:t>
            </a:r>
            <a:endParaRPr kumimoji="0" lang="en-GB" sz="1750" b="1" i="0" u="none" strike="noStrike" kern="1200" cap="none" spc="0" normalizeH="0" baseline="0" noProof="0">
              <a:ln>
                <a:noFill/>
              </a:ln>
              <a:solidFill>
                <a:schemeClr val="bg1"/>
              </a:solidFill>
              <a:effectLst/>
              <a:uLnTx/>
              <a:uFillTx/>
              <a:latin typeface="+mj-lt"/>
              <a:ea typeface="+mn-ea"/>
              <a:cs typeface="Arial" panose="020B0604020202020204" pitchFamily="34" charset="0"/>
            </a:endParaRPr>
          </a:p>
        </p:txBody>
      </p:sp>
      <p:sp>
        <p:nvSpPr>
          <p:cNvPr id="2" name="TextBox 1">
            <a:extLst>
              <a:ext uri="{FF2B5EF4-FFF2-40B4-BE49-F238E27FC236}">
                <a16:creationId xmlns:a16="http://schemas.microsoft.com/office/drawing/2014/main" id="{474BAE68-336A-F15F-39E7-0D6509410DA5}"/>
              </a:ext>
            </a:extLst>
          </p:cNvPr>
          <p:cNvSpPr txBox="1">
            <a:spLocks/>
          </p:cNvSpPr>
          <p:nvPr/>
        </p:nvSpPr>
        <p:spPr>
          <a:xfrm>
            <a:off x="1985771" y="4021146"/>
            <a:ext cx="1266335" cy="1874829"/>
          </a:xfrm>
          <a:prstGeom prst="roundRect">
            <a:avLst>
              <a:gd name="adj" fmla="val 5244"/>
            </a:avLst>
          </a:prstGeom>
          <a:solidFill>
            <a:schemeClr val="bg1"/>
          </a:solidFill>
          <a:ln>
            <a:solidFill>
              <a:schemeClr val="bg2"/>
            </a:solidFill>
          </a:ln>
        </p:spPr>
        <p:txBody>
          <a:bodyPr wrap="square" lIns="180000" tIns="360000" rIns="180000" bIns="18000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EFD92C8F-7BE4-1B5A-82AD-C19A05808BC9}"/>
              </a:ext>
            </a:extLst>
          </p:cNvPr>
          <p:cNvSpPr txBox="1">
            <a:spLocks/>
          </p:cNvSpPr>
          <p:nvPr/>
        </p:nvSpPr>
        <p:spPr>
          <a:xfrm>
            <a:off x="1985771" y="3988083"/>
            <a:ext cx="1365300" cy="1721879"/>
          </a:xfrm>
          <a:prstGeom prst="rect">
            <a:avLst/>
          </a:prstGeom>
          <a:noFill/>
          <a:ln>
            <a:noFill/>
          </a:ln>
        </p:spPr>
        <p:txBody>
          <a:bodyPr wrap="square" lIns="180000" tIns="360000" rIns="180000" bIns="18000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sz="1600">
                <a:solidFill>
                  <a:schemeClr val="tx2"/>
                </a:solidFill>
                <a:latin typeface="KPMG Bold"/>
              </a:rPr>
              <a:t>Automated Access Reviews</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989898"/>
              </a:solidFill>
              <a:effectLst/>
              <a:uLnTx/>
              <a:uFillTx/>
              <a:latin typeface="Arial"/>
              <a:ea typeface="+mn-ea"/>
              <a:cs typeface="Arial" panose="020B0604020202020204" pitchFamily="34" charset="0"/>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a:ea typeface="+mn-ea"/>
                <a:cs typeface="Arial" panose="020B0604020202020204" pitchFamily="34" charset="0"/>
              </a:rPr>
              <a:t>Automate evidence and anomaly detection to cut UAR efforts, keeping human approval.</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pic>
        <p:nvPicPr>
          <p:cNvPr id="5" name="Graphic 4" descr="Shield Tick outline">
            <a:extLst>
              <a:ext uri="{FF2B5EF4-FFF2-40B4-BE49-F238E27FC236}">
                <a16:creationId xmlns:a16="http://schemas.microsoft.com/office/drawing/2014/main" id="{0D277184-C7C9-751A-3337-180BD83BBFE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958377" y="4054138"/>
            <a:ext cx="271718" cy="324430"/>
          </a:xfrm>
          <a:prstGeom prst="rect">
            <a:avLst/>
          </a:prstGeom>
        </p:spPr>
      </p:pic>
      <p:sp>
        <p:nvSpPr>
          <p:cNvPr id="6" name="TextBox 5">
            <a:extLst>
              <a:ext uri="{FF2B5EF4-FFF2-40B4-BE49-F238E27FC236}">
                <a16:creationId xmlns:a16="http://schemas.microsoft.com/office/drawing/2014/main" id="{2C72EAF9-9F9B-2B6B-6DC2-C6930C6A9A7D}"/>
              </a:ext>
            </a:extLst>
          </p:cNvPr>
          <p:cNvSpPr txBox="1">
            <a:spLocks/>
          </p:cNvSpPr>
          <p:nvPr/>
        </p:nvSpPr>
        <p:spPr>
          <a:xfrm>
            <a:off x="3373082" y="4021146"/>
            <a:ext cx="1266335" cy="1874829"/>
          </a:xfrm>
          <a:prstGeom prst="roundRect">
            <a:avLst>
              <a:gd name="adj" fmla="val 5244"/>
            </a:avLst>
          </a:prstGeom>
          <a:solidFill>
            <a:schemeClr val="bg1"/>
          </a:solidFill>
          <a:ln>
            <a:solidFill>
              <a:schemeClr val="bg2"/>
            </a:solidFill>
          </a:ln>
        </p:spPr>
        <p:txBody>
          <a:bodyPr wrap="square" lIns="180000" tIns="360000" rIns="180000" bIns="18000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4397F742-50F3-3FF1-44D7-DEC5783293E9}"/>
              </a:ext>
            </a:extLst>
          </p:cNvPr>
          <p:cNvSpPr txBox="1">
            <a:spLocks/>
          </p:cNvSpPr>
          <p:nvPr/>
        </p:nvSpPr>
        <p:spPr>
          <a:xfrm>
            <a:off x="3373082" y="3988083"/>
            <a:ext cx="1266335" cy="1721879"/>
          </a:xfrm>
          <a:prstGeom prst="rect">
            <a:avLst/>
          </a:prstGeom>
          <a:noFill/>
          <a:ln>
            <a:noFill/>
          </a:ln>
        </p:spPr>
        <p:txBody>
          <a:bodyPr wrap="square" lIns="180000" tIns="360000" rIns="180000" bIns="18000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sz="1600">
                <a:solidFill>
                  <a:schemeClr val="tx2"/>
                </a:solidFill>
                <a:latin typeface="KPMG Bold"/>
              </a:rPr>
              <a:t>NHI Ownership</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989898"/>
              </a:solidFill>
              <a:effectLst/>
              <a:uLnTx/>
              <a:uFillTx/>
              <a:latin typeface="Arial"/>
              <a:ea typeface="+mn-ea"/>
              <a:cs typeface="Arial" panose="020B0604020202020204" pitchFamily="34" charset="0"/>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a:ea typeface="+mn-ea"/>
                <a:cs typeface="Arial" panose="020B0604020202020204" pitchFamily="34" charset="0"/>
              </a:rPr>
              <a:t>Automate owner assignment for non-human identities to prevent orphan accounts.</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pic>
        <p:nvPicPr>
          <p:cNvPr id="9" name="Graphic 8" descr="Robot outline">
            <a:extLst>
              <a:ext uri="{FF2B5EF4-FFF2-40B4-BE49-F238E27FC236}">
                <a16:creationId xmlns:a16="http://schemas.microsoft.com/office/drawing/2014/main" id="{E73221EF-8E93-25FE-3003-0E2502DB380C}"/>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4345688" y="4080494"/>
            <a:ext cx="271718" cy="271718"/>
          </a:xfrm>
          <a:prstGeom prst="rect">
            <a:avLst/>
          </a:prstGeom>
        </p:spPr>
      </p:pic>
      <p:sp>
        <p:nvSpPr>
          <p:cNvPr id="19" name="TextBox 18">
            <a:extLst>
              <a:ext uri="{FF2B5EF4-FFF2-40B4-BE49-F238E27FC236}">
                <a16:creationId xmlns:a16="http://schemas.microsoft.com/office/drawing/2014/main" id="{37A6DACE-1FB4-E222-CFE5-9CDC9084BF75}"/>
              </a:ext>
            </a:extLst>
          </p:cNvPr>
          <p:cNvSpPr txBox="1">
            <a:spLocks/>
          </p:cNvSpPr>
          <p:nvPr/>
        </p:nvSpPr>
        <p:spPr>
          <a:xfrm>
            <a:off x="4760393" y="4021146"/>
            <a:ext cx="1266335" cy="1874829"/>
          </a:xfrm>
          <a:prstGeom prst="roundRect">
            <a:avLst>
              <a:gd name="adj" fmla="val 5244"/>
            </a:avLst>
          </a:prstGeom>
          <a:solidFill>
            <a:schemeClr val="bg1"/>
          </a:solidFill>
          <a:ln>
            <a:solidFill>
              <a:schemeClr val="bg2"/>
            </a:solidFill>
          </a:ln>
        </p:spPr>
        <p:txBody>
          <a:bodyPr wrap="square" lIns="180000" tIns="360000" rIns="180000" bIns="18000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E9980E1F-693F-3446-6B7B-071452B8561A}"/>
              </a:ext>
            </a:extLst>
          </p:cNvPr>
          <p:cNvSpPr txBox="1">
            <a:spLocks/>
          </p:cNvSpPr>
          <p:nvPr/>
        </p:nvSpPr>
        <p:spPr>
          <a:xfrm>
            <a:off x="4722293" y="3988083"/>
            <a:ext cx="1404881" cy="1721879"/>
          </a:xfrm>
          <a:prstGeom prst="rect">
            <a:avLst/>
          </a:prstGeom>
          <a:noFill/>
          <a:ln>
            <a:noFill/>
          </a:ln>
        </p:spPr>
        <p:txBody>
          <a:bodyPr wrap="square" lIns="180000" tIns="360000" rIns="180000" bIns="18000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sz="1600">
                <a:solidFill>
                  <a:schemeClr val="tx2"/>
                </a:solidFill>
                <a:latin typeface="KPMG Bold"/>
              </a:rPr>
              <a:t>Entitlement Clean-Up</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989898"/>
              </a:solidFill>
              <a:effectLst/>
              <a:uLnTx/>
              <a:uFillTx/>
              <a:latin typeface="Arial"/>
              <a:ea typeface="+mn-ea"/>
              <a:cs typeface="Arial" panose="020B0604020202020204" pitchFamily="34" charset="0"/>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a:ea typeface="+mn-ea"/>
                <a:cs typeface="Arial" panose="020B0604020202020204" pitchFamily="34" charset="0"/>
              </a:rPr>
              <a:t>Use AI for entitlement classification, boosting transparency and policy enforcement.</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pic>
        <p:nvPicPr>
          <p:cNvPr id="21" name="Graphic 20">
            <a:extLst>
              <a:ext uri="{FF2B5EF4-FFF2-40B4-BE49-F238E27FC236}">
                <a16:creationId xmlns:a16="http://schemas.microsoft.com/office/drawing/2014/main" id="{4D255CA4-D3A8-8EEA-8239-B4D7AB87DA14}"/>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5732999" y="4080494"/>
            <a:ext cx="271718" cy="271718"/>
          </a:xfrm>
          <a:prstGeom prst="rect">
            <a:avLst/>
          </a:prstGeom>
        </p:spPr>
      </p:pic>
      <p:sp>
        <p:nvSpPr>
          <p:cNvPr id="22" name="TextBox 21">
            <a:extLst>
              <a:ext uri="{FF2B5EF4-FFF2-40B4-BE49-F238E27FC236}">
                <a16:creationId xmlns:a16="http://schemas.microsoft.com/office/drawing/2014/main" id="{2255F0E6-A4F3-5491-73F0-CC80363E3DD8}"/>
              </a:ext>
            </a:extLst>
          </p:cNvPr>
          <p:cNvSpPr txBox="1">
            <a:spLocks/>
          </p:cNvSpPr>
          <p:nvPr/>
        </p:nvSpPr>
        <p:spPr>
          <a:xfrm>
            <a:off x="6200571" y="4021146"/>
            <a:ext cx="1266335" cy="1874829"/>
          </a:xfrm>
          <a:prstGeom prst="roundRect">
            <a:avLst>
              <a:gd name="adj" fmla="val 5244"/>
            </a:avLst>
          </a:prstGeom>
          <a:solidFill>
            <a:schemeClr val="bg1"/>
          </a:solidFill>
          <a:ln>
            <a:solidFill>
              <a:schemeClr val="bg2"/>
            </a:solidFill>
          </a:ln>
        </p:spPr>
        <p:txBody>
          <a:bodyPr wrap="square" lIns="180000" tIns="360000" rIns="180000" bIns="18000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6FD18FA1-554D-F1BC-DD9E-F8D9760B7EEC}"/>
              </a:ext>
            </a:extLst>
          </p:cNvPr>
          <p:cNvSpPr txBox="1">
            <a:spLocks/>
          </p:cNvSpPr>
          <p:nvPr/>
        </p:nvSpPr>
        <p:spPr>
          <a:xfrm>
            <a:off x="6200571" y="3988083"/>
            <a:ext cx="1266335" cy="1721879"/>
          </a:xfrm>
          <a:prstGeom prst="rect">
            <a:avLst/>
          </a:prstGeom>
          <a:noFill/>
          <a:ln>
            <a:noFill/>
          </a:ln>
        </p:spPr>
        <p:txBody>
          <a:bodyPr wrap="square" lIns="180000" tIns="360000" rIns="180000" bIns="18000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sz="1600">
                <a:solidFill>
                  <a:schemeClr val="accent1"/>
                </a:solidFill>
                <a:latin typeface="KPMG Bold"/>
              </a:rPr>
              <a:t>Identity Fabric</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989898"/>
              </a:solidFill>
              <a:effectLst/>
              <a:uLnTx/>
              <a:uFillTx/>
              <a:latin typeface="Arial"/>
              <a:ea typeface="+mn-ea"/>
              <a:cs typeface="Arial" panose="020B0604020202020204" pitchFamily="34" charset="0"/>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a:ea typeface="+mn-ea"/>
                <a:cs typeface="Arial" panose="020B0604020202020204" pitchFamily="34" charset="0"/>
              </a:rPr>
              <a:t>Create scalable architecture for integrating sources and unified lifecycle analytics.</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effectLst/>
              <a:uLnTx/>
              <a:uFillTx/>
              <a:latin typeface="Arial"/>
              <a:ea typeface="+mn-ea"/>
              <a:cs typeface="Arial" panose="020B0604020202020204" pitchFamily="34" charset="0"/>
            </a:endParaRPr>
          </a:p>
        </p:txBody>
      </p:sp>
      <p:pic>
        <p:nvPicPr>
          <p:cNvPr id="25" name="Graphic 24">
            <a:extLst>
              <a:ext uri="{FF2B5EF4-FFF2-40B4-BE49-F238E27FC236}">
                <a16:creationId xmlns:a16="http://schemas.microsoft.com/office/drawing/2014/main" id="{A5A56E82-EA94-2BB2-F8EA-F948C0D029B0}"/>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7173177" y="4080494"/>
            <a:ext cx="271718" cy="271718"/>
          </a:xfrm>
          <a:prstGeom prst="rect">
            <a:avLst/>
          </a:prstGeom>
        </p:spPr>
      </p:pic>
      <p:sp>
        <p:nvSpPr>
          <p:cNvPr id="32" name="TextBox 31">
            <a:extLst>
              <a:ext uri="{FF2B5EF4-FFF2-40B4-BE49-F238E27FC236}">
                <a16:creationId xmlns:a16="http://schemas.microsoft.com/office/drawing/2014/main" id="{E63A2B80-D402-8427-5FF4-570E79D56715}"/>
              </a:ext>
            </a:extLst>
          </p:cNvPr>
          <p:cNvSpPr txBox="1">
            <a:spLocks/>
          </p:cNvSpPr>
          <p:nvPr/>
        </p:nvSpPr>
        <p:spPr>
          <a:xfrm>
            <a:off x="7587882" y="4021146"/>
            <a:ext cx="1266335" cy="1874829"/>
          </a:xfrm>
          <a:prstGeom prst="roundRect">
            <a:avLst>
              <a:gd name="adj" fmla="val 5244"/>
            </a:avLst>
          </a:prstGeom>
          <a:solidFill>
            <a:schemeClr val="bg1"/>
          </a:solidFill>
          <a:ln>
            <a:solidFill>
              <a:schemeClr val="bg2"/>
            </a:solidFill>
          </a:ln>
        </p:spPr>
        <p:txBody>
          <a:bodyPr wrap="square" lIns="180000" tIns="360000" rIns="180000" bIns="18000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8EE84AC8-49B1-25C8-22C4-CC2F86493A4E}"/>
              </a:ext>
            </a:extLst>
          </p:cNvPr>
          <p:cNvSpPr txBox="1">
            <a:spLocks/>
          </p:cNvSpPr>
          <p:nvPr/>
        </p:nvSpPr>
        <p:spPr>
          <a:xfrm>
            <a:off x="7587882" y="3988083"/>
            <a:ext cx="1266335" cy="1721879"/>
          </a:xfrm>
          <a:prstGeom prst="rect">
            <a:avLst/>
          </a:prstGeom>
          <a:noFill/>
          <a:ln>
            <a:noFill/>
          </a:ln>
        </p:spPr>
        <p:txBody>
          <a:bodyPr wrap="square" lIns="180000" tIns="360000" rIns="180000" bIns="18000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sz="1600">
                <a:solidFill>
                  <a:schemeClr val="accent1"/>
                </a:solidFill>
                <a:latin typeface="KPMG Bold"/>
              </a:rPr>
              <a:t>Security Controls</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989898"/>
              </a:solidFill>
              <a:effectLst/>
              <a:uLnTx/>
              <a:uFillTx/>
              <a:latin typeface="Arial"/>
              <a:ea typeface="+mn-ea"/>
              <a:cs typeface="Arial" panose="020B0604020202020204" pitchFamily="34" charset="0"/>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a:ea typeface="+mn-ea"/>
                <a:cs typeface="Arial" panose="020B0604020202020204" pitchFamily="34" charset="0"/>
              </a:rPr>
              <a:t>Ensure ethical AI governance using a "Trusted AI Framework" for IAM capabilities.</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pic>
        <p:nvPicPr>
          <p:cNvPr id="36" name="Graphic 35" descr="Magnifying glass outline">
            <a:extLst>
              <a:ext uri="{FF2B5EF4-FFF2-40B4-BE49-F238E27FC236}">
                <a16:creationId xmlns:a16="http://schemas.microsoft.com/office/drawing/2014/main" id="{1D6EE6AD-4270-3674-EB27-C74CE86FCD5B}"/>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8560488" y="4080494"/>
            <a:ext cx="271718" cy="271718"/>
          </a:xfrm>
          <a:prstGeom prst="rect">
            <a:avLst/>
          </a:prstGeom>
        </p:spPr>
      </p:pic>
      <p:sp>
        <p:nvSpPr>
          <p:cNvPr id="37" name="TextBox 36">
            <a:extLst>
              <a:ext uri="{FF2B5EF4-FFF2-40B4-BE49-F238E27FC236}">
                <a16:creationId xmlns:a16="http://schemas.microsoft.com/office/drawing/2014/main" id="{AF348C32-DF72-6873-CA0E-3D4C70FF607D}"/>
              </a:ext>
            </a:extLst>
          </p:cNvPr>
          <p:cNvSpPr txBox="1">
            <a:spLocks/>
          </p:cNvSpPr>
          <p:nvPr/>
        </p:nvSpPr>
        <p:spPr>
          <a:xfrm>
            <a:off x="8975193" y="4021146"/>
            <a:ext cx="1266335" cy="1874829"/>
          </a:xfrm>
          <a:prstGeom prst="roundRect">
            <a:avLst>
              <a:gd name="adj" fmla="val 5244"/>
            </a:avLst>
          </a:prstGeom>
          <a:solidFill>
            <a:schemeClr val="bg1"/>
          </a:solidFill>
          <a:ln>
            <a:solidFill>
              <a:schemeClr val="bg2"/>
            </a:solidFill>
          </a:ln>
        </p:spPr>
        <p:txBody>
          <a:bodyPr wrap="square" lIns="180000" tIns="360000" rIns="180000" bIns="18000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25FE3D3B-1EB5-CDDE-3ED9-BD4F49B28A63}"/>
              </a:ext>
            </a:extLst>
          </p:cNvPr>
          <p:cNvSpPr txBox="1">
            <a:spLocks/>
          </p:cNvSpPr>
          <p:nvPr/>
        </p:nvSpPr>
        <p:spPr>
          <a:xfrm>
            <a:off x="8975193" y="3988083"/>
            <a:ext cx="1266335" cy="1721879"/>
          </a:xfrm>
          <a:prstGeom prst="rect">
            <a:avLst/>
          </a:prstGeom>
          <a:noFill/>
          <a:ln>
            <a:noFill/>
          </a:ln>
        </p:spPr>
        <p:txBody>
          <a:bodyPr wrap="square" lIns="180000" tIns="360000" rIns="180000" bIns="18000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sz="1600">
                <a:solidFill>
                  <a:schemeClr val="accent1"/>
                </a:solidFill>
                <a:latin typeface="KPMG Bold"/>
              </a:rPr>
              <a:t>Threat Detection</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989898"/>
              </a:solidFill>
              <a:effectLst/>
              <a:uLnTx/>
              <a:uFillTx/>
              <a:latin typeface="Arial"/>
              <a:ea typeface="+mn-ea"/>
              <a:cs typeface="Arial" panose="020B0604020202020204" pitchFamily="34" charset="0"/>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a:ea typeface="+mn-ea"/>
                <a:cs typeface="Arial" panose="020B0604020202020204" pitchFamily="34" charset="0"/>
              </a:rPr>
              <a:t>Deploy AI-based UEBA to detect access anomalies and speed up incident response.</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pic>
        <p:nvPicPr>
          <p:cNvPr id="42" name="Graphic 41">
            <a:extLst>
              <a:ext uri="{FF2B5EF4-FFF2-40B4-BE49-F238E27FC236}">
                <a16:creationId xmlns:a16="http://schemas.microsoft.com/office/drawing/2014/main" id="{BF9F7D56-824B-55FA-CA5F-27FB0D236533}"/>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9947799" y="4080494"/>
            <a:ext cx="271718" cy="271718"/>
          </a:xfrm>
          <a:prstGeom prst="rect">
            <a:avLst/>
          </a:prstGeom>
        </p:spPr>
      </p:pic>
      <p:sp>
        <p:nvSpPr>
          <p:cNvPr id="44" name="TextBox 43">
            <a:extLst>
              <a:ext uri="{FF2B5EF4-FFF2-40B4-BE49-F238E27FC236}">
                <a16:creationId xmlns:a16="http://schemas.microsoft.com/office/drawing/2014/main" id="{20AB7D19-A146-CAF6-2F4F-994DB87B7CC4}"/>
              </a:ext>
            </a:extLst>
          </p:cNvPr>
          <p:cNvSpPr txBox="1">
            <a:spLocks/>
          </p:cNvSpPr>
          <p:nvPr/>
        </p:nvSpPr>
        <p:spPr>
          <a:xfrm>
            <a:off x="10362504" y="4021146"/>
            <a:ext cx="1266335" cy="1874829"/>
          </a:xfrm>
          <a:prstGeom prst="roundRect">
            <a:avLst>
              <a:gd name="adj" fmla="val 5244"/>
            </a:avLst>
          </a:prstGeom>
          <a:solidFill>
            <a:schemeClr val="bg1"/>
          </a:solidFill>
          <a:ln>
            <a:solidFill>
              <a:schemeClr val="bg2"/>
            </a:solidFill>
          </a:ln>
        </p:spPr>
        <p:txBody>
          <a:bodyPr wrap="square" lIns="180000" tIns="360000" rIns="180000" bIns="18000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45" name="TextBox 44">
            <a:extLst>
              <a:ext uri="{FF2B5EF4-FFF2-40B4-BE49-F238E27FC236}">
                <a16:creationId xmlns:a16="http://schemas.microsoft.com/office/drawing/2014/main" id="{0D574815-6FB5-E1A1-43D2-646CEDD47807}"/>
              </a:ext>
            </a:extLst>
          </p:cNvPr>
          <p:cNvSpPr txBox="1">
            <a:spLocks/>
          </p:cNvSpPr>
          <p:nvPr/>
        </p:nvSpPr>
        <p:spPr>
          <a:xfrm>
            <a:off x="10362504" y="3988083"/>
            <a:ext cx="1266335" cy="1721879"/>
          </a:xfrm>
          <a:prstGeom prst="rect">
            <a:avLst/>
          </a:prstGeom>
          <a:noFill/>
          <a:ln>
            <a:noFill/>
          </a:ln>
        </p:spPr>
        <p:txBody>
          <a:bodyPr wrap="square" lIns="180000" tIns="360000" rIns="180000" bIns="180000"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sz="1600">
                <a:solidFill>
                  <a:schemeClr val="accent1"/>
                </a:solidFill>
                <a:latin typeface="KPMG Bold"/>
              </a:rPr>
              <a:t>Continuous Improvement</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989898"/>
              </a:solidFill>
              <a:effectLst/>
              <a:uLnTx/>
              <a:uFillTx/>
              <a:latin typeface="Arial"/>
              <a:ea typeface="+mn-ea"/>
              <a:cs typeface="Arial" panose="020B0604020202020204" pitchFamily="34" charset="0"/>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a:ea typeface="+mn-ea"/>
                <a:cs typeface="Arial" panose="020B0604020202020204" pitchFamily="34" charset="0"/>
              </a:rPr>
              <a:t>Utilize analytics for adaptive controls and proactive IAM optimization.</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pic>
        <p:nvPicPr>
          <p:cNvPr id="47" name="Graphic 46">
            <a:extLst>
              <a:ext uri="{FF2B5EF4-FFF2-40B4-BE49-F238E27FC236}">
                <a16:creationId xmlns:a16="http://schemas.microsoft.com/office/drawing/2014/main" id="{A1335F73-BA69-52A3-BA74-B2A136C2CAFE}"/>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11335110" y="4080494"/>
            <a:ext cx="271718" cy="271718"/>
          </a:xfrm>
          <a:prstGeom prst="rect">
            <a:avLst/>
          </a:prstGeom>
        </p:spPr>
      </p:pic>
    </p:spTree>
    <p:extLst>
      <p:ext uri="{BB962C8B-B14F-4D97-AF65-F5344CB8AC3E}">
        <p14:creationId xmlns:p14="http://schemas.microsoft.com/office/powerpoint/2010/main" val="16771225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F03C3C-14BB-2B9E-939D-EDA56B485B71}"/>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AA129C2-82E2-1BBE-5856-8C60EB242778}"/>
              </a:ext>
            </a:extLst>
          </p:cNvPr>
          <p:cNvGraphicFramePr>
            <a:graphicFrameLocks noChangeAspect="1"/>
          </p:cNvGraphicFramePr>
          <p:nvPr>
            <p:custDataLst>
              <p:tags r:id="rId1"/>
            </p:custDataLst>
            <p:extLst>
              <p:ext uri="{D42A27DB-BD31-4B8C-83A1-F6EECF244321}">
                <p14:modId xmlns:p14="http://schemas.microsoft.com/office/powerpoint/2010/main" val="729132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8" name="think-cell data - do not delete" hidden="1">
                        <a:extLst>
                          <a:ext uri="{FF2B5EF4-FFF2-40B4-BE49-F238E27FC236}">
                            <a16:creationId xmlns:a16="http://schemas.microsoft.com/office/drawing/2014/main" id="{FAA129C2-82E2-1BBE-5856-8C60EB2427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Rectangle: Rounded Corners 19">
            <a:extLst>
              <a:ext uri="{FF2B5EF4-FFF2-40B4-BE49-F238E27FC236}">
                <a16:creationId xmlns:a16="http://schemas.microsoft.com/office/drawing/2014/main" id="{3DFC7D25-469A-AA43-965E-8FA3751491F0}"/>
              </a:ext>
            </a:extLst>
          </p:cNvPr>
          <p:cNvSpPr/>
          <p:nvPr/>
        </p:nvSpPr>
        <p:spPr>
          <a:xfrm>
            <a:off x="10155504" y="2474898"/>
            <a:ext cx="1513848" cy="3612992"/>
          </a:xfrm>
          <a:prstGeom prst="roundRect">
            <a:avLst>
              <a:gd name="adj" fmla="val 5632"/>
            </a:avLst>
          </a:prstGeom>
          <a:solidFill>
            <a:schemeClr val="bg1">
              <a:lumMod val="85000"/>
            </a:schemeClr>
          </a:solidFill>
          <a:ln w="72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DF24BE0F-DC41-899B-4913-958C1D75A5ED}"/>
              </a:ext>
            </a:extLst>
          </p:cNvPr>
          <p:cNvSpPr/>
          <p:nvPr/>
        </p:nvSpPr>
        <p:spPr>
          <a:xfrm>
            <a:off x="3736046" y="551503"/>
            <a:ext cx="8455954" cy="1446591"/>
          </a:xfrm>
          <a:prstGeom prst="rect">
            <a:avLst/>
          </a:prstGeom>
          <a:solidFill>
            <a:schemeClr val="bg1">
              <a:lumMod val="95000"/>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F0527432-7765-2168-BE2A-BAE2760E911C}"/>
              </a:ext>
            </a:extLst>
          </p:cNvPr>
          <p:cNvSpPr/>
          <p:nvPr/>
        </p:nvSpPr>
        <p:spPr>
          <a:xfrm flipH="1">
            <a:off x="457535" y="0"/>
            <a:ext cx="3284210" cy="6142015"/>
          </a:xfrm>
          <a:prstGeom prst="rect">
            <a:avLst/>
          </a:prstGeom>
          <a:gradFill flip="none" rotWithShape="1">
            <a:gsLst>
              <a:gs pos="5000">
                <a:schemeClr val="accent1"/>
              </a:gs>
              <a:gs pos="82000">
                <a:srgbClr val="00C0AE"/>
              </a:gs>
              <a:gs pos="58000">
                <a:schemeClr val="accent4">
                  <a:alpha val="84000"/>
                </a:schemeClr>
              </a:gs>
            </a:gsLst>
            <a:lin ang="1200000" scaled="0"/>
            <a:tileRect/>
          </a:gra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pic>
        <p:nvPicPr>
          <p:cNvPr id="9" name="Picture 8">
            <a:extLst>
              <a:ext uri="{FF2B5EF4-FFF2-40B4-BE49-F238E27FC236}">
                <a16:creationId xmlns:a16="http://schemas.microsoft.com/office/drawing/2014/main" id="{3DE2FA52-AC86-D4B2-1F98-E4C38A7AE374}"/>
              </a:ext>
            </a:extLst>
          </p:cNvPr>
          <p:cNvPicPr>
            <a:picLocks noChangeAspect="1"/>
          </p:cNvPicPr>
          <p:nvPr/>
        </p:nvPicPr>
        <p:blipFill>
          <a:blip r:embed="rId7">
            <a:alphaModFix amt="20000"/>
            <a:extLst>
              <a:ext uri="{28A0092B-C50C-407E-A947-70E740481C1C}">
                <a14:useLocalDpi xmlns:a14="http://schemas.microsoft.com/office/drawing/2010/main" val="0"/>
              </a:ext>
            </a:extLst>
          </a:blip>
          <a:srcRect l="35010" r="35010"/>
          <a:stretch/>
        </p:blipFill>
        <p:spPr>
          <a:xfrm>
            <a:off x="450414" y="17499"/>
            <a:ext cx="3285632" cy="6142015"/>
          </a:xfrm>
          <a:prstGeom prst="rect">
            <a:avLst/>
          </a:prstGeom>
        </p:spPr>
      </p:pic>
      <p:sp>
        <p:nvSpPr>
          <p:cNvPr id="2" name="Title 1">
            <a:extLst>
              <a:ext uri="{FF2B5EF4-FFF2-40B4-BE49-F238E27FC236}">
                <a16:creationId xmlns:a16="http://schemas.microsoft.com/office/drawing/2014/main" id="{2FFF1F5B-0831-4916-D2B2-2E91084A8C49}"/>
              </a:ext>
            </a:extLst>
          </p:cNvPr>
          <p:cNvSpPr>
            <a:spLocks noGrp="1"/>
          </p:cNvSpPr>
          <p:nvPr>
            <p:ph type="title"/>
          </p:nvPr>
        </p:nvSpPr>
        <p:spPr>
          <a:xfrm>
            <a:off x="598967" y="551503"/>
            <a:ext cx="3049667" cy="1836590"/>
          </a:xfrm>
        </p:spPr>
        <p:txBody>
          <a:bodyPr vert="horz"/>
          <a:lstStyle/>
          <a:p>
            <a:r>
              <a:rPr lang="en-US" sz="3200"/>
              <a:t>To deliver on this mission KPMG aims to accelerate our approach with a “Quick Start”</a:t>
            </a:r>
          </a:p>
        </p:txBody>
      </p:sp>
      <p:sp>
        <p:nvSpPr>
          <p:cNvPr id="7" name="Text Placeholder 6">
            <a:extLst>
              <a:ext uri="{FF2B5EF4-FFF2-40B4-BE49-F238E27FC236}">
                <a16:creationId xmlns:a16="http://schemas.microsoft.com/office/drawing/2014/main" id="{31E17998-E4E7-AE51-3581-428EEB41A777}"/>
              </a:ext>
            </a:extLst>
          </p:cNvPr>
          <p:cNvSpPr>
            <a:spLocks noGrp="1"/>
          </p:cNvSpPr>
          <p:nvPr>
            <p:ph type="body" sz="quarter" idx="1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mn-cs"/>
              </a:rPr>
              <a:t>02. Our Approach &amp; Methodology </a:t>
            </a:r>
          </a:p>
        </p:txBody>
      </p:sp>
      <p:sp>
        <p:nvSpPr>
          <p:cNvPr id="4" name="Rectangle: Rounded Corners 3">
            <a:extLst>
              <a:ext uri="{FF2B5EF4-FFF2-40B4-BE49-F238E27FC236}">
                <a16:creationId xmlns:a16="http://schemas.microsoft.com/office/drawing/2014/main" id="{14EB753C-56BB-BF9D-E81E-38DC69C5E2D4}"/>
              </a:ext>
            </a:extLst>
          </p:cNvPr>
          <p:cNvSpPr/>
          <p:nvPr/>
        </p:nvSpPr>
        <p:spPr>
          <a:xfrm>
            <a:off x="598968" y="2351476"/>
            <a:ext cx="1163637" cy="77407"/>
          </a:xfrm>
          <a:prstGeom prst="roundRect">
            <a:avLst>
              <a:gd name="adj" fmla="val 50000"/>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5" name="Title 1">
            <a:extLst>
              <a:ext uri="{FF2B5EF4-FFF2-40B4-BE49-F238E27FC236}">
                <a16:creationId xmlns:a16="http://schemas.microsoft.com/office/drawing/2014/main" id="{B032E933-259A-5817-400C-22D58ACA80BE}"/>
              </a:ext>
            </a:extLst>
          </p:cNvPr>
          <p:cNvSpPr txBox="1">
            <a:spLocks/>
          </p:cNvSpPr>
          <p:nvPr/>
        </p:nvSpPr>
        <p:spPr>
          <a:xfrm>
            <a:off x="606088" y="2820970"/>
            <a:ext cx="3137079" cy="183659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tabLst>
                <a:tab pos="990000" algn="l"/>
              </a:tabLst>
              <a:defRPr sz="3600" kern="1200">
                <a:solidFill>
                  <a:schemeClr val="bg1"/>
                </a:solidFill>
                <a:latin typeface="+mj-lt"/>
                <a:ea typeface="+mj-ea"/>
                <a:cs typeface="+mj-cs"/>
              </a:defRPr>
            </a:lvl1pPr>
            <a:lvl2pPr>
              <a:lnSpc>
                <a:spcPct val="70000"/>
              </a:lnSpc>
              <a:defRPr sz="2800">
                <a:solidFill>
                  <a:schemeClr val="accent1"/>
                </a:solidFill>
                <a:latin typeface="+mj-lt"/>
              </a:defRPr>
            </a:lvl2pPr>
            <a:lvl3pPr>
              <a:defRPr sz="1600" b="1">
                <a:solidFill>
                  <a:schemeClr val="accent1"/>
                </a:solidFill>
                <a:latin typeface="+mn-lt"/>
              </a:defRPr>
            </a:lvl3pPr>
          </a:lstStyle>
          <a:p>
            <a:pPr marL="0" marR="0" lvl="0" indent="0" algn="l" defTabSz="914400" rtl="0" eaLnBrk="1" fontAlgn="auto" latinLnBrk="0" hangingPunct="1">
              <a:lnSpc>
                <a:spcPct val="100000"/>
              </a:lnSpc>
              <a:spcBef>
                <a:spcPct val="0"/>
              </a:spcBef>
              <a:spcAft>
                <a:spcPts val="0"/>
              </a:spcAft>
              <a:buClrTx/>
              <a:buSzTx/>
              <a:buFontTx/>
              <a:buNone/>
              <a:tabLst>
                <a:tab pos="990000" algn="l"/>
              </a:tabLst>
              <a:defRPr/>
            </a:pPr>
            <a:r>
              <a:rPr kumimoji="0" lang="en-US" sz="1200" b="1" i="0" u="none" strike="noStrike" kern="1200" cap="none" spc="0" normalizeH="0" baseline="0" noProof="0">
                <a:ln>
                  <a:noFill/>
                </a:ln>
                <a:solidFill>
                  <a:srgbClr val="FFFFFF"/>
                </a:solidFill>
                <a:effectLst/>
                <a:uLnTx/>
                <a:uFillTx/>
                <a:latin typeface="Arial"/>
                <a:ea typeface="+mj-ea"/>
                <a:cs typeface="+mj-cs"/>
              </a:rPr>
              <a:t>Below are some of our accelerators that are designed to streamline and enhance delivery, ensuring rapid deployment and maximum efficiency in achieving your objectives</a:t>
            </a:r>
          </a:p>
        </p:txBody>
      </p:sp>
      <p:sp>
        <p:nvSpPr>
          <p:cNvPr id="33" name="Arrow: Pentagon 32">
            <a:extLst>
              <a:ext uri="{FF2B5EF4-FFF2-40B4-BE49-F238E27FC236}">
                <a16:creationId xmlns:a16="http://schemas.microsoft.com/office/drawing/2014/main" id="{7095AD62-8A59-6EC8-E540-04D73B6CC6B8}"/>
              </a:ext>
            </a:extLst>
          </p:cNvPr>
          <p:cNvSpPr/>
          <p:nvPr/>
        </p:nvSpPr>
        <p:spPr>
          <a:xfrm>
            <a:off x="1071610" y="4002115"/>
            <a:ext cx="3305797" cy="373856"/>
          </a:xfrm>
          <a:prstGeom prst="homePlate">
            <a:avLst/>
          </a:prstGeom>
          <a:solidFill>
            <a:schemeClr val="bg1"/>
          </a:solidFill>
          <a:ln>
            <a:noFill/>
          </a:ln>
          <a:effectLst>
            <a:outerShdw blurRad="50800" dist="38100" dir="5400000" algn="t"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tIns="54610" rIns="54610" bIns="5461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KPMG Bold" panose="020B0803030202040204" pitchFamily="34" charset="0"/>
                <a:ea typeface="+mn-ea"/>
                <a:cs typeface="+mn-cs"/>
              </a:rPr>
              <a:t>Powered Identity </a:t>
            </a:r>
          </a:p>
        </p:txBody>
      </p:sp>
      <p:sp>
        <p:nvSpPr>
          <p:cNvPr id="32" name="Arrow: Pentagon 31">
            <a:extLst>
              <a:ext uri="{FF2B5EF4-FFF2-40B4-BE49-F238E27FC236}">
                <a16:creationId xmlns:a16="http://schemas.microsoft.com/office/drawing/2014/main" id="{C274F77D-CE2D-43D3-AA63-D86CA6E24C9C}"/>
              </a:ext>
            </a:extLst>
          </p:cNvPr>
          <p:cNvSpPr/>
          <p:nvPr/>
        </p:nvSpPr>
        <p:spPr>
          <a:xfrm>
            <a:off x="587375" y="4002115"/>
            <a:ext cx="822196" cy="373856"/>
          </a:xfrm>
          <a:prstGeom prst="homePlate">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FFFFFF"/>
              </a:solidFill>
              <a:effectLst/>
              <a:uLnTx/>
              <a:uFillTx/>
              <a:latin typeface="Arial"/>
              <a:ea typeface="+mn-ea"/>
              <a:cs typeface="+mn-cs"/>
            </a:endParaRPr>
          </a:p>
        </p:txBody>
      </p:sp>
      <p:sp>
        <p:nvSpPr>
          <p:cNvPr id="62" name="Arrow: Pentagon 61">
            <a:extLst>
              <a:ext uri="{FF2B5EF4-FFF2-40B4-BE49-F238E27FC236}">
                <a16:creationId xmlns:a16="http://schemas.microsoft.com/office/drawing/2014/main" id="{5D7D7EFD-BD1E-6922-D0E1-19446A2E0865}"/>
              </a:ext>
            </a:extLst>
          </p:cNvPr>
          <p:cNvSpPr/>
          <p:nvPr/>
        </p:nvSpPr>
        <p:spPr>
          <a:xfrm>
            <a:off x="1071610" y="4430095"/>
            <a:ext cx="3305797" cy="373856"/>
          </a:xfrm>
          <a:prstGeom prst="homePlate">
            <a:avLst/>
          </a:prstGeom>
          <a:solidFill>
            <a:schemeClr val="bg1"/>
          </a:solidFill>
          <a:ln>
            <a:noFill/>
          </a:ln>
          <a:effectLst>
            <a:outerShdw blurRad="50800" dist="38100" dir="5400000" algn="t"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tIns="54610" rIns="54610" bIns="5461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KPMG Bold" panose="020B0803030202040204" pitchFamily="34" charset="0"/>
                <a:ea typeface="+mn-ea"/>
                <a:cs typeface="+mn-cs"/>
              </a:rPr>
              <a:t>Requirements &amp; Code Generation </a:t>
            </a:r>
          </a:p>
        </p:txBody>
      </p:sp>
      <p:sp>
        <p:nvSpPr>
          <p:cNvPr id="63" name="Arrow: Pentagon 62">
            <a:extLst>
              <a:ext uri="{FF2B5EF4-FFF2-40B4-BE49-F238E27FC236}">
                <a16:creationId xmlns:a16="http://schemas.microsoft.com/office/drawing/2014/main" id="{B6687235-1847-71C6-FFB6-044646174531}"/>
              </a:ext>
            </a:extLst>
          </p:cNvPr>
          <p:cNvSpPr/>
          <p:nvPr/>
        </p:nvSpPr>
        <p:spPr>
          <a:xfrm>
            <a:off x="587375" y="4430095"/>
            <a:ext cx="822196" cy="373856"/>
          </a:xfrm>
          <a:prstGeom prst="homePlate">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FFFFFF"/>
              </a:solidFill>
              <a:effectLst/>
              <a:uLnTx/>
              <a:uFillTx/>
              <a:latin typeface="Arial"/>
              <a:ea typeface="+mn-ea"/>
              <a:cs typeface="+mn-cs"/>
            </a:endParaRPr>
          </a:p>
        </p:txBody>
      </p:sp>
      <p:sp>
        <p:nvSpPr>
          <p:cNvPr id="65" name="Arrow: Pentagon 64">
            <a:extLst>
              <a:ext uri="{FF2B5EF4-FFF2-40B4-BE49-F238E27FC236}">
                <a16:creationId xmlns:a16="http://schemas.microsoft.com/office/drawing/2014/main" id="{329866E9-0543-4483-7550-0B789D3F17BE}"/>
              </a:ext>
            </a:extLst>
          </p:cNvPr>
          <p:cNvSpPr/>
          <p:nvPr/>
        </p:nvSpPr>
        <p:spPr>
          <a:xfrm>
            <a:off x="1071610" y="4858075"/>
            <a:ext cx="3386139" cy="373856"/>
          </a:xfrm>
          <a:prstGeom prst="homePlate">
            <a:avLst/>
          </a:prstGeom>
          <a:solidFill>
            <a:schemeClr val="bg1"/>
          </a:solidFill>
          <a:ln>
            <a:noFill/>
          </a:ln>
          <a:effectLst>
            <a:outerShdw blurRad="50800" dist="38100" dir="5400000" algn="t"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tIns="54610" rIns="54610" bIns="5461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KPMG Bold" panose="020B0803030202040204" pitchFamily="34" charset="0"/>
                <a:ea typeface="+mn-ea"/>
                <a:cs typeface="+mn-cs"/>
              </a:rPr>
              <a:t>Agile Agentic Factory</a:t>
            </a:r>
          </a:p>
        </p:txBody>
      </p:sp>
      <p:sp>
        <p:nvSpPr>
          <p:cNvPr id="66" name="Arrow: Pentagon 65">
            <a:extLst>
              <a:ext uri="{FF2B5EF4-FFF2-40B4-BE49-F238E27FC236}">
                <a16:creationId xmlns:a16="http://schemas.microsoft.com/office/drawing/2014/main" id="{0A7ED01E-D893-B62D-5722-D5C85C581D5A}"/>
              </a:ext>
            </a:extLst>
          </p:cNvPr>
          <p:cNvSpPr/>
          <p:nvPr/>
        </p:nvSpPr>
        <p:spPr>
          <a:xfrm>
            <a:off x="587374" y="4858075"/>
            <a:ext cx="822195" cy="373856"/>
          </a:xfrm>
          <a:prstGeom prst="homePlate">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FFFFFF"/>
              </a:solidFill>
              <a:effectLst/>
              <a:uLnTx/>
              <a:uFillTx/>
              <a:latin typeface="Arial"/>
              <a:ea typeface="+mn-ea"/>
              <a:cs typeface="+mn-cs"/>
            </a:endParaRPr>
          </a:p>
        </p:txBody>
      </p:sp>
      <p:sp>
        <p:nvSpPr>
          <p:cNvPr id="68" name="Arrow: Pentagon 67">
            <a:extLst>
              <a:ext uri="{FF2B5EF4-FFF2-40B4-BE49-F238E27FC236}">
                <a16:creationId xmlns:a16="http://schemas.microsoft.com/office/drawing/2014/main" id="{58191BD9-BD66-EFD2-54DF-61AE1E9704E4}"/>
              </a:ext>
            </a:extLst>
          </p:cNvPr>
          <p:cNvSpPr/>
          <p:nvPr/>
        </p:nvSpPr>
        <p:spPr>
          <a:xfrm>
            <a:off x="1071610" y="5286055"/>
            <a:ext cx="3386139" cy="373856"/>
          </a:xfrm>
          <a:prstGeom prst="homePlate">
            <a:avLst/>
          </a:prstGeom>
          <a:solidFill>
            <a:schemeClr val="bg1"/>
          </a:solidFill>
          <a:ln>
            <a:noFill/>
          </a:ln>
          <a:effectLst>
            <a:outerShdw blurRad="50800" dist="38100" dir="5400000" algn="t"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tIns="54610" rIns="54610" bIns="5461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KPMG Bold" panose="020B0803030202040204" pitchFamily="34" charset="0"/>
                <a:ea typeface="+mn-ea"/>
                <a:cs typeface="+mn-cs"/>
              </a:rPr>
              <a:t>KPMG’s Reusable Connector Factory</a:t>
            </a:r>
          </a:p>
        </p:txBody>
      </p:sp>
      <p:sp>
        <p:nvSpPr>
          <p:cNvPr id="69" name="Arrow: Pentagon 68">
            <a:extLst>
              <a:ext uri="{FF2B5EF4-FFF2-40B4-BE49-F238E27FC236}">
                <a16:creationId xmlns:a16="http://schemas.microsoft.com/office/drawing/2014/main" id="{108E97FC-3232-6FFE-7693-6CFB5D33ABE9}"/>
              </a:ext>
            </a:extLst>
          </p:cNvPr>
          <p:cNvSpPr/>
          <p:nvPr/>
        </p:nvSpPr>
        <p:spPr>
          <a:xfrm>
            <a:off x="587375" y="5286055"/>
            <a:ext cx="822194" cy="373856"/>
          </a:xfrm>
          <a:prstGeom prst="homePlate">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FFFFFF"/>
              </a:solidFill>
              <a:effectLst/>
              <a:uLnTx/>
              <a:uFillTx/>
              <a:latin typeface="Arial"/>
              <a:ea typeface="+mn-ea"/>
              <a:cs typeface="+mn-cs"/>
            </a:endParaRPr>
          </a:p>
        </p:txBody>
      </p:sp>
      <p:sp>
        <p:nvSpPr>
          <p:cNvPr id="71" name="Arrow: Pentagon 70">
            <a:extLst>
              <a:ext uri="{FF2B5EF4-FFF2-40B4-BE49-F238E27FC236}">
                <a16:creationId xmlns:a16="http://schemas.microsoft.com/office/drawing/2014/main" id="{8D2DE16B-4D45-E512-87DA-9ACB751114F5}"/>
              </a:ext>
            </a:extLst>
          </p:cNvPr>
          <p:cNvSpPr/>
          <p:nvPr/>
        </p:nvSpPr>
        <p:spPr>
          <a:xfrm>
            <a:off x="1179576" y="5714035"/>
            <a:ext cx="3197831" cy="373856"/>
          </a:xfrm>
          <a:prstGeom prst="homePlate">
            <a:avLst/>
          </a:prstGeom>
          <a:solidFill>
            <a:schemeClr val="bg1"/>
          </a:solidFill>
          <a:ln>
            <a:noFill/>
          </a:ln>
          <a:effectLst>
            <a:outerShdw blurRad="50800" dist="38100" dir="5400000" algn="t"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5760" tIns="54610" rIns="54610" bIns="5461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KPMG Bold" panose="020B0803030202040204" pitchFamily="34" charset="0"/>
                <a:ea typeface="+mn-ea"/>
                <a:cs typeface="+mn-cs"/>
              </a:rPr>
              <a:t>KPMG</a:t>
            </a:r>
            <a:r>
              <a:rPr lang="en-US" sz="1400">
                <a:solidFill>
                  <a:srgbClr val="000000"/>
                </a:solidFill>
                <a:latin typeface="KPMG Bold" panose="020B0803030202040204" pitchFamily="34" charset="0"/>
              </a:rPr>
              <a:t>’s MDP Infrastructure as Code (</a:t>
            </a:r>
            <a:r>
              <a:rPr lang="en-US" sz="1400" err="1">
                <a:solidFill>
                  <a:srgbClr val="000000"/>
                </a:solidFill>
                <a:latin typeface="KPMG Bold" panose="020B0803030202040204" pitchFamily="34" charset="0"/>
              </a:rPr>
              <a:t>IaC</a:t>
            </a:r>
            <a:r>
              <a:rPr lang="en-US" sz="1400">
                <a:solidFill>
                  <a:srgbClr val="000000"/>
                </a:solidFill>
                <a:latin typeface="KPMG Bold" panose="020B0803030202040204" pitchFamily="34" charset="0"/>
              </a:rPr>
              <a:t>) Library</a:t>
            </a:r>
            <a:endParaRPr kumimoji="0" lang="en-US" sz="1400" b="0" i="0" u="none" strike="noStrike" kern="1200" cap="none" spc="0" normalizeH="0" baseline="0" noProof="0">
              <a:ln>
                <a:noFill/>
              </a:ln>
              <a:solidFill>
                <a:srgbClr val="000000"/>
              </a:solidFill>
              <a:effectLst/>
              <a:uLnTx/>
              <a:uFillTx/>
              <a:latin typeface="KPMG Bold" panose="020B0803030202040204" pitchFamily="34" charset="0"/>
              <a:ea typeface="+mn-ea"/>
              <a:cs typeface="+mn-cs"/>
            </a:endParaRPr>
          </a:p>
        </p:txBody>
      </p:sp>
      <p:sp>
        <p:nvSpPr>
          <p:cNvPr id="72" name="Arrow: Pentagon 71">
            <a:extLst>
              <a:ext uri="{FF2B5EF4-FFF2-40B4-BE49-F238E27FC236}">
                <a16:creationId xmlns:a16="http://schemas.microsoft.com/office/drawing/2014/main" id="{26D0932D-A79B-1BB3-FA32-721316489095}"/>
              </a:ext>
            </a:extLst>
          </p:cNvPr>
          <p:cNvSpPr/>
          <p:nvPr/>
        </p:nvSpPr>
        <p:spPr>
          <a:xfrm>
            <a:off x="587375" y="5714035"/>
            <a:ext cx="822196" cy="373856"/>
          </a:xfrm>
          <a:prstGeom prst="homePlate">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73" name="Google Shape;603;p26">
            <a:extLst>
              <a:ext uri="{FF2B5EF4-FFF2-40B4-BE49-F238E27FC236}">
                <a16:creationId xmlns:a16="http://schemas.microsoft.com/office/drawing/2014/main" id="{E592357F-B4AD-7B37-B6C0-630DDF6FF9EC}"/>
              </a:ext>
            </a:extLst>
          </p:cNvPr>
          <p:cNvGrpSpPr>
            <a:grpSpLocks noChangeAspect="1"/>
          </p:cNvGrpSpPr>
          <p:nvPr/>
        </p:nvGrpSpPr>
        <p:grpSpPr>
          <a:xfrm>
            <a:off x="751610" y="4479838"/>
            <a:ext cx="272988" cy="274317"/>
            <a:chOff x="-62150375" y="2664925"/>
            <a:chExt cx="316650" cy="318225"/>
          </a:xfrm>
        </p:grpSpPr>
        <p:sp>
          <p:nvSpPr>
            <p:cNvPr id="74" name="Google Shape;604;p26">
              <a:extLst>
                <a:ext uri="{FF2B5EF4-FFF2-40B4-BE49-F238E27FC236}">
                  <a16:creationId xmlns:a16="http://schemas.microsoft.com/office/drawing/2014/main" id="{C628B5CB-115D-0A3F-F19E-4DBF6441A539}"/>
                </a:ext>
              </a:extLst>
            </p:cNvPr>
            <p:cNvSpPr/>
            <p:nvPr/>
          </p:nvSpPr>
          <p:spPr>
            <a:xfrm>
              <a:off x="-62150375" y="2961850"/>
              <a:ext cx="316650" cy="21300"/>
            </a:xfrm>
            <a:custGeom>
              <a:avLst/>
              <a:gdLst/>
              <a:ahLst/>
              <a:cxnLst/>
              <a:rect l="l" t="t" r="r" b="b"/>
              <a:pathLst>
                <a:path w="12666" h="852" extrusionOk="0">
                  <a:moveTo>
                    <a:pt x="379" y="0"/>
                  </a:moveTo>
                  <a:cubicBezTo>
                    <a:pt x="158" y="0"/>
                    <a:pt x="1" y="189"/>
                    <a:pt x="1" y="410"/>
                  </a:cubicBezTo>
                  <a:cubicBezTo>
                    <a:pt x="1" y="662"/>
                    <a:pt x="190" y="851"/>
                    <a:pt x="379" y="851"/>
                  </a:cubicBezTo>
                  <a:lnTo>
                    <a:pt x="12225" y="851"/>
                  </a:lnTo>
                  <a:cubicBezTo>
                    <a:pt x="12477" y="851"/>
                    <a:pt x="12634" y="662"/>
                    <a:pt x="12634" y="410"/>
                  </a:cubicBezTo>
                  <a:cubicBezTo>
                    <a:pt x="12666" y="158"/>
                    <a:pt x="12477" y="0"/>
                    <a:pt x="12225"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5" name="Google Shape;605;p26">
              <a:extLst>
                <a:ext uri="{FF2B5EF4-FFF2-40B4-BE49-F238E27FC236}">
                  <a16:creationId xmlns:a16="http://schemas.microsoft.com/office/drawing/2014/main" id="{4430FC09-E20C-61B8-73AE-1B1A0C21CEFC}"/>
                </a:ext>
              </a:extLst>
            </p:cNvPr>
            <p:cNvSpPr/>
            <p:nvPr/>
          </p:nvSpPr>
          <p:spPr>
            <a:xfrm>
              <a:off x="-62150375" y="2838200"/>
              <a:ext cx="82725" cy="102400"/>
            </a:xfrm>
            <a:custGeom>
              <a:avLst/>
              <a:gdLst/>
              <a:ahLst/>
              <a:cxnLst/>
              <a:rect l="l" t="t" r="r" b="b"/>
              <a:pathLst>
                <a:path w="3309" h="4096" extrusionOk="0">
                  <a:moveTo>
                    <a:pt x="2363" y="756"/>
                  </a:moveTo>
                  <a:cubicBezTo>
                    <a:pt x="2427" y="756"/>
                    <a:pt x="2521" y="851"/>
                    <a:pt x="2521" y="914"/>
                  </a:cubicBezTo>
                  <a:lnTo>
                    <a:pt x="2521" y="3119"/>
                  </a:lnTo>
                  <a:cubicBezTo>
                    <a:pt x="2521" y="3214"/>
                    <a:pt x="2427" y="3245"/>
                    <a:pt x="2363" y="3245"/>
                  </a:cubicBezTo>
                  <a:lnTo>
                    <a:pt x="977" y="3245"/>
                  </a:lnTo>
                  <a:cubicBezTo>
                    <a:pt x="883" y="3245"/>
                    <a:pt x="820" y="3151"/>
                    <a:pt x="820" y="3119"/>
                  </a:cubicBezTo>
                  <a:lnTo>
                    <a:pt x="820" y="914"/>
                  </a:lnTo>
                  <a:cubicBezTo>
                    <a:pt x="820" y="851"/>
                    <a:pt x="883" y="756"/>
                    <a:pt x="977" y="756"/>
                  </a:cubicBezTo>
                  <a:close/>
                  <a:moveTo>
                    <a:pt x="946" y="0"/>
                  </a:moveTo>
                  <a:cubicBezTo>
                    <a:pt x="379" y="0"/>
                    <a:pt x="1" y="441"/>
                    <a:pt x="1" y="945"/>
                  </a:cubicBezTo>
                  <a:lnTo>
                    <a:pt x="1" y="3151"/>
                  </a:lnTo>
                  <a:cubicBezTo>
                    <a:pt x="1" y="3686"/>
                    <a:pt x="410" y="4096"/>
                    <a:pt x="946" y="4096"/>
                  </a:cubicBezTo>
                  <a:lnTo>
                    <a:pt x="2300" y="4096"/>
                  </a:lnTo>
                  <a:cubicBezTo>
                    <a:pt x="2868" y="4096"/>
                    <a:pt x="3309" y="3686"/>
                    <a:pt x="3309" y="3151"/>
                  </a:cubicBezTo>
                  <a:lnTo>
                    <a:pt x="3309" y="945"/>
                  </a:lnTo>
                  <a:cubicBezTo>
                    <a:pt x="3309" y="410"/>
                    <a:pt x="2868" y="0"/>
                    <a:pt x="2300"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6" name="Google Shape;606;p26">
              <a:extLst>
                <a:ext uri="{FF2B5EF4-FFF2-40B4-BE49-F238E27FC236}">
                  <a16:creationId xmlns:a16="http://schemas.microsoft.com/office/drawing/2014/main" id="{6020B603-9A43-7D53-68F7-786854AA7D91}"/>
                </a:ext>
              </a:extLst>
            </p:cNvPr>
            <p:cNvSpPr/>
            <p:nvPr/>
          </p:nvSpPr>
          <p:spPr>
            <a:xfrm>
              <a:off x="-62033800" y="2664925"/>
              <a:ext cx="82725" cy="274900"/>
            </a:xfrm>
            <a:custGeom>
              <a:avLst/>
              <a:gdLst/>
              <a:ahLst/>
              <a:cxnLst/>
              <a:rect l="l" t="t" r="r" b="b"/>
              <a:pathLst>
                <a:path w="3309" h="10996" extrusionOk="0">
                  <a:moveTo>
                    <a:pt x="2332" y="788"/>
                  </a:moveTo>
                  <a:cubicBezTo>
                    <a:pt x="2426" y="851"/>
                    <a:pt x="2489" y="882"/>
                    <a:pt x="2489" y="945"/>
                  </a:cubicBezTo>
                  <a:lnTo>
                    <a:pt x="2489" y="10050"/>
                  </a:lnTo>
                  <a:cubicBezTo>
                    <a:pt x="2489" y="10145"/>
                    <a:pt x="2426" y="10176"/>
                    <a:pt x="2332" y="10176"/>
                  </a:cubicBezTo>
                  <a:lnTo>
                    <a:pt x="946" y="10176"/>
                  </a:lnTo>
                  <a:cubicBezTo>
                    <a:pt x="882" y="10176"/>
                    <a:pt x="851" y="10082"/>
                    <a:pt x="851" y="10050"/>
                  </a:cubicBezTo>
                  <a:lnTo>
                    <a:pt x="851" y="945"/>
                  </a:lnTo>
                  <a:cubicBezTo>
                    <a:pt x="851" y="882"/>
                    <a:pt x="914" y="788"/>
                    <a:pt x="946" y="788"/>
                  </a:cubicBezTo>
                  <a:close/>
                  <a:moveTo>
                    <a:pt x="946" y="0"/>
                  </a:moveTo>
                  <a:cubicBezTo>
                    <a:pt x="410" y="0"/>
                    <a:pt x="0" y="441"/>
                    <a:pt x="0" y="945"/>
                  </a:cubicBezTo>
                  <a:lnTo>
                    <a:pt x="0" y="10050"/>
                  </a:lnTo>
                  <a:cubicBezTo>
                    <a:pt x="0" y="10617"/>
                    <a:pt x="441" y="10995"/>
                    <a:pt x="946" y="10995"/>
                  </a:cubicBezTo>
                  <a:lnTo>
                    <a:pt x="2332" y="10995"/>
                  </a:lnTo>
                  <a:cubicBezTo>
                    <a:pt x="2899" y="10995"/>
                    <a:pt x="3308" y="10554"/>
                    <a:pt x="3308" y="10050"/>
                  </a:cubicBezTo>
                  <a:lnTo>
                    <a:pt x="3308" y="945"/>
                  </a:lnTo>
                  <a:cubicBezTo>
                    <a:pt x="3308" y="410"/>
                    <a:pt x="2899" y="0"/>
                    <a:pt x="2332" y="0"/>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7" name="Google Shape;607;p26">
              <a:extLst>
                <a:ext uri="{FF2B5EF4-FFF2-40B4-BE49-F238E27FC236}">
                  <a16:creationId xmlns:a16="http://schemas.microsoft.com/office/drawing/2014/main" id="{DF0A8BFA-FFAC-4B52-D2D6-C04E072970B1}"/>
                </a:ext>
              </a:extLst>
            </p:cNvPr>
            <p:cNvSpPr/>
            <p:nvPr/>
          </p:nvSpPr>
          <p:spPr>
            <a:xfrm>
              <a:off x="-61917225" y="2754700"/>
              <a:ext cx="83500" cy="185900"/>
            </a:xfrm>
            <a:custGeom>
              <a:avLst/>
              <a:gdLst/>
              <a:ahLst/>
              <a:cxnLst/>
              <a:rect l="l" t="t" r="r" b="b"/>
              <a:pathLst>
                <a:path w="3340" h="7436" extrusionOk="0">
                  <a:moveTo>
                    <a:pt x="2394" y="788"/>
                  </a:moveTo>
                  <a:cubicBezTo>
                    <a:pt x="2489" y="788"/>
                    <a:pt x="2520" y="883"/>
                    <a:pt x="2520" y="946"/>
                  </a:cubicBezTo>
                  <a:lnTo>
                    <a:pt x="2520" y="6459"/>
                  </a:lnTo>
                  <a:cubicBezTo>
                    <a:pt x="2520" y="6554"/>
                    <a:pt x="2426" y="6585"/>
                    <a:pt x="2394" y="6585"/>
                  </a:cubicBezTo>
                  <a:lnTo>
                    <a:pt x="1008" y="6585"/>
                  </a:lnTo>
                  <a:cubicBezTo>
                    <a:pt x="945" y="6585"/>
                    <a:pt x="851" y="6491"/>
                    <a:pt x="851" y="6459"/>
                  </a:cubicBezTo>
                  <a:lnTo>
                    <a:pt x="851" y="946"/>
                  </a:lnTo>
                  <a:cubicBezTo>
                    <a:pt x="851" y="883"/>
                    <a:pt x="945" y="788"/>
                    <a:pt x="1008" y="788"/>
                  </a:cubicBezTo>
                  <a:close/>
                  <a:moveTo>
                    <a:pt x="977" y="1"/>
                  </a:moveTo>
                  <a:cubicBezTo>
                    <a:pt x="441" y="1"/>
                    <a:pt x="0" y="442"/>
                    <a:pt x="0" y="977"/>
                  </a:cubicBezTo>
                  <a:lnTo>
                    <a:pt x="0" y="6491"/>
                  </a:lnTo>
                  <a:cubicBezTo>
                    <a:pt x="0" y="7058"/>
                    <a:pt x="441" y="7436"/>
                    <a:pt x="977" y="7436"/>
                  </a:cubicBezTo>
                  <a:lnTo>
                    <a:pt x="2363" y="7436"/>
                  </a:lnTo>
                  <a:cubicBezTo>
                    <a:pt x="2899" y="7436"/>
                    <a:pt x="3308" y="7026"/>
                    <a:pt x="3308" y="6491"/>
                  </a:cubicBezTo>
                  <a:lnTo>
                    <a:pt x="3308" y="977"/>
                  </a:lnTo>
                  <a:cubicBezTo>
                    <a:pt x="3340" y="442"/>
                    <a:pt x="2899" y="1"/>
                    <a:pt x="2363"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78" name="Google Shape;911;p32">
            <a:extLst>
              <a:ext uri="{FF2B5EF4-FFF2-40B4-BE49-F238E27FC236}">
                <a16:creationId xmlns:a16="http://schemas.microsoft.com/office/drawing/2014/main" id="{3C8280DF-EAAB-DDCB-8B2B-A4AC82061ED9}"/>
              </a:ext>
            </a:extLst>
          </p:cNvPr>
          <p:cNvGrpSpPr>
            <a:grpSpLocks noChangeAspect="1"/>
          </p:cNvGrpSpPr>
          <p:nvPr/>
        </p:nvGrpSpPr>
        <p:grpSpPr>
          <a:xfrm>
            <a:off x="751620" y="5332367"/>
            <a:ext cx="289149" cy="274321"/>
            <a:chOff x="2872725" y="1954475"/>
            <a:chExt cx="295375" cy="295400"/>
          </a:xfrm>
        </p:grpSpPr>
        <p:sp>
          <p:nvSpPr>
            <p:cNvPr id="79" name="Google Shape;912;p32">
              <a:extLst>
                <a:ext uri="{FF2B5EF4-FFF2-40B4-BE49-F238E27FC236}">
                  <a16:creationId xmlns:a16="http://schemas.microsoft.com/office/drawing/2014/main" id="{02BC02EF-FF19-6A0A-E9FB-AD5E794726DB}"/>
                </a:ext>
              </a:extLst>
            </p:cNvPr>
            <p:cNvSpPr/>
            <p:nvPr/>
          </p:nvSpPr>
          <p:spPr>
            <a:xfrm>
              <a:off x="2959350" y="1954475"/>
              <a:ext cx="122100" cy="139450"/>
            </a:xfrm>
            <a:custGeom>
              <a:avLst/>
              <a:gdLst/>
              <a:ahLst/>
              <a:cxnLst/>
              <a:rect l="l" t="t" r="r" b="b"/>
              <a:pathLst>
                <a:path w="4884" h="5578" extrusionOk="0">
                  <a:moveTo>
                    <a:pt x="2395" y="694"/>
                  </a:moveTo>
                  <a:cubicBezTo>
                    <a:pt x="2805" y="694"/>
                    <a:pt x="3120" y="1009"/>
                    <a:pt x="3120" y="1418"/>
                  </a:cubicBezTo>
                  <a:cubicBezTo>
                    <a:pt x="3120" y="1797"/>
                    <a:pt x="2805" y="2112"/>
                    <a:pt x="2395" y="2112"/>
                  </a:cubicBezTo>
                  <a:cubicBezTo>
                    <a:pt x="2017" y="2112"/>
                    <a:pt x="1702" y="1797"/>
                    <a:pt x="1702" y="1418"/>
                  </a:cubicBezTo>
                  <a:cubicBezTo>
                    <a:pt x="1733" y="1009"/>
                    <a:pt x="2048" y="694"/>
                    <a:pt x="2395" y="694"/>
                  </a:cubicBezTo>
                  <a:close/>
                  <a:moveTo>
                    <a:pt x="2395" y="2742"/>
                  </a:moveTo>
                  <a:cubicBezTo>
                    <a:pt x="3340" y="2742"/>
                    <a:pt x="4128" y="3529"/>
                    <a:pt x="4128" y="4537"/>
                  </a:cubicBezTo>
                  <a:lnTo>
                    <a:pt x="4128" y="4884"/>
                  </a:lnTo>
                  <a:lnTo>
                    <a:pt x="662" y="4884"/>
                  </a:lnTo>
                  <a:lnTo>
                    <a:pt x="662" y="4537"/>
                  </a:lnTo>
                  <a:cubicBezTo>
                    <a:pt x="662" y="3529"/>
                    <a:pt x="1450" y="2742"/>
                    <a:pt x="2395" y="2742"/>
                  </a:cubicBezTo>
                  <a:close/>
                  <a:moveTo>
                    <a:pt x="2490" y="1"/>
                  </a:moveTo>
                  <a:cubicBezTo>
                    <a:pt x="1733" y="1"/>
                    <a:pt x="1103" y="631"/>
                    <a:pt x="1103" y="1387"/>
                  </a:cubicBezTo>
                  <a:cubicBezTo>
                    <a:pt x="1103" y="1734"/>
                    <a:pt x="1229" y="2049"/>
                    <a:pt x="1450" y="2332"/>
                  </a:cubicBezTo>
                  <a:cubicBezTo>
                    <a:pt x="568" y="2710"/>
                    <a:pt x="1" y="3529"/>
                    <a:pt x="1" y="4537"/>
                  </a:cubicBezTo>
                  <a:lnTo>
                    <a:pt x="1" y="5231"/>
                  </a:lnTo>
                  <a:cubicBezTo>
                    <a:pt x="1" y="5420"/>
                    <a:pt x="158" y="5577"/>
                    <a:pt x="347" y="5577"/>
                  </a:cubicBezTo>
                  <a:lnTo>
                    <a:pt x="4537" y="5577"/>
                  </a:lnTo>
                  <a:cubicBezTo>
                    <a:pt x="4726" y="5577"/>
                    <a:pt x="4884" y="5420"/>
                    <a:pt x="4884" y="5231"/>
                  </a:cubicBezTo>
                  <a:lnTo>
                    <a:pt x="4884" y="4537"/>
                  </a:lnTo>
                  <a:cubicBezTo>
                    <a:pt x="4884" y="3529"/>
                    <a:pt x="4317" y="2710"/>
                    <a:pt x="3498" y="2332"/>
                  </a:cubicBezTo>
                  <a:cubicBezTo>
                    <a:pt x="3750" y="2080"/>
                    <a:pt x="3844" y="1765"/>
                    <a:pt x="3844" y="1387"/>
                  </a:cubicBezTo>
                  <a:cubicBezTo>
                    <a:pt x="3844" y="631"/>
                    <a:pt x="3214" y="1"/>
                    <a:pt x="2490"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0" name="Google Shape;913;p32">
              <a:extLst>
                <a:ext uri="{FF2B5EF4-FFF2-40B4-BE49-F238E27FC236}">
                  <a16:creationId xmlns:a16="http://schemas.microsoft.com/office/drawing/2014/main" id="{EEA5ABAD-7FA8-F8C9-97C5-36DB1F740947}"/>
                </a:ext>
              </a:extLst>
            </p:cNvPr>
            <p:cNvSpPr/>
            <p:nvPr/>
          </p:nvSpPr>
          <p:spPr>
            <a:xfrm>
              <a:off x="2906575" y="2146650"/>
              <a:ext cx="191425" cy="69350"/>
            </a:xfrm>
            <a:custGeom>
              <a:avLst/>
              <a:gdLst/>
              <a:ahLst/>
              <a:cxnLst/>
              <a:rect l="l" t="t" r="r" b="b"/>
              <a:pathLst>
                <a:path w="7657" h="2774" extrusionOk="0">
                  <a:moveTo>
                    <a:pt x="1419" y="694"/>
                  </a:moveTo>
                  <a:lnTo>
                    <a:pt x="1419" y="2080"/>
                  </a:lnTo>
                  <a:lnTo>
                    <a:pt x="694" y="2080"/>
                  </a:lnTo>
                  <a:lnTo>
                    <a:pt x="694" y="694"/>
                  </a:lnTo>
                  <a:close/>
                  <a:moveTo>
                    <a:pt x="2773" y="694"/>
                  </a:moveTo>
                  <a:lnTo>
                    <a:pt x="2773" y="2080"/>
                  </a:lnTo>
                  <a:lnTo>
                    <a:pt x="2080" y="2080"/>
                  </a:lnTo>
                  <a:lnTo>
                    <a:pt x="2080" y="694"/>
                  </a:lnTo>
                  <a:close/>
                  <a:moveTo>
                    <a:pt x="4159" y="694"/>
                  </a:moveTo>
                  <a:lnTo>
                    <a:pt x="4159" y="2080"/>
                  </a:lnTo>
                  <a:lnTo>
                    <a:pt x="3466" y="2080"/>
                  </a:lnTo>
                  <a:lnTo>
                    <a:pt x="3466" y="694"/>
                  </a:lnTo>
                  <a:close/>
                  <a:moveTo>
                    <a:pt x="6995" y="694"/>
                  </a:moveTo>
                  <a:lnTo>
                    <a:pt x="6995" y="2080"/>
                  </a:lnTo>
                  <a:lnTo>
                    <a:pt x="4884" y="2080"/>
                  </a:lnTo>
                  <a:lnTo>
                    <a:pt x="4884" y="694"/>
                  </a:lnTo>
                  <a:close/>
                  <a:moveTo>
                    <a:pt x="347" y="1"/>
                  </a:moveTo>
                  <a:cubicBezTo>
                    <a:pt x="158" y="1"/>
                    <a:pt x="1" y="158"/>
                    <a:pt x="1" y="347"/>
                  </a:cubicBezTo>
                  <a:lnTo>
                    <a:pt x="1" y="2427"/>
                  </a:lnTo>
                  <a:cubicBezTo>
                    <a:pt x="1" y="2616"/>
                    <a:pt x="158" y="2773"/>
                    <a:pt x="347" y="2773"/>
                  </a:cubicBezTo>
                  <a:lnTo>
                    <a:pt x="7310" y="2773"/>
                  </a:lnTo>
                  <a:cubicBezTo>
                    <a:pt x="7499" y="2773"/>
                    <a:pt x="7657" y="2616"/>
                    <a:pt x="7657" y="2427"/>
                  </a:cubicBezTo>
                  <a:lnTo>
                    <a:pt x="7657" y="347"/>
                  </a:lnTo>
                  <a:cubicBezTo>
                    <a:pt x="7657" y="127"/>
                    <a:pt x="7499" y="1"/>
                    <a:pt x="7310"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1" name="Google Shape;914;p32">
              <a:extLst>
                <a:ext uri="{FF2B5EF4-FFF2-40B4-BE49-F238E27FC236}">
                  <a16:creationId xmlns:a16="http://schemas.microsoft.com/office/drawing/2014/main" id="{20874E86-D963-70C3-8C67-C58C92F21828}"/>
                </a:ext>
              </a:extLst>
            </p:cNvPr>
            <p:cNvSpPr/>
            <p:nvPr/>
          </p:nvSpPr>
          <p:spPr>
            <a:xfrm>
              <a:off x="2872725" y="2112000"/>
              <a:ext cx="295375" cy="137875"/>
            </a:xfrm>
            <a:custGeom>
              <a:avLst/>
              <a:gdLst/>
              <a:ahLst/>
              <a:cxnLst/>
              <a:rect l="l" t="t" r="r" b="b"/>
              <a:pathLst>
                <a:path w="11815" h="5515" extrusionOk="0">
                  <a:moveTo>
                    <a:pt x="11121" y="2080"/>
                  </a:moveTo>
                  <a:lnTo>
                    <a:pt x="11121" y="3466"/>
                  </a:lnTo>
                  <a:lnTo>
                    <a:pt x="10397" y="3466"/>
                  </a:lnTo>
                  <a:lnTo>
                    <a:pt x="10397" y="2080"/>
                  </a:lnTo>
                  <a:close/>
                  <a:moveTo>
                    <a:pt x="9389" y="662"/>
                  </a:moveTo>
                  <a:cubicBezTo>
                    <a:pt x="9578" y="662"/>
                    <a:pt x="9735" y="820"/>
                    <a:pt x="9735" y="1009"/>
                  </a:cubicBezTo>
                  <a:lnTo>
                    <a:pt x="9735" y="4474"/>
                  </a:lnTo>
                  <a:cubicBezTo>
                    <a:pt x="9735" y="4663"/>
                    <a:pt x="9578" y="4852"/>
                    <a:pt x="9389" y="4852"/>
                  </a:cubicBezTo>
                  <a:lnTo>
                    <a:pt x="1040" y="4852"/>
                  </a:lnTo>
                  <a:cubicBezTo>
                    <a:pt x="819" y="4852"/>
                    <a:pt x="662" y="4663"/>
                    <a:pt x="662" y="4474"/>
                  </a:cubicBezTo>
                  <a:lnTo>
                    <a:pt x="662" y="1009"/>
                  </a:lnTo>
                  <a:cubicBezTo>
                    <a:pt x="662" y="820"/>
                    <a:pt x="819" y="662"/>
                    <a:pt x="1040" y="662"/>
                  </a:cubicBezTo>
                  <a:close/>
                  <a:moveTo>
                    <a:pt x="1040" y="1"/>
                  </a:moveTo>
                  <a:cubicBezTo>
                    <a:pt x="441" y="1"/>
                    <a:pt x="0" y="473"/>
                    <a:pt x="0" y="1009"/>
                  </a:cubicBezTo>
                  <a:lnTo>
                    <a:pt x="0" y="4474"/>
                  </a:lnTo>
                  <a:cubicBezTo>
                    <a:pt x="0" y="5073"/>
                    <a:pt x="473" y="5514"/>
                    <a:pt x="1040" y="5514"/>
                  </a:cubicBezTo>
                  <a:lnTo>
                    <a:pt x="9357" y="5514"/>
                  </a:lnTo>
                  <a:cubicBezTo>
                    <a:pt x="9956" y="5514"/>
                    <a:pt x="10397" y="5041"/>
                    <a:pt x="10397" y="4474"/>
                  </a:cubicBezTo>
                  <a:lnTo>
                    <a:pt x="10397" y="4128"/>
                  </a:lnTo>
                  <a:lnTo>
                    <a:pt x="11436" y="4128"/>
                  </a:lnTo>
                  <a:cubicBezTo>
                    <a:pt x="11625" y="4128"/>
                    <a:pt x="11783" y="3970"/>
                    <a:pt x="11783" y="3781"/>
                  </a:cubicBezTo>
                  <a:lnTo>
                    <a:pt x="11783" y="1702"/>
                  </a:lnTo>
                  <a:cubicBezTo>
                    <a:pt x="11814" y="1513"/>
                    <a:pt x="11657" y="1387"/>
                    <a:pt x="11468" y="1387"/>
                  </a:cubicBezTo>
                  <a:lnTo>
                    <a:pt x="10397" y="1387"/>
                  </a:lnTo>
                  <a:lnTo>
                    <a:pt x="10397" y="1009"/>
                  </a:lnTo>
                  <a:cubicBezTo>
                    <a:pt x="10397" y="442"/>
                    <a:pt x="9924" y="1"/>
                    <a:pt x="9357" y="1"/>
                  </a:cubicBezTo>
                  <a:close/>
                </a:path>
              </a:pathLst>
            </a:custGeom>
            <a:solidFill>
              <a:schemeClr val="l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92" name="Group 91">
            <a:extLst>
              <a:ext uri="{FF2B5EF4-FFF2-40B4-BE49-F238E27FC236}">
                <a16:creationId xmlns:a16="http://schemas.microsoft.com/office/drawing/2014/main" id="{B461F074-2C89-BA38-465B-828C4689A603}"/>
              </a:ext>
            </a:extLst>
          </p:cNvPr>
          <p:cNvGrpSpPr>
            <a:grpSpLocks noChangeAspect="1"/>
          </p:cNvGrpSpPr>
          <p:nvPr/>
        </p:nvGrpSpPr>
        <p:grpSpPr>
          <a:xfrm>
            <a:off x="751589" y="5763818"/>
            <a:ext cx="314502" cy="274322"/>
            <a:chOff x="4764972" y="2911288"/>
            <a:chExt cx="450475" cy="392918"/>
          </a:xfrm>
          <a:solidFill>
            <a:schemeClr val="bg1"/>
          </a:solidFill>
        </p:grpSpPr>
        <p:sp>
          <p:nvSpPr>
            <p:cNvPr id="82" name="Google Shape;1514;p18">
              <a:extLst>
                <a:ext uri="{FF2B5EF4-FFF2-40B4-BE49-F238E27FC236}">
                  <a16:creationId xmlns:a16="http://schemas.microsoft.com/office/drawing/2014/main" id="{3D10D56D-D1C1-AFDC-5C9C-0FDD0C54E26F}"/>
                </a:ext>
              </a:extLst>
            </p:cNvPr>
            <p:cNvSpPr/>
            <p:nvPr/>
          </p:nvSpPr>
          <p:spPr>
            <a:xfrm>
              <a:off x="4764972" y="3057236"/>
              <a:ext cx="71601" cy="26673"/>
            </a:xfrm>
            <a:custGeom>
              <a:avLst/>
              <a:gdLst/>
              <a:ahLst/>
              <a:cxnLst/>
              <a:rect l="l" t="t" r="r" b="b"/>
              <a:pathLst>
                <a:path w="1616" h="602" extrusionOk="0">
                  <a:moveTo>
                    <a:pt x="285" y="0"/>
                  </a:moveTo>
                  <a:cubicBezTo>
                    <a:pt x="127" y="0"/>
                    <a:pt x="0" y="127"/>
                    <a:pt x="0" y="317"/>
                  </a:cubicBezTo>
                  <a:cubicBezTo>
                    <a:pt x="0" y="475"/>
                    <a:pt x="127" y="602"/>
                    <a:pt x="285" y="602"/>
                  </a:cubicBezTo>
                  <a:lnTo>
                    <a:pt x="1331" y="602"/>
                  </a:lnTo>
                  <a:cubicBezTo>
                    <a:pt x="1489" y="602"/>
                    <a:pt x="1616" y="475"/>
                    <a:pt x="1616" y="317"/>
                  </a:cubicBezTo>
                  <a:cubicBezTo>
                    <a:pt x="1616" y="127"/>
                    <a:pt x="1489" y="0"/>
                    <a:pt x="1331" y="0"/>
                  </a:cubicBezTo>
                  <a:close/>
                </a:path>
              </a:pathLst>
            </a:custGeom>
            <a:grpFill/>
            <a:ln w="3175">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3" name="Google Shape;1515;p18">
              <a:extLst>
                <a:ext uri="{FF2B5EF4-FFF2-40B4-BE49-F238E27FC236}">
                  <a16:creationId xmlns:a16="http://schemas.microsoft.com/office/drawing/2014/main" id="{D2E04D7E-D5ED-9350-B910-A2D173EBA9CC}"/>
                </a:ext>
              </a:extLst>
            </p:cNvPr>
            <p:cNvSpPr/>
            <p:nvPr/>
          </p:nvSpPr>
          <p:spPr>
            <a:xfrm>
              <a:off x="4767764" y="2978945"/>
              <a:ext cx="67392" cy="47453"/>
            </a:xfrm>
            <a:custGeom>
              <a:avLst/>
              <a:gdLst/>
              <a:ahLst/>
              <a:cxnLst/>
              <a:rect l="l" t="t" r="r" b="b"/>
              <a:pathLst>
                <a:path w="1521" h="1071" extrusionOk="0">
                  <a:moveTo>
                    <a:pt x="318" y="1"/>
                  </a:moveTo>
                  <a:cubicBezTo>
                    <a:pt x="196" y="1"/>
                    <a:pt x="79" y="66"/>
                    <a:pt x="32" y="184"/>
                  </a:cubicBezTo>
                  <a:cubicBezTo>
                    <a:pt x="1" y="247"/>
                    <a:pt x="1" y="310"/>
                    <a:pt x="1" y="405"/>
                  </a:cubicBezTo>
                  <a:cubicBezTo>
                    <a:pt x="32" y="469"/>
                    <a:pt x="96" y="532"/>
                    <a:pt x="159" y="564"/>
                  </a:cubicBezTo>
                  <a:lnTo>
                    <a:pt x="1078" y="1039"/>
                  </a:lnTo>
                  <a:cubicBezTo>
                    <a:pt x="1109" y="1070"/>
                    <a:pt x="1173" y="1070"/>
                    <a:pt x="1204" y="1070"/>
                  </a:cubicBezTo>
                  <a:cubicBezTo>
                    <a:pt x="1331" y="1070"/>
                    <a:pt x="1426" y="1007"/>
                    <a:pt x="1489" y="912"/>
                  </a:cubicBezTo>
                  <a:cubicBezTo>
                    <a:pt x="1521" y="849"/>
                    <a:pt x="1521" y="754"/>
                    <a:pt x="1489" y="690"/>
                  </a:cubicBezTo>
                  <a:cubicBezTo>
                    <a:pt x="1458" y="595"/>
                    <a:pt x="1426" y="532"/>
                    <a:pt x="1331" y="500"/>
                  </a:cubicBezTo>
                  <a:lnTo>
                    <a:pt x="444" y="25"/>
                  </a:lnTo>
                  <a:cubicBezTo>
                    <a:pt x="403" y="9"/>
                    <a:pt x="360" y="1"/>
                    <a:pt x="318" y="1"/>
                  </a:cubicBezTo>
                  <a:close/>
                </a:path>
              </a:pathLst>
            </a:custGeom>
            <a:grpFill/>
            <a:ln w="3175">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4" name="Google Shape;1516;p18">
              <a:extLst>
                <a:ext uri="{FF2B5EF4-FFF2-40B4-BE49-F238E27FC236}">
                  <a16:creationId xmlns:a16="http://schemas.microsoft.com/office/drawing/2014/main" id="{F32A9B61-CAD6-4B4E-A5DE-F3F04A859B28}"/>
                </a:ext>
              </a:extLst>
            </p:cNvPr>
            <p:cNvSpPr/>
            <p:nvPr/>
          </p:nvSpPr>
          <p:spPr>
            <a:xfrm>
              <a:off x="4783227" y="3110848"/>
              <a:ext cx="67392" cy="47453"/>
            </a:xfrm>
            <a:custGeom>
              <a:avLst/>
              <a:gdLst/>
              <a:ahLst/>
              <a:cxnLst/>
              <a:rect l="l" t="t" r="r" b="b"/>
              <a:pathLst>
                <a:path w="1521" h="1071" extrusionOk="0">
                  <a:moveTo>
                    <a:pt x="1208" y="0"/>
                  </a:moveTo>
                  <a:cubicBezTo>
                    <a:pt x="1164" y="0"/>
                    <a:pt x="1119" y="8"/>
                    <a:pt x="1077" y="25"/>
                  </a:cubicBezTo>
                  <a:lnTo>
                    <a:pt x="158" y="500"/>
                  </a:lnTo>
                  <a:cubicBezTo>
                    <a:pt x="95" y="532"/>
                    <a:pt x="32" y="595"/>
                    <a:pt x="32" y="659"/>
                  </a:cubicBezTo>
                  <a:cubicBezTo>
                    <a:pt x="0" y="754"/>
                    <a:pt x="0" y="817"/>
                    <a:pt x="32" y="912"/>
                  </a:cubicBezTo>
                  <a:cubicBezTo>
                    <a:pt x="95" y="1007"/>
                    <a:pt x="190" y="1070"/>
                    <a:pt x="317" y="1070"/>
                  </a:cubicBezTo>
                  <a:cubicBezTo>
                    <a:pt x="348" y="1070"/>
                    <a:pt x="412" y="1039"/>
                    <a:pt x="443" y="1039"/>
                  </a:cubicBezTo>
                  <a:lnTo>
                    <a:pt x="1362" y="564"/>
                  </a:lnTo>
                  <a:cubicBezTo>
                    <a:pt x="1425" y="532"/>
                    <a:pt x="1489" y="468"/>
                    <a:pt x="1489" y="405"/>
                  </a:cubicBezTo>
                  <a:cubicBezTo>
                    <a:pt x="1520" y="310"/>
                    <a:pt x="1520" y="247"/>
                    <a:pt x="1489" y="152"/>
                  </a:cubicBezTo>
                  <a:cubicBezTo>
                    <a:pt x="1442" y="59"/>
                    <a:pt x="1328" y="0"/>
                    <a:pt x="1208" y="0"/>
                  </a:cubicBezTo>
                  <a:close/>
                </a:path>
              </a:pathLst>
            </a:custGeom>
            <a:grpFill/>
            <a:ln w="3175">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5" name="Google Shape;1517;p18">
              <a:extLst>
                <a:ext uri="{FF2B5EF4-FFF2-40B4-BE49-F238E27FC236}">
                  <a16:creationId xmlns:a16="http://schemas.microsoft.com/office/drawing/2014/main" id="{203C20AC-A7A3-3391-0A86-6FE4580935AE}"/>
                </a:ext>
              </a:extLst>
            </p:cNvPr>
            <p:cNvSpPr/>
            <p:nvPr/>
          </p:nvSpPr>
          <p:spPr>
            <a:xfrm>
              <a:off x="5143846" y="3057236"/>
              <a:ext cx="71601" cy="26673"/>
            </a:xfrm>
            <a:custGeom>
              <a:avLst/>
              <a:gdLst/>
              <a:ahLst/>
              <a:cxnLst/>
              <a:rect l="l" t="t" r="r" b="b"/>
              <a:pathLst>
                <a:path w="1616" h="602" extrusionOk="0">
                  <a:moveTo>
                    <a:pt x="285" y="0"/>
                  </a:moveTo>
                  <a:cubicBezTo>
                    <a:pt x="127" y="0"/>
                    <a:pt x="0" y="127"/>
                    <a:pt x="0" y="317"/>
                  </a:cubicBezTo>
                  <a:cubicBezTo>
                    <a:pt x="0" y="475"/>
                    <a:pt x="127" y="602"/>
                    <a:pt x="285" y="602"/>
                  </a:cubicBezTo>
                  <a:lnTo>
                    <a:pt x="1330" y="602"/>
                  </a:lnTo>
                  <a:cubicBezTo>
                    <a:pt x="1489" y="602"/>
                    <a:pt x="1615" y="475"/>
                    <a:pt x="1615" y="317"/>
                  </a:cubicBezTo>
                  <a:cubicBezTo>
                    <a:pt x="1615" y="127"/>
                    <a:pt x="1489" y="0"/>
                    <a:pt x="1330" y="0"/>
                  </a:cubicBezTo>
                  <a:close/>
                </a:path>
              </a:pathLst>
            </a:custGeom>
            <a:grpFill/>
            <a:ln w="3175">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6" name="Google Shape;1518;p18">
              <a:extLst>
                <a:ext uri="{FF2B5EF4-FFF2-40B4-BE49-F238E27FC236}">
                  <a16:creationId xmlns:a16="http://schemas.microsoft.com/office/drawing/2014/main" id="{AF569FAF-9406-21A5-048D-FED1362E08C1}"/>
                </a:ext>
              </a:extLst>
            </p:cNvPr>
            <p:cNvSpPr/>
            <p:nvPr/>
          </p:nvSpPr>
          <p:spPr>
            <a:xfrm>
              <a:off x="5145219" y="2978945"/>
              <a:ext cx="67392" cy="47453"/>
            </a:xfrm>
            <a:custGeom>
              <a:avLst/>
              <a:gdLst/>
              <a:ahLst/>
              <a:cxnLst/>
              <a:rect l="l" t="t" r="r" b="b"/>
              <a:pathLst>
                <a:path w="1521" h="1071" extrusionOk="0">
                  <a:moveTo>
                    <a:pt x="1204" y="1"/>
                  </a:moveTo>
                  <a:cubicBezTo>
                    <a:pt x="1161" y="1"/>
                    <a:pt x="1118" y="9"/>
                    <a:pt x="1077" y="25"/>
                  </a:cubicBezTo>
                  <a:lnTo>
                    <a:pt x="159" y="500"/>
                  </a:lnTo>
                  <a:cubicBezTo>
                    <a:pt x="96" y="532"/>
                    <a:pt x="32" y="595"/>
                    <a:pt x="32" y="690"/>
                  </a:cubicBezTo>
                  <a:cubicBezTo>
                    <a:pt x="1" y="754"/>
                    <a:pt x="1" y="849"/>
                    <a:pt x="32" y="912"/>
                  </a:cubicBezTo>
                  <a:cubicBezTo>
                    <a:pt x="96" y="1007"/>
                    <a:pt x="191" y="1070"/>
                    <a:pt x="317" y="1070"/>
                  </a:cubicBezTo>
                  <a:cubicBezTo>
                    <a:pt x="349" y="1070"/>
                    <a:pt x="412" y="1070"/>
                    <a:pt x="444" y="1039"/>
                  </a:cubicBezTo>
                  <a:lnTo>
                    <a:pt x="1363" y="564"/>
                  </a:lnTo>
                  <a:cubicBezTo>
                    <a:pt x="1426" y="532"/>
                    <a:pt x="1489" y="469"/>
                    <a:pt x="1489" y="405"/>
                  </a:cubicBezTo>
                  <a:cubicBezTo>
                    <a:pt x="1521" y="310"/>
                    <a:pt x="1521" y="247"/>
                    <a:pt x="1489" y="184"/>
                  </a:cubicBezTo>
                  <a:cubicBezTo>
                    <a:pt x="1442" y="66"/>
                    <a:pt x="1326" y="1"/>
                    <a:pt x="1204" y="1"/>
                  </a:cubicBezTo>
                  <a:close/>
                </a:path>
              </a:pathLst>
            </a:custGeom>
            <a:grpFill/>
            <a:ln w="3175">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7" name="Google Shape;1519;p18">
              <a:extLst>
                <a:ext uri="{FF2B5EF4-FFF2-40B4-BE49-F238E27FC236}">
                  <a16:creationId xmlns:a16="http://schemas.microsoft.com/office/drawing/2014/main" id="{3CF93F94-C48D-B935-686D-3A9D1F5B32A4}"/>
                </a:ext>
              </a:extLst>
            </p:cNvPr>
            <p:cNvSpPr/>
            <p:nvPr/>
          </p:nvSpPr>
          <p:spPr>
            <a:xfrm>
              <a:off x="5129800" y="3110848"/>
              <a:ext cx="67392" cy="47453"/>
            </a:xfrm>
            <a:custGeom>
              <a:avLst/>
              <a:gdLst/>
              <a:ahLst/>
              <a:cxnLst/>
              <a:rect l="l" t="t" r="r" b="b"/>
              <a:pathLst>
                <a:path w="1521" h="1071" extrusionOk="0">
                  <a:moveTo>
                    <a:pt x="313" y="0"/>
                  </a:moveTo>
                  <a:cubicBezTo>
                    <a:pt x="193" y="0"/>
                    <a:pt x="78" y="59"/>
                    <a:pt x="32" y="152"/>
                  </a:cubicBezTo>
                  <a:cubicBezTo>
                    <a:pt x="0" y="247"/>
                    <a:pt x="0" y="310"/>
                    <a:pt x="0" y="405"/>
                  </a:cubicBezTo>
                  <a:cubicBezTo>
                    <a:pt x="32" y="468"/>
                    <a:pt x="95" y="532"/>
                    <a:pt x="159" y="564"/>
                  </a:cubicBezTo>
                  <a:lnTo>
                    <a:pt x="1077" y="1039"/>
                  </a:lnTo>
                  <a:cubicBezTo>
                    <a:pt x="1109" y="1039"/>
                    <a:pt x="1172" y="1070"/>
                    <a:pt x="1204" y="1070"/>
                  </a:cubicBezTo>
                  <a:cubicBezTo>
                    <a:pt x="1330" y="1070"/>
                    <a:pt x="1425" y="1007"/>
                    <a:pt x="1489" y="912"/>
                  </a:cubicBezTo>
                  <a:cubicBezTo>
                    <a:pt x="1520" y="817"/>
                    <a:pt x="1520" y="754"/>
                    <a:pt x="1489" y="659"/>
                  </a:cubicBezTo>
                  <a:cubicBezTo>
                    <a:pt x="1457" y="595"/>
                    <a:pt x="1425" y="532"/>
                    <a:pt x="1330" y="500"/>
                  </a:cubicBezTo>
                  <a:lnTo>
                    <a:pt x="444" y="25"/>
                  </a:lnTo>
                  <a:cubicBezTo>
                    <a:pt x="401" y="8"/>
                    <a:pt x="357" y="0"/>
                    <a:pt x="313" y="0"/>
                  </a:cubicBezTo>
                  <a:close/>
                </a:path>
              </a:pathLst>
            </a:custGeom>
            <a:grpFill/>
            <a:ln w="3175">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8" name="Google Shape;1520;p18">
              <a:extLst>
                <a:ext uri="{FF2B5EF4-FFF2-40B4-BE49-F238E27FC236}">
                  <a16:creationId xmlns:a16="http://schemas.microsoft.com/office/drawing/2014/main" id="{7767DF90-D3D8-EF37-81BA-B2E6EAEA7ECF}"/>
                </a:ext>
              </a:extLst>
            </p:cNvPr>
            <p:cNvSpPr/>
            <p:nvPr/>
          </p:nvSpPr>
          <p:spPr>
            <a:xfrm>
              <a:off x="4931967" y="3243860"/>
              <a:ext cx="119276" cy="22464"/>
            </a:xfrm>
            <a:custGeom>
              <a:avLst/>
              <a:gdLst/>
              <a:ahLst/>
              <a:cxnLst/>
              <a:rect l="l" t="t" r="r" b="b"/>
              <a:pathLst>
                <a:path w="2692" h="507" extrusionOk="0">
                  <a:moveTo>
                    <a:pt x="253" y="0"/>
                  </a:moveTo>
                  <a:cubicBezTo>
                    <a:pt x="127" y="0"/>
                    <a:pt x="0" y="127"/>
                    <a:pt x="0" y="253"/>
                  </a:cubicBezTo>
                  <a:cubicBezTo>
                    <a:pt x="0" y="412"/>
                    <a:pt x="127" y="507"/>
                    <a:pt x="253" y="507"/>
                  </a:cubicBezTo>
                  <a:lnTo>
                    <a:pt x="2439" y="507"/>
                  </a:lnTo>
                  <a:cubicBezTo>
                    <a:pt x="2597" y="507"/>
                    <a:pt x="2692" y="412"/>
                    <a:pt x="2692" y="253"/>
                  </a:cubicBezTo>
                  <a:cubicBezTo>
                    <a:pt x="2692" y="127"/>
                    <a:pt x="2597" y="0"/>
                    <a:pt x="2439" y="0"/>
                  </a:cubicBezTo>
                  <a:close/>
                </a:path>
              </a:pathLst>
            </a:custGeom>
            <a:grpFill/>
            <a:ln w="3175">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9" name="Google Shape;1521;p18">
              <a:extLst>
                <a:ext uri="{FF2B5EF4-FFF2-40B4-BE49-F238E27FC236}">
                  <a16:creationId xmlns:a16="http://schemas.microsoft.com/office/drawing/2014/main" id="{B85F5A54-2461-55F2-C6B1-7AF478CC4C00}"/>
                </a:ext>
              </a:extLst>
            </p:cNvPr>
            <p:cNvSpPr/>
            <p:nvPr/>
          </p:nvSpPr>
          <p:spPr>
            <a:xfrm>
              <a:off x="4951596" y="3281742"/>
              <a:ext cx="82811" cy="22464"/>
            </a:xfrm>
            <a:custGeom>
              <a:avLst/>
              <a:gdLst/>
              <a:ahLst/>
              <a:cxnLst/>
              <a:rect l="l" t="t" r="r" b="b"/>
              <a:pathLst>
                <a:path w="1869" h="507" extrusionOk="0">
                  <a:moveTo>
                    <a:pt x="254" y="0"/>
                  </a:moveTo>
                  <a:cubicBezTo>
                    <a:pt x="127" y="0"/>
                    <a:pt x="0" y="127"/>
                    <a:pt x="0" y="253"/>
                  </a:cubicBezTo>
                  <a:cubicBezTo>
                    <a:pt x="0" y="380"/>
                    <a:pt x="127" y="507"/>
                    <a:pt x="254" y="507"/>
                  </a:cubicBezTo>
                  <a:lnTo>
                    <a:pt x="1616" y="507"/>
                  </a:lnTo>
                  <a:cubicBezTo>
                    <a:pt x="1774" y="507"/>
                    <a:pt x="1869" y="380"/>
                    <a:pt x="1869" y="253"/>
                  </a:cubicBezTo>
                  <a:cubicBezTo>
                    <a:pt x="1869" y="127"/>
                    <a:pt x="1774" y="0"/>
                    <a:pt x="1616" y="0"/>
                  </a:cubicBezTo>
                  <a:close/>
                </a:path>
              </a:pathLst>
            </a:custGeom>
            <a:grpFill/>
            <a:ln w="3175">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0" name="Google Shape;1522;p18">
              <a:extLst>
                <a:ext uri="{FF2B5EF4-FFF2-40B4-BE49-F238E27FC236}">
                  <a16:creationId xmlns:a16="http://schemas.microsoft.com/office/drawing/2014/main" id="{A021C0E1-71C7-7388-9B15-F561605143AD}"/>
                </a:ext>
              </a:extLst>
            </p:cNvPr>
            <p:cNvSpPr/>
            <p:nvPr/>
          </p:nvSpPr>
          <p:spPr>
            <a:xfrm>
              <a:off x="4853366" y="2911288"/>
              <a:ext cx="276479" cy="322780"/>
            </a:xfrm>
            <a:custGeom>
              <a:avLst/>
              <a:gdLst/>
              <a:ahLst/>
              <a:cxnLst/>
              <a:rect l="l" t="t" r="r" b="b"/>
              <a:pathLst>
                <a:path w="6240" h="7285" extrusionOk="0">
                  <a:moveTo>
                    <a:pt x="3104" y="381"/>
                  </a:moveTo>
                  <a:cubicBezTo>
                    <a:pt x="4624" y="381"/>
                    <a:pt x="5859" y="1584"/>
                    <a:pt x="5859" y="3104"/>
                  </a:cubicBezTo>
                  <a:cubicBezTo>
                    <a:pt x="5859" y="3864"/>
                    <a:pt x="5543" y="4592"/>
                    <a:pt x="4973" y="5131"/>
                  </a:cubicBezTo>
                  <a:cubicBezTo>
                    <a:pt x="4466" y="5574"/>
                    <a:pt x="4149" y="6239"/>
                    <a:pt x="4118" y="6904"/>
                  </a:cubicBezTo>
                  <a:lnTo>
                    <a:pt x="2154" y="6904"/>
                  </a:lnTo>
                  <a:cubicBezTo>
                    <a:pt x="2091" y="6239"/>
                    <a:pt x="1774" y="5574"/>
                    <a:pt x="1267" y="5131"/>
                  </a:cubicBezTo>
                  <a:cubicBezTo>
                    <a:pt x="697" y="4592"/>
                    <a:pt x="381" y="3864"/>
                    <a:pt x="381" y="3104"/>
                  </a:cubicBezTo>
                  <a:cubicBezTo>
                    <a:pt x="381" y="1584"/>
                    <a:pt x="1616" y="381"/>
                    <a:pt x="3104" y="381"/>
                  </a:cubicBezTo>
                  <a:close/>
                  <a:moveTo>
                    <a:pt x="3136" y="0"/>
                  </a:moveTo>
                  <a:cubicBezTo>
                    <a:pt x="1394" y="0"/>
                    <a:pt x="1" y="1394"/>
                    <a:pt x="1" y="3104"/>
                  </a:cubicBezTo>
                  <a:cubicBezTo>
                    <a:pt x="1" y="3991"/>
                    <a:pt x="381" y="4814"/>
                    <a:pt x="1014" y="5416"/>
                  </a:cubicBezTo>
                  <a:cubicBezTo>
                    <a:pt x="1489" y="5828"/>
                    <a:pt x="1774" y="6461"/>
                    <a:pt x="1774" y="7094"/>
                  </a:cubicBezTo>
                  <a:cubicBezTo>
                    <a:pt x="1774" y="7221"/>
                    <a:pt x="1837" y="7284"/>
                    <a:pt x="1964" y="7284"/>
                  </a:cubicBezTo>
                  <a:lnTo>
                    <a:pt x="4276" y="7284"/>
                  </a:lnTo>
                  <a:cubicBezTo>
                    <a:pt x="4403" y="7284"/>
                    <a:pt x="4466" y="7221"/>
                    <a:pt x="4466" y="7094"/>
                  </a:cubicBezTo>
                  <a:cubicBezTo>
                    <a:pt x="4466" y="6461"/>
                    <a:pt x="4751" y="5828"/>
                    <a:pt x="5226" y="5416"/>
                  </a:cubicBezTo>
                  <a:cubicBezTo>
                    <a:pt x="5859" y="4814"/>
                    <a:pt x="6239" y="3991"/>
                    <a:pt x="6239" y="3104"/>
                  </a:cubicBezTo>
                  <a:cubicBezTo>
                    <a:pt x="6239" y="1394"/>
                    <a:pt x="4846" y="0"/>
                    <a:pt x="3136" y="0"/>
                  </a:cubicBezTo>
                  <a:close/>
                </a:path>
              </a:pathLst>
            </a:custGeom>
            <a:grpFill/>
            <a:ln w="3175">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1" name="Google Shape;1523;p18">
              <a:extLst>
                <a:ext uri="{FF2B5EF4-FFF2-40B4-BE49-F238E27FC236}">
                  <a16:creationId xmlns:a16="http://schemas.microsoft.com/office/drawing/2014/main" id="{104C51CE-CBBB-53F3-92A9-09068E5E7E46}"/>
                </a:ext>
              </a:extLst>
            </p:cNvPr>
            <p:cNvSpPr/>
            <p:nvPr/>
          </p:nvSpPr>
          <p:spPr>
            <a:xfrm>
              <a:off x="4884248" y="2970482"/>
              <a:ext cx="75810" cy="130264"/>
            </a:xfrm>
            <a:custGeom>
              <a:avLst/>
              <a:gdLst/>
              <a:ahLst/>
              <a:cxnLst/>
              <a:rect l="l" t="t" r="r" b="b"/>
              <a:pathLst>
                <a:path w="1711" h="2940" extrusionOk="0">
                  <a:moveTo>
                    <a:pt x="1447" y="1"/>
                  </a:moveTo>
                  <a:cubicBezTo>
                    <a:pt x="1418" y="1"/>
                    <a:pt x="1389" y="9"/>
                    <a:pt x="1362" y="26"/>
                  </a:cubicBezTo>
                  <a:cubicBezTo>
                    <a:pt x="349" y="565"/>
                    <a:pt x="0" y="1831"/>
                    <a:pt x="570" y="2813"/>
                  </a:cubicBezTo>
                  <a:cubicBezTo>
                    <a:pt x="602" y="2908"/>
                    <a:pt x="665" y="2940"/>
                    <a:pt x="760" y="2940"/>
                  </a:cubicBezTo>
                  <a:cubicBezTo>
                    <a:pt x="792" y="2940"/>
                    <a:pt x="824" y="2940"/>
                    <a:pt x="855" y="2908"/>
                  </a:cubicBezTo>
                  <a:cubicBezTo>
                    <a:pt x="950" y="2845"/>
                    <a:pt x="982" y="2718"/>
                    <a:pt x="950" y="2623"/>
                  </a:cubicBezTo>
                  <a:cubicBezTo>
                    <a:pt x="507" y="1831"/>
                    <a:pt x="792" y="850"/>
                    <a:pt x="1552" y="406"/>
                  </a:cubicBezTo>
                  <a:cubicBezTo>
                    <a:pt x="1679" y="343"/>
                    <a:pt x="1710" y="216"/>
                    <a:pt x="1647" y="121"/>
                  </a:cubicBezTo>
                  <a:cubicBezTo>
                    <a:pt x="1601" y="53"/>
                    <a:pt x="1523" y="1"/>
                    <a:pt x="1447" y="1"/>
                  </a:cubicBezTo>
                  <a:close/>
                </a:path>
              </a:pathLst>
            </a:custGeom>
            <a:grpFill/>
            <a:ln w="3175">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93" name="Google Shape;321;p18">
            <a:extLst>
              <a:ext uri="{FF2B5EF4-FFF2-40B4-BE49-F238E27FC236}">
                <a16:creationId xmlns:a16="http://schemas.microsoft.com/office/drawing/2014/main" id="{3E54FEC3-563B-9EAD-839C-127916A93D58}"/>
              </a:ext>
            </a:extLst>
          </p:cNvPr>
          <p:cNvSpPr/>
          <p:nvPr/>
        </p:nvSpPr>
        <p:spPr>
          <a:xfrm>
            <a:off x="751610" y="4050702"/>
            <a:ext cx="273850" cy="273875"/>
          </a:xfrm>
          <a:custGeom>
            <a:avLst/>
            <a:gdLst/>
            <a:ahLst/>
            <a:cxnLst/>
            <a:rect l="l" t="t" r="r" b="b"/>
            <a:pathLst>
              <a:path w="10954" h="10955" extrusionOk="0">
                <a:moveTo>
                  <a:pt x="5132" y="763"/>
                </a:moveTo>
                <a:lnTo>
                  <a:pt x="5132" y="2668"/>
                </a:lnTo>
                <a:cubicBezTo>
                  <a:pt x="4643" y="2679"/>
                  <a:pt x="4167" y="2727"/>
                  <a:pt x="3715" y="2810"/>
                </a:cubicBezTo>
                <a:cubicBezTo>
                  <a:pt x="4060" y="1715"/>
                  <a:pt x="4584" y="977"/>
                  <a:pt x="5132" y="763"/>
                </a:cubicBezTo>
                <a:close/>
                <a:moveTo>
                  <a:pt x="5822" y="763"/>
                </a:moveTo>
                <a:cubicBezTo>
                  <a:pt x="6370" y="977"/>
                  <a:pt x="6894" y="1715"/>
                  <a:pt x="7239" y="2810"/>
                </a:cubicBezTo>
                <a:cubicBezTo>
                  <a:pt x="6787" y="2727"/>
                  <a:pt x="6310" y="2679"/>
                  <a:pt x="5822" y="2668"/>
                </a:cubicBezTo>
                <a:lnTo>
                  <a:pt x="5822" y="763"/>
                </a:lnTo>
                <a:close/>
                <a:moveTo>
                  <a:pt x="3858" y="977"/>
                </a:moveTo>
                <a:cubicBezTo>
                  <a:pt x="3477" y="1489"/>
                  <a:pt x="3167" y="2167"/>
                  <a:pt x="2965" y="2965"/>
                </a:cubicBezTo>
                <a:cubicBezTo>
                  <a:pt x="2167" y="3180"/>
                  <a:pt x="1476" y="3477"/>
                  <a:pt x="976" y="3858"/>
                </a:cubicBezTo>
                <a:cubicBezTo>
                  <a:pt x="1453" y="2525"/>
                  <a:pt x="2512" y="1465"/>
                  <a:pt x="3858" y="977"/>
                </a:cubicBezTo>
                <a:close/>
                <a:moveTo>
                  <a:pt x="7096" y="977"/>
                </a:moveTo>
                <a:lnTo>
                  <a:pt x="7096" y="977"/>
                </a:lnTo>
                <a:cubicBezTo>
                  <a:pt x="8442" y="1465"/>
                  <a:pt x="9501" y="2525"/>
                  <a:pt x="9977" y="3858"/>
                </a:cubicBezTo>
                <a:cubicBezTo>
                  <a:pt x="9477" y="3477"/>
                  <a:pt x="8787" y="3180"/>
                  <a:pt x="7989" y="2965"/>
                </a:cubicBezTo>
                <a:cubicBezTo>
                  <a:pt x="7787" y="2167"/>
                  <a:pt x="7477" y="1489"/>
                  <a:pt x="7096" y="977"/>
                </a:cubicBezTo>
                <a:close/>
                <a:moveTo>
                  <a:pt x="2798" y="3715"/>
                </a:moveTo>
                <a:lnTo>
                  <a:pt x="2798" y="3715"/>
                </a:lnTo>
                <a:cubicBezTo>
                  <a:pt x="2727" y="4168"/>
                  <a:pt x="2679" y="4644"/>
                  <a:pt x="2667" y="5132"/>
                </a:cubicBezTo>
                <a:lnTo>
                  <a:pt x="762" y="5132"/>
                </a:lnTo>
                <a:cubicBezTo>
                  <a:pt x="976" y="4584"/>
                  <a:pt x="1703" y="4061"/>
                  <a:pt x="2798" y="3715"/>
                </a:cubicBezTo>
                <a:close/>
                <a:moveTo>
                  <a:pt x="5132" y="3358"/>
                </a:moveTo>
                <a:lnTo>
                  <a:pt x="5132" y="5132"/>
                </a:lnTo>
                <a:lnTo>
                  <a:pt x="3346" y="5132"/>
                </a:lnTo>
                <a:cubicBezTo>
                  <a:pt x="3369" y="4561"/>
                  <a:pt x="3429" y="4013"/>
                  <a:pt x="3524" y="3537"/>
                </a:cubicBezTo>
                <a:cubicBezTo>
                  <a:pt x="4012" y="3430"/>
                  <a:pt x="4560" y="3370"/>
                  <a:pt x="5132" y="3358"/>
                </a:cubicBezTo>
                <a:close/>
                <a:moveTo>
                  <a:pt x="5822" y="3358"/>
                </a:moveTo>
                <a:cubicBezTo>
                  <a:pt x="6394" y="3370"/>
                  <a:pt x="6941" y="3430"/>
                  <a:pt x="7430" y="3537"/>
                </a:cubicBezTo>
                <a:cubicBezTo>
                  <a:pt x="7525" y="4013"/>
                  <a:pt x="7584" y="4561"/>
                  <a:pt x="7608" y="5132"/>
                </a:cubicBezTo>
                <a:lnTo>
                  <a:pt x="5822" y="5132"/>
                </a:lnTo>
                <a:lnTo>
                  <a:pt x="5822" y="3358"/>
                </a:lnTo>
                <a:close/>
                <a:moveTo>
                  <a:pt x="8156" y="3715"/>
                </a:moveTo>
                <a:lnTo>
                  <a:pt x="8156" y="3715"/>
                </a:lnTo>
                <a:cubicBezTo>
                  <a:pt x="9251" y="4061"/>
                  <a:pt x="9977" y="4584"/>
                  <a:pt x="10192" y="5132"/>
                </a:cubicBezTo>
                <a:lnTo>
                  <a:pt x="8287" y="5132"/>
                </a:lnTo>
                <a:cubicBezTo>
                  <a:pt x="8275" y="4644"/>
                  <a:pt x="8227" y="4168"/>
                  <a:pt x="8156" y="3715"/>
                </a:cubicBezTo>
                <a:close/>
                <a:moveTo>
                  <a:pt x="2667" y="5823"/>
                </a:moveTo>
                <a:cubicBezTo>
                  <a:pt x="2679" y="6323"/>
                  <a:pt x="2727" y="6799"/>
                  <a:pt x="2798" y="7240"/>
                </a:cubicBezTo>
                <a:cubicBezTo>
                  <a:pt x="1703" y="6906"/>
                  <a:pt x="976" y="6370"/>
                  <a:pt x="762" y="5823"/>
                </a:cubicBezTo>
                <a:close/>
                <a:moveTo>
                  <a:pt x="10192" y="5823"/>
                </a:moveTo>
                <a:cubicBezTo>
                  <a:pt x="9977" y="6370"/>
                  <a:pt x="9251" y="6906"/>
                  <a:pt x="8156" y="7240"/>
                </a:cubicBezTo>
                <a:cubicBezTo>
                  <a:pt x="8227" y="6799"/>
                  <a:pt x="8275" y="6323"/>
                  <a:pt x="8287" y="5823"/>
                </a:cubicBezTo>
                <a:close/>
                <a:moveTo>
                  <a:pt x="5132" y="5823"/>
                </a:moveTo>
                <a:lnTo>
                  <a:pt x="5132" y="7609"/>
                </a:lnTo>
                <a:cubicBezTo>
                  <a:pt x="4560" y="7585"/>
                  <a:pt x="4012" y="7525"/>
                  <a:pt x="3524" y="7430"/>
                </a:cubicBezTo>
                <a:cubicBezTo>
                  <a:pt x="3429" y="6942"/>
                  <a:pt x="3369" y="6406"/>
                  <a:pt x="3346" y="5823"/>
                </a:cubicBezTo>
                <a:close/>
                <a:moveTo>
                  <a:pt x="7608" y="5823"/>
                </a:moveTo>
                <a:cubicBezTo>
                  <a:pt x="7584" y="6406"/>
                  <a:pt x="7525" y="6942"/>
                  <a:pt x="7430" y="7430"/>
                </a:cubicBezTo>
                <a:cubicBezTo>
                  <a:pt x="6941" y="7525"/>
                  <a:pt x="6394" y="7585"/>
                  <a:pt x="5822" y="7609"/>
                </a:cubicBezTo>
                <a:lnTo>
                  <a:pt x="5822" y="5823"/>
                </a:lnTo>
                <a:close/>
                <a:moveTo>
                  <a:pt x="976" y="7097"/>
                </a:moveTo>
                <a:lnTo>
                  <a:pt x="976" y="7097"/>
                </a:lnTo>
                <a:cubicBezTo>
                  <a:pt x="1476" y="7478"/>
                  <a:pt x="2167" y="7787"/>
                  <a:pt x="2965" y="7990"/>
                </a:cubicBezTo>
                <a:cubicBezTo>
                  <a:pt x="3167" y="8799"/>
                  <a:pt x="3477" y="9478"/>
                  <a:pt x="3858" y="9978"/>
                </a:cubicBezTo>
                <a:cubicBezTo>
                  <a:pt x="2512" y="9502"/>
                  <a:pt x="1453" y="8442"/>
                  <a:pt x="976" y="7097"/>
                </a:cubicBezTo>
                <a:close/>
                <a:moveTo>
                  <a:pt x="9977" y="7097"/>
                </a:moveTo>
                <a:cubicBezTo>
                  <a:pt x="9501" y="8442"/>
                  <a:pt x="8442" y="9502"/>
                  <a:pt x="7096" y="9978"/>
                </a:cubicBezTo>
                <a:cubicBezTo>
                  <a:pt x="7477" y="9478"/>
                  <a:pt x="7787" y="8799"/>
                  <a:pt x="7989" y="7990"/>
                </a:cubicBezTo>
                <a:cubicBezTo>
                  <a:pt x="8787" y="7787"/>
                  <a:pt x="9477" y="7478"/>
                  <a:pt x="9977" y="7097"/>
                </a:cubicBezTo>
                <a:close/>
                <a:moveTo>
                  <a:pt x="3715" y="8156"/>
                </a:moveTo>
                <a:cubicBezTo>
                  <a:pt x="4167" y="8228"/>
                  <a:pt x="4643" y="8275"/>
                  <a:pt x="5132" y="8287"/>
                </a:cubicBezTo>
                <a:lnTo>
                  <a:pt x="5132" y="10192"/>
                </a:lnTo>
                <a:cubicBezTo>
                  <a:pt x="4584" y="9978"/>
                  <a:pt x="4060" y="9252"/>
                  <a:pt x="3715" y="8156"/>
                </a:cubicBezTo>
                <a:close/>
                <a:moveTo>
                  <a:pt x="7239" y="8156"/>
                </a:moveTo>
                <a:cubicBezTo>
                  <a:pt x="6894" y="9252"/>
                  <a:pt x="6370" y="9978"/>
                  <a:pt x="5822" y="10204"/>
                </a:cubicBezTo>
                <a:lnTo>
                  <a:pt x="5822" y="8287"/>
                </a:lnTo>
                <a:cubicBezTo>
                  <a:pt x="6310" y="8275"/>
                  <a:pt x="6787" y="8228"/>
                  <a:pt x="7239" y="8156"/>
                </a:cubicBezTo>
                <a:close/>
                <a:moveTo>
                  <a:pt x="5477" y="1"/>
                </a:moveTo>
                <a:cubicBezTo>
                  <a:pt x="2453" y="1"/>
                  <a:pt x="0" y="2465"/>
                  <a:pt x="0" y="5477"/>
                </a:cubicBezTo>
                <a:cubicBezTo>
                  <a:pt x="0" y="8502"/>
                  <a:pt x="2453" y="10954"/>
                  <a:pt x="5477" y="10954"/>
                </a:cubicBezTo>
                <a:cubicBezTo>
                  <a:pt x="8501" y="10954"/>
                  <a:pt x="10954" y="8502"/>
                  <a:pt x="10954" y="5477"/>
                </a:cubicBezTo>
                <a:cubicBezTo>
                  <a:pt x="10954" y="2465"/>
                  <a:pt x="8501" y="1"/>
                  <a:pt x="5477" y="1"/>
                </a:cubicBezTo>
                <a:close/>
              </a:path>
            </a:pathLst>
          </a:custGeom>
          <a:solidFill>
            <a:schemeClr val="bg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123" name="Google Shape;7649;p99">
            <a:extLst>
              <a:ext uri="{FF2B5EF4-FFF2-40B4-BE49-F238E27FC236}">
                <a16:creationId xmlns:a16="http://schemas.microsoft.com/office/drawing/2014/main" id="{236F99E2-658C-562B-794E-74D56C9BCD92}"/>
              </a:ext>
            </a:extLst>
          </p:cNvPr>
          <p:cNvGrpSpPr>
            <a:grpSpLocks noChangeAspect="1"/>
          </p:cNvGrpSpPr>
          <p:nvPr/>
        </p:nvGrpSpPr>
        <p:grpSpPr>
          <a:xfrm>
            <a:off x="751610" y="4907830"/>
            <a:ext cx="296135" cy="274319"/>
            <a:chOff x="4266025" y="3609275"/>
            <a:chExt cx="299325" cy="277275"/>
          </a:xfrm>
          <a:solidFill>
            <a:schemeClr val="bg1"/>
          </a:solidFill>
        </p:grpSpPr>
        <p:sp>
          <p:nvSpPr>
            <p:cNvPr id="124" name="Google Shape;7650;p99">
              <a:extLst>
                <a:ext uri="{FF2B5EF4-FFF2-40B4-BE49-F238E27FC236}">
                  <a16:creationId xmlns:a16="http://schemas.microsoft.com/office/drawing/2014/main" id="{A708DE56-59D4-6BA4-3C71-0508F37F44E5}"/>
                </a:ext>
              </a:extLst>
            </p:cNvPr>
            <p:cNvSpPr/>
            <p:nvPr/>
          </p:nvSpPr>
          <p:spPr>
            <a:xfrm>
              <a:off x="4266025" y="3609275"/>
              <a:ext cx="299325" cy="224500"/>
            </a:xfrm>
            <a:custGeom>
              <a:avLst/>
              <a:gdLst/>
              <a:ahLst/>
              <a:cxnLst/>
              <a:rect l="l" t="t" r="r" b="b"/>
              <a:pathLst>
                <a:path w="11973" h="8980" extrusionOk="0">
                  <a:moveTo>
                    <a:pt x="2017" y="3749"/>
                  </a:moveTo>
                  <a:lnTo>
                    <a:pt x="3119" y="5514"/>
                  </a:lnTo>
                  <a:lnTo>
                    <a:pt x="914" y="5514"/>
                  </a:lnTo>
                  <a:lnTo>
                    <a:pt x="2017" y="3749"/>
                  </a:lnTo>
                  <a:close/>
                  <a:moveTo>
                    <a:pt x="9641" y="3749"/>
                  </a:moveTo>
                  <a:lnTo>
                    <a:pt x="10744" y="5514"/>
                  </a:lnTo>
                  <a:lnTo>
                    <a:pt x="8538" y="5514"/>
                  </a:lnTo>
                  <a:lnTo>
                    <a:pt x="9641" y="3749"/>
                  </a:lnTo>
                  <a:close/>
                  <a:moveTo>
                    <a:pt x="5892" y="0"/>
                  </a:moveTo>
                  <a:cubicBezTo>
                    <a:pt x="5325" y="0"/>
                    <a:pt x="4852" y="473"/>
                    <a:pt x="4852" y="1040"/>
                  </a:cubicBezTo>
                  <a:lnTo>
                    <a:pt x="4852" y="1166"/>
                  </a:lnTo>
                  <a:lnTo>
                    <a:pt x="4537" y="1324"/>
                  </a:lnTo>
                  <a:cubicBezTo>
                    <a:pt x="3812" y="1733"/>
                    <a:pt x="3529" y="1891"/>
                    <a:pt x="3025" y="1954"/>
                  </a:cubicBezTo>
                  <a:cubicBezTo>
                    <a:pt x="2867" y="1607"/>
                    <a:pt x="2521" y="1324"/>
                    <a:pt x="2080" y="1324"/>
                  </a:cubicBezTo>
                  <a:cubicBezTo>
                    <a:pt x="1702" y="1324"/>
                    <a:pt x="1324" y="1576"/>
                    <a:pt x="1166" y="1922"/>
                  </a:cubicBezTo>
                  <a:cubicBezTo>
                    <a:pt x="946" y="1891"/>
                    <a:pt x="693" y="1796"/>
                    <a:pt x="504" y="1733"/>
                  </a:cubicBezTo>
                  <a:cubicBezTo>
                    <a:pt x="454" y="1708"/>
                    <a:pt x="403" y="1696"/>
                    <a:pt x="355" y="1696"/>
                  </a:cubicBezTo>
                  <a:cubicBezTo>
                    <a:pt x="223" y="1696"/>
                    <a:pt x="110" y="1784"/>
                    <a:pt x="63" y="1922"/>
                  </a:cubicBezTo>
                  <a:cubicBezTo>
                    <a:pt x="0" y="2111"/>
                    <a:pt x="63" y="2332"/>
                    <a:pt x="252" y="2363"/>
                  </a:cubicBezTo>
                  <a:cubicBezTo>
                    <a:pt x="536" y="2489"/>
                    <a:pt x="820" y="2552"/>
                    <a:pt x="1135" y="2615"/>
                  </a:cubicBezTo>
                  <a:cubicBezTo>
                    <a:pt x="1198" y="2867"/>
                    <a:pt x="1387" y="3119"/>
                    <a:pt x="1607" y="3277"/>
                  </a:cubicBezTo>
                  <a:lnTo>
                    <a:pt x="95" y="5671"/>
                  </a:lnTo>
                  <a:cubicBezTo>
                    <a:pt x="95" y="5703"/>
                    <a:pt x="63" y="5829"/>
                    <a:pt x="63" y="5860"/>
                  </a:cubicBezTo>
                  <a:lnTo>
                    <a:pt x="63" y="6238"/>
                  </a:lnTo>
                  <a:cubicBezTo>
                    <a:pt x="63" y="7372"/>
                    <a:pt x="1009" y="8318"/>
                    <a:pt x="2143" y="8318"/>
                  </a:cubicBezTo>
                  <a:cubicBezTo>
                    <a:pt x="3308" y="8318"/>
                    <a:pt x="4254" y="7372"/>
                    <a:pt x="4254" y="6238"/>
                  </a:cubicBezTo>
                  <a:lnTo>
                    <a:pt x="4254" y="5860"/>
                  </a:lnTo>
                  <a:cubicBezTo>
                    <a:pt x="4254" y="5829"/>
                    <a:pt x="4191" y="5703"/>
                    <a:pt x="4191" y="5671"/>
                  </a:cubicBezTo>
                  <a:lnTo>
                    <a:pt x="2710" y="3277"/>
                  </a:lnTo>
                  <a:cubicBezTo>
                    <a:pt x="2930" y="3151"/>
                    <a:pt x="3088" y="2930"/>
                    <a:pt x="3182" y="2647"/>
                  </a:cubicBezTo>
                  <a:cubicBezTo>
                    <a:pt x="3844" y="2521"/>
                    <a:pt x="4191" y="2363"/>
                    <a:pt x="4947" y="1922"/>
                  </a:cubicBezTo>
                  <a:lnTo>
                    <a:pt x="4947" y="8979"/>
                  </a:lnTo>
                  <a:lnTo>
                    <a:pt x="7089" y="8979"/>
                  </a:lnTo>
                  <a:lnTo>
                    <a:pt x="7089" y="1922"/>
                  </a:lnTo>
                  <a:cubicBezTo>
                    <a:pt x="7814" y="2332"/>
                    <a:pt x="8192" y="2521"/>
                    <a:pt x="8853" y="2647"/>
                  </a:cubicBezTo>
                  <a:cubicBezTo>
                    <a:pt x="8916" y="2899"/>
                    <a:pt x="9074" y="3119"/>
                    <a:pt x="9326" y="3277"/>
                  </a:cubicBezTo>
                  <a:lnTo>
                    <a:pt x="7814" y="5671"/>
                  </a:lnTo>
                  <a:cubicBezTo>
                    <a:pt x="7814" y="5703"/>
                    <a:pt x="7782" y="5829"/>
                    <a:pt x="7782" y="5860"/>
                  </a:cubicBezTo>
                  <a:lnTo>
                    <a:pt x="7782" y="6238"/>
                  </a:lnTo>
                  <a:cubicBezTo>
                    <a:pt x="7782" y="7372"/>
                    <a:pt x="8727" y="8318"/>
                    <a:pt x="9861" y="8318"/>
                  </a:cubicBezTo>
                  <a:cubicBezTo>
                    <a:pt x="11027" y="8318"/>
                    <a:pt x="11972" y="7372"/>
                    <a:pt x="11972" y="6238"/>
                  </a:cubicBezTo>
                  <a:lnTo>
                    <a:pt x="11972" y="5860"/>
                  </a:lnTo>
                  <a:cubicBezTo>
                    <a:pt x="11972" y="5829"/>
                    <a:pt x="11909" y="5703"/>
                    <a:pt x="11909" y="5671"/>
                  </a:cubicBezTo>
                  <a:lnTo>
                    <a:pt x="10429" y="3277"/>
                  </a:lnTo>
                  <a:cubicBezTo>
                    <a:pt x="10429" y="3151"/>
                    <a:pt x="10618" y="2930"/>
                    <a:pt x="10681" y="2615"/>
                  </a:cubicBezTo>
                  <a:cubicBezTo>
                    <a:pt x="10933" y="2521"/>
                    <a:pt x="11248" y="2458"/>
                    <a:pt x="11531" y="2363"/>
                  </a:cubicBezTo>
                  <a:cubicBezTo>
                    <a:pt x="11720" y="2300"/>
                    <a:pt x="11815" y="2080"/>
                    <a:pt x="11720" y="1922"/>
                  </a:cubicBezTo>
                  <a:cubicBezTo>
                    <a:pt x="11674" y="1784"/>
                    <a:pt x="11560" y="1696"/>
                    <a:pt x="11429" y="1696"/>
                  </a:cubicBezTo>
                  <a:cubicBezTo>
                    <a:pt x="11380" y="1696"/>
                    <a:pt x="11330" y="1708"/>
                    <a:pt x="11279" y="1733"/>
                  </a:cubicBezTo>
                  <a:cubicBezTo>
                    <a:pt x="11059" y="1796"/>
                    <a:pt x="10870" y="1891"/>
                    <a:pt x="10618" y="1922"/>
                  </a:cubicBezTo>
                  <a:cubicBezTo>
                    <a:pt x="10460" y="1576"/>
                    <a:pt x="10113" y="1324"/>
                    <a:pt x="9704" y="1324"/>
                  </a:cubicBezTo>
                  <a:cubicBezTo>
                    <a:pt x="9294" y="1324"/>
                    <a:pt x="8916" y="1576"/>
                    <a:pt x="8790" y="1954"/>
                  </a:cubicBezTo>
                  <a:cubicBezTo>
                    <a:pt x="8255" y="1891"/>
                    <a:pt x="8003" y="1733"/>
                    <a:pt x="7278" y="1324"/>
                  </a:cubicBezTo>
                  <a:lnTo>
                    <a:pt x="6963" y="1166"/>
                  </a:lnTo>
                  <a:lnTo>
                    <a:pt x="6963" y="1040"/>
                  </a:lnTo>
                  <a:cubicBezTo>
                    <a:pt x="6963" y="441"/>
                    <a:pt x="6490" y="0"/>
                    <a:pt x="5892"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5" name="Google Shape;7651;p99">
              <a:extLst>
                <a:ext uri="{FF2B5EF4-FFF2-40B4-BE49-F238E27FC236}">
                  <a16:creationId xmlns:a16="http://schemas.microsoft.com/office/drawing/2014/main" id="{0B7FA366-43A1-5AD7-FF43-F988DCB9857A}"/>
                </a:ext>
              </a:extLst>
            </p:cNvPr>
            <p:cNvSpPr/>
            <p:nvPr/>
          </p:nvSpPr>
          <p:spPr>
            <a:xfrm>
              <a:off x="4332975" y="3851850"/>
              <a:ext cx="157550" cy="34700"/>
            </a:xfrm>
            <a:custGeom>
              <a:avLst/>
              <a:gdLst/>
              <a:ahLst/>
              <a:cxnLst/>
              <a:rect l="l" t="t" r="r" b="b"/>
              <a:pathLst>
                <a:path w="6302" h="1388" extrusionOk="0">
                  <a:moveTo>
                    <a:pt x="693" y="1"/>
                  </a:moveTo>
                  <a:cubicBezTo>
                    <a:pt x="315" y="1"/>
                    <a:pt x="0" y="316"/>
                    <a:pt x="0" y="694"/>
                  </a:cubicBezTo>
                  <a:lnTo>
                    <a:pt x="0" y="1040"/>
                  </a:lnTo>
                  <a:cubicBezTo>
                    <a:pt x="0" y="1261"/>
                    <a:pt x="158" y="1387"/>
                    <a:pt x="347" y="1387"/>
                  </a:cubicBezTo>
                  <a:lnTo>
                    <a:pt x="5955" y="1387"/>
                  </a:lnTo>
                  <a:cubicBezTo>
                    <a:pt x="6144" y="1356"/>
                    <a:pt x="6301" y="1198"/>
                    <a:pt x="6301" y="1040"/>
                  </a:cubicBezTo>
                  <a:lnTo>
                    <a:pt x="6301" y="694"/>
                  </a:lnTo>
                  <a:cubicBezTo>
                    <a:pt x="6301" y="316"/>
                    <a:pt x="5986" y="1"/>
                    <a:pt x="5577" y="1"/>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3" name="TextBox 2">
            <a:extLst>
              <a:ext uri="{FF2B5EF4-FFF2-40B4-BE49-F238E27FC236}">
                <a16:creationId xmlns:a16="http://schemas.microsoft.com/office/drawing/2014/main" id="{F6E540DE-92B8-3B89-009C-E1E536C4A770}"/>
              </a:ext>
            </a:extLst>
          </p:cNvPr>
          <p:cNvSpPr txBox="1">
            <a:spLocks/>
          </p:cNvSpPr>
          <p:nvPr/>
        </p:nvSpPr>
        <p:spPr>
          <a:xfrm>
            <a:off x="4466322" y="954215"/>
            <a:ext cx="7411733" cy="984885"/>
          </a:xfrm>
          <a:prstGeom prst="rect">
            <a:avLst/>
          </a:prstGeom>
        </p:spPr>
        <p:txBody>
          <a:bodyPr vert="horz" wrap="square" lIns="0" tIns="0" rIns="0" bIns="0" rtlCol="0" anchor="ctr" anchorCtr="0">
            <a:spAutoFit/>
          </a:bodyPr>
          <a:lstStyle>
            <a:defPPr>
              <a:defRPr lang="en-US"/>
            </a:defPPr>
            <a:lvl1pPr marR="0" lvl="0" indent="0" defTabSz="895327" fontAlgn="auto">
              <a:lnSpc>
                <a:spcPct val="100000"/>
              </a:lnSpc>
              <a:spcBef>
                <a:spcPts val="0"/>
              </a:spcBef>
              <a:spcAft>
                <a:spcPts val="0"/>
              </a:spcAft>
              <a:buClrTx/>
              <a:buSzTx/>
              <a:buFontTx/>
              <a:buNone/>
              <a:tabLst/>
              <a:defRPr kumimoji="0" sz="1200" b="1" i="0" u="none" strike="noStrike" kern="0" cap="none" spc="0" normalizeH="0" baseline="0">
                <a:ln>
                  <a:noFill/>
                </a:ln>
                <a:solidFill>
                  <a:srgbClr val="00338D"/>
                </a:solidFill>
                <a:effectLst/>
                <a:uLnTx/>
                <a:uFillTx/>
                <a:latin typeface="Arial" panose="020B0604020202020204" pitchFamily="34" charset="0"/>
                <a:cs typeface="Arial" panose="020B0604020202020204" pitchFamily="34" charset="0"/>
              </a:defRPr>
            </a:lvl1pPr>
          </a:lstStyle>
          <a:p>
            <a:pPr marL="0" marR="0" lvl="0" indent="0" algn="l" defTabSz="895327"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1E49E2"/>
                </a:solidFill>
                <a:effectLst/>
                <a:uLnTx/>
                <a:uFillTx/>
                <a:latin typeface="KPMG Bold"/>
                <a:ea typeface="+mn-ea"/>
                <a:cs typeface="Cairo" pitchFamily="2" charset="-78"/>
              </a:rPr>
              <a:t>Our approach will support </a:t>
            </a:r>
            <a:r>
              <a:rPr lang="en-US" sz="3200">
                <a:solidFill>
                  <a:srgbClr val="1E49E2"/>
                </a:solidFill>
                <a:latin typeface="KPMG Bold"/>
                <a:cs typeface="Cairo" pitchFamily="2" charset="-78"/>
              </a:rPr>
              <a:t>Cigna</a:t>
            </a:r>
            <a:r>
              <a:rPr kumimoji="0" lang="en-US" sz="3200" b="1" i="0" u="none" strike="noStrike" kern="0" cap="none" spc="0" normalizeH="0" baseline="0" noProof="0">
                <a:ln>
                  <a:noFill/>
                </a:ln>
                <a:solidFill>
                  <a:srgbClr val="1E49E2"/>
                </a:solidFill>
                <a:effectLst/>
                <a:uLnTx/>
                <a:uFillTx/>
                <a:latin typeface="KPMG Bold"/>
                <a:ea typeface="+mn-ea"/>
                <a:cs typeface="Cairo" pitchFamily="2" charset="-78"/>
              </a:rPr>
              <a:t> in achieving your objectives through the following 3 phases </a:t>
            </a:r>
            <a:endParaRPr kumimoji="0" lang="ar-JO" sz="3200" b="1" i="0" u="none" strike="noStrike" kern="0" cap="none" spc="0" normalizeH="0" baseline="0" noProof="0">
              <a:ln>
                <a:noFill/>
              </a:ln>
              <a:solidFill>
                <a:srgbClr val="1E49E2"/>
              </a:solidFill>
              <a:effectLst/>
              <a:uLnTx/>
              <a:uFillTx/>
              <a:latin typeface="KPMG Bold"/>
              <a:ea typeface="+mn-ea"/>
              <a:cs typeface="Cairo" pitchFamily="2" charset="-78"/>
            </a:endParaRPr>
          </a:p>
        </p:txBody>
      </p:sp>
      <p:grpSp>
        <p:nvGrpSpPr>
          <p:cNvPr id="10" name="Graphic 4">
            <a:extLst>
              <a:ext uri="{FF2B5EF4-FFF2-40B4-BE49-F238E27FC236}">
                <a16:creationId xmlns:a16="http://schemas.microsoft.com/office/drawing/2014/main" id="{38AEAE77-7B25-AB2B-F398-FBF2A423C79C}"/>
              </a:ext>
            </a:extLst>
          </p:cNvPr>
          <p:cNvGrpSpPr>
            <a:grpSpLocks/>
          </p:cNvGrpSpPr>
          <p:nvPr/>
        </p:nvGrpSpPr>
        <p:grpSpPr>
          <a:xfrm flipH="1">
            <a:off x="4440778" y="737410"/>
            <a:ext cx="275205" cy="289566"/>
            <a:chOff x="3211097" y="2800476"/>
            <a:chExt cx="791045" cy="832329"/>
          </a:xfrm>
          <a:solidFill>
            <a:schemeClr val="accent1"/>
          </a:solidFill>
        </p:grpSpPr>
        <p:sp>
          <p:nvSpPr>
            <p:cNvPr id="11" name="Freeform: Shape 10">
              <a:extLst>
                <a:ext uri="{FF2B5EF4-FFF2-40B4-BE49-F238E27FC236}">
                  <a16:creationId xmlns:a16="http://schemas.microsoft.com/office/drawing/2014/main" id="{612F6B43-6730-47D4-70CF-4C2CEB478ACC}"/>
                </a:ext>
              </a:extLst>
            </p:cNvPr>
            <p:cNvSpPr>
              <a:spLocks/>
            </p:cNvSpPr>
            <p:nvPr/>
          </p:nvSpPr>
          <p:spPr>
            <a:xfrm>
              <a:off x="3569306" y="3423532"/>
              <a:ext cx="299475" cy="209273"/>
            </a:xfrm>
            <a:custGeom>
              <a:avLst/>
              <a:gdLst>
                <a:gd name="connsiteX0" fmla="*/ 14449 w 299475"/>
                <a:gd name="connsiteY0" fmla="*/ 209273 h 209273"/>
                <a:gd name="connsiteX1" fmla="*/ 7621 w 299475"/>
                <a:gd name="connsiteY1" fmla="*/ 207527 h 209273"/>
                <a:gd name="connsiteX2" fmla="*/ 0 w 299475"/>
                <a:gd name="connsiteY2" fmla="*/ 194824 h 209273"/>
                <a:gd name="connsiteX3" fmla="*/ 0 w 299475"/>
                <a:gd name="connsiteY3" fmla="*/ 73198 h 209273"/>
                <a:gd name="connsiteX4" fmla="*/ 73198 w 299475"/>
                <a:gd name="connsiteY4" fmla="*/ 0 h 209273"/>
                <a:gd name="connsiteX5" fmla="*/ 285012 w 299475"/>
                <a:gd name="connsiteY5" fmla="*/ 0 h 209273"/>
                <a:gd name="connsiteX6" fmla="*/ 298826 w 299475"/>
                <a:gd name="connsiteY6" fmla="*/ 10321 h 209273"/>
                <a:gd name="connsiteX7" fmla="*/ 292951 w 299475"/>
                <a:gd name="connsiteY7" fmla="*/ 26517 h 209273"/>
                <a:gd name="connsiteX8" fmla="*/ 22388 w 299475"/>
                <a:gd name="connsiteY8" fmla="*/ 206891 h 209273"/>
                <a:gd name="connsiteX9" fmla="*/ 14449 w 299475"/>
                <a:gd name="connsiteY9" fmla="*/ 209273 h 209273"/>
                <a:gd name="connsiteX10" fmla="*/ 73198 w 299475"/>
                <a:gd name="connsiteY10" fmla="*/ 28898 h 209273"/>
                <a:gd name="connsiteX11" fmla="*/ 28898 w 299475"/>
                <a:gd name="connsiteY11" fmla="*/ 73198 h 209273"/>
                <a:gd name="connsiteX12" fmla="*/ 28898 w 299475"/>
                <a:gd name="connsiteY12" fmla="*/ 167831 h 209273"/>
                <a:gd name="connsiteX13" fmla="*/ 237219 w 299475"/>
                <a:gd name="connsiteY13" fmla="*/ 28898 h 209273"/>
                <a:gd name="connsiteX14" fmla="*/ 73198 w 299475"/>
                <a:gd name="connsiteY14" fmla="*/ 28898 h 209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9475" h="209273">
                  <a:moveTo>
                    <a:pt x="14449" y="209273"/>
                  </a:moveTo>
                  <a:cubicBezTo>
                    <a:pt x="12067" y="209273"/>
                    <a:pt x="9844" y="208638"/>
                    <a:pt x="7621" y="207527"/>
                  </a:cubicBezTo>
                  <a:cubicBezTo>
                    <a:pt x="2858" y="204986"/>
                    <a:pt x="0" y="200064"/>
                    <a:pt x="0" y="194824"/>
                  </a:cubicBezTo>
                  <a:lnTo>
                    <a:pt x="0" y="73198"/>
                  </a:lnTo>
                  <a:cubicBezTo>
                    <a:pt x="0" y="32868"/>
                    <a:pt x="32868" y="0"/>
                    <a:pt x="73198" y="0"/>
                  </a:cubicBezTo>
                  <a:lnTo>
                    <a:pt x="285012" y="0"/>
                  </a:lnTo>
                  <a:cubicBezTo>
                    <a:pt x="291363" y="0"/>
                    <a:pt x="296920" y="4128"/>
                    <a:pt x="298826" y="10321"/>
                  </a:cubicBezTo>
                  <a:cubicBezTo>
                    <a:pt x="300731" y="16354"/>
                    <a:pt x="298349" y="23023"/>
                    <a:pt x="292951" y="26517"/>
                  </a:cubicBezTo>
                  <a:lnTo>
                    <a:pt x="22388" y="206891"/>
                  </a:lnTo>
                  <a:cubicBezTo>
                    <a:pt x="20006" y="208479"/>
                    <a:pt x="17307" y="209273"/>
                    <a:pt x="14449" y="209273"/>
                  </a:cubicBezTo>
                  <a:close/>
                  <a:moveTo>
                    <a:pt x="73198" y="28898"/>
                  </a:moveTo>
                  <a:cubicBezTo>
                    <a:pt x="48746" y="28898"/>
                    <a:pt x="28898" y="48746"/>
                    <a:pt x="28898" y="73198"/>
                  </a:cubicBezTo>
                  <a:lnTo>
                    <a:pt x="28898" y="167831"/>
                  </a:lnTo>
                  <a:lnTo>
                    <a:pt x="237219" y="28898"/>
                  </a:lnTo>
                  <a:lnTo>
                    <a:pt x="73198" y="28898"/>
                  </a:ln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2" name="Freeform: Shape 11">
              <a:extLst>
                <a:ext uri="{FF2B5EF4-FFF2-40B4-BE49-F238E27FC236}">
                  <a16:creationId xmlns:a16="http://schemas.microsoft.com/office/drawing/2014/main" id="{4B5E5E62-317B-7631-ABBD-039DC6337C0B}"/>
                </a:ext>
              </a:extLst>
            </p:cNvPr>
            <p:cNvSpPr>
              <a:spLocks/>
            </p:cNvSpPr>
            <p:nvPr/>
          </p:nvSpPr>
          <p:spPr>
            <a:xfrm>
              <a:off x="3332405" y="2892251"/>
              <a:ext cx="415053" cy="91299"/>
            </a:xfrm>
            <a:custGeom>
              <a:avLst/>
              <a:gdLst>
                <a:gd name="connsiteX0" fmla="*/ 400604 w 415053"/>
                <a:gd name="connsiteY0" fmla="*/ 91299 h 91299"/>
                <a:gd name="connsiteX1" fmla="*/ 14449 w 415053"/>
                <a:gd name="connsiteY1" fmla="*/ 91299 h 91299"/>
                <a:gd name="connsiteX2" fmla="*/ 0 w 415053"/>
                <a:gd name="connsiteY2" fmla="*/ 76850 h 91299"/>
                <a:gd name="connsiteX3" fmla="*/ 0 w 415053"/>
                <a:gd name="connsiteY3" fmla="*/ 14449 h 91299"/>
                <a:gd name="connsiteX4" fmla="*/ 14449 w 415053"/>
                <a:gd name="connsiteY4" fmla="*/ 0 h 91299"/>
                <a:gd name="connsiteX5" fmla="*/ 400604 w 415053"/>
                <a:gd name="connsiteY5" fmla="*/ 0 h 91299"/>
                <a:gd name="connsiteX6" fmla="*/ 415053 w 415053"/>
                <a:gd name="connsiteY6" fmla="*/ 14449 h 91299"/>
                <a:gd name="connsiteX7" fmla="*/ 415053 w 415053"/>
                <a:gd name="connsiteY7" fmla="*/ 76850 h 91299"/>
                <a:gd name="connsiteX8" fmla="*/ 400604 w 415053"/>
                <a:gd name="connsiteY8" fmla="*/ 91299 h 91299"/>
                <a:gd name="connsiteX9" fmla="*/ 28898 w 415053"/>
                <a:gd name="connsiteY9" fmla="*/ 62401 h 91299"/>
                <a:gd name="connsiteX10" fmla="*/ 386155 w 415053"/>
                <a:gd name="connsiteY10" fmla="*/ 62401 h 91299"/>
                <a:gd name="connsiteX11" fmla="*/ 386155 w 415053"/>
                <a:gd name="connsiteY11" fmla="*/ 28898 h 91299"/>
                <a:gd name="connsiteX12" fmla="*/ 28898 w 415053"/>
                <a:gd name="connsiteY12" fmla="*/ 28898 h 91299"/>
                <a:gd name="connsiteX13" fmla="*/ 28898 w 415053"/>
                <a:gd name="connsiteY13" fmla="*/ 62401 h 91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5053" h="91299">
                  <a:moveTo>
                    <a:pt x="400604" y="91299"/>
                  </a:moveTo>
                  <a:lnTo>
                    <a:pt x="14449" y="91299"/>
                  </a:lnTo>
                  <a:cubicBezTo>
                    <a:pt x="6510" y="91299"/>
                    <a:pt x="0" y="84789"/>
                    <a:pt x="0" y="76850"/>
                  </a:cubicBezTo>
                  <a:lnTo>
                    <a:pt x="0" y="14449"/>
                  </a:lnTo>
                  <a:cubicBezTo>
                    <a:pt x="0" y="6510"/>
                    <a:pt x="6510" y="0"/>
                    <a:pt x="14449" y="0"/>
                  </a:cubicBezTo>
                  <a:lnTo>
                    <a:pt x="400604" y="0"/>
                  </a:lnTo>
                  <a:cubicBezTo>
                    <a:pt x="408543" y="0"/>
                    <a:pt x="415053" y="6510"/>
                    <a:pt x="415053" y="14449"/>
                  </a:cubicBezTo>
                  <a:lnTo>
                    <a:pt x="415053" y="76850"/>
                  </a:lnTo>
                  <a:cubicBezTo>
                    <a:pt x="415053" y="84789"/>
                    <a:pt x="408543" y="91299"/>
                    <a:pt x="400604" y="91299"/>
                  </a:cubicBezTo>
                  <a:close/>
                  <a:moveTo>
                    <a:pt x="28898" y="62401"/>
                  </a:moveTo>
                  <a:lnTo>
                    <a:pt x="386155" y="62401"/>
                  </a:lnTo>
                  <a:lnTo>
                    <a:pt x="386155" y="28898"/>
                  </a:lnTo>
                  <a:lnTo>
                    <a:pt x="28898" y="28898"/>
                  </a:lnTo>
                  <a:lnTo>
                    <a:pt x="28898" y="62401"/>
                  </a:ln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3" name="Freeform: Shape 12">
              <a:extLst>
                <a:ext uri="{FF2B5EF4-FFF2-40B4-BE49-F238E27FC236}">
                  <a16:creationId xmlns:a16="http://schemas.microsoft.com/office/drawing/2014/main" id="{2CA31500-C4F3-2187-CE84-4C2B1809B4DC}"/>
                </a:ext>
              </a:extLst>
            </p:cNvPr>
            <p:cNvSpPr>
              <a:spLocks/>
            </p:cNvSpPr>
            <p:nvPr/>
          </p:nvSpPr>
          <p:spPr>
            <a:xfrm>
              <a:off x="3466734" y="3032931"/>
              <a:ext cx="146237" cy="28898"/>
            </a:xfrm>
            <a:custGeom>
              <a:avLst/>
              <a:gdLst>
                <a:gd name="connsiteX0" fmla="*/ 131788 w 146237"/>
                <a:gd name="connsiteY0" fmla="*/ 28898 h 28898"/>
                <a:gd name="connsiteX1" fmla="*/ 14449 w 146237"/>
                <a:gd name="connsiteY1" fmla="*/ 28898 h 28898"/>
                <a:gd name="connsiteX2" fmla="*/ 0 w 146237"/>
                <a:gd name="connsiteY2" fmla="*/ 14449 h 28898"/>
                <a:gd name="connsiteX3" fmla="*/ 14449 w 146237"/>
                <a:gd name="connsiteY3" fmla="*/ 0 h 28898"/>
                <a:gd name="connsiteX4" fmla="*/ 131788 w 146237"/>
                <a:gd name="connsiteY4" fmla="*/ 0 h 28898"/>
                <a:gd name="connsiteX5" fmla="*/ 146237 w 146237"/>
                <a:gd name="connsiteY5" fmla="*/ 14449 h 28898"/>
                <a:gd name="connsiteX6" fmla="*/ 131788 w 146237"/>
                <a:gd name="connsiteY6" fmla="*/ 28898 h 2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237" h="28898">
                  <a:moveTo>
                    <a:pt x="131788" y="28898"/>
                  </a:moveTo>
                  <a:lnTo>
                    <a:pt x="14449" y="28898"/>
                  </a:lnTo>
                  <a:cubicBezTo>
                    <a:pt x="6510" y="28898"/>
                    <a:pt x="0" y="22388"/>
                    <a:pt x="0" y="14449"/>
                  </a:cubicBezTo>
                  <a:cubicBezTo>
                    <a:pt x="0" y="6510"/>
                    <a:pt x="6510" y="0"/>
                    <a:pt x="14449" y="0"/>
                  </a:cubicBezTo>
                  <a:lnTo>
                    <a:pt x="131788" y="0"/>
                  </a:lnTo>
                  <a:cubicBezTo>
                    <a:pt x="139727" y="0"/>
                    <a:pt x="146237" y="6510"/>
                    <a:pt x="146237" y="14449"/>
                  </a:cubicBezTo>
                  <a:cubicBezTo>
                    <a:pt x="146237" y="22388"/>
                    <a:pt x="139886" y="28898"/>
                    <a:pt x="131788" y="28898"/>
                  </a:cubicBez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4" name="Freeform: Shape 13">
              <a:extLst>
                <a:ext uri="{FF2B5EF4-FFF2-40B4-BE49-F238E27FC236}">
                  <a16:creationId xmlns:a16="http://schemas.microsoft.com/office/drawing/2014/main" id="{5B5A05EC-504F-F330-1887-3F3D3B80EA67}"/>
                </a:ext>
              </a:extLst>
            </p:cNvPr>
            <p:cNvSpPr>
              <a:spLocks/>
            </p:cNvSpPr>
            <p:nvPr/>
          </p:nvSpPr>
          <p:spPr>
            <a:xfrm>
              <a:off x="3332405" y="3111210"/>
              <a:ext cx="418546" cy="28898"/>
            </a:xfrm>
            <a:custGeom>
              <a:avLst/>
              <a:gdLst>
                <a:gd name="connsiteX0" fmla="*/ 404097 w 418546"/>
                <a:gd name="connsiteY0" fmla="*/ 28898 h 28898"/>
                <a:gd name="connsiteX1" fmla="*/ 14449 w 418546"/>
                <a:gd name="connsiteY1" fmla="*/ 28898 h 28898"/>
                <a:gd name="connsiteX2" fmla="*/ 0 w 418546"/>
                <a:gd name="connsiteY2" fmla="*/ 14449 h 28898"/>
                <a:gd name="connsiteX3" fmla="*/ 14449 w 418546"/>
                <a:gd name="connsiteY3" fmla="*/ 0 h 28898"/>
                <a:gd name="connsiteX4" fmla="*/ 404097 w 418546"/>
                <a:gd name="connsiteY4" fmla="*/ 0 h 28898"/>
                <a:gd name="connsiteX5" fmla="*/ 418546 w 418546"/>
                <a:gd name="connsiteY5" fmla="*/ 14449 h 28898"/>
                <a:gd name="connsiteX6" fmla="*/ 404097 w 418546"/>
                <a:gd name="connsiteY6" fmla="*/ 28898 h 2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546" h="28898">
                  <a:moveTo>
                    <a:pt x="404097" y="28898"/>
                  </a:moveTo>
                  <a:lnTo>
                    <a:pt x="14449" y="28898"/>
                  </a:lnTo>
                  <a:cubicBezTo>
                    <a:pt x="6510" y="28898"/>
                    <a:pt x="0" y="22388"/>
                    <a:pt x="0" y="14449"/>
                  </a:cubicBezTo>
                  <a:cubicBezTo>
                    <a:pt x="0" y="6510"/>
                    <a:pt x="6510" y="0"/>
                    <a:pt x="14449" y="0"/>
                  </a:cubicBezTo>
                  <a:lnTo>
                    <a:pt x="404097" y="0"/>
                  </a:lnTo>
                  <a:cubicBezTo>
                    <a:pt x="412036" y="0"/>
                    <a:pt x="418546" y="6510"/>
                    <a:pt x="418546" y="14449"/>
                  </a:cubicBezTo>
                  <a:cubicBezTo>
                    <a:pt x="418546" y="22547"/>
                    <a:pt x="412036" y="28898"/>
                    <a:pt x="404097" y="28898"/>
                  </a:cubicBez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5" name="Freeform: Shape 14">
              <a:extLst>
                <a:ext uri="{FF2B5EF4-FFF2-40B4-BE49-F238E27FC236}">
                  <a16:creationId xmlns:a16="http://schemas.microsoft.com/office/drawing/2014/main" id="{EF16959D-FD34-C743-F8BB-3AA39CBDDA0F}"/>
                </a:ext>
              </a:extLst>
            </p:cNvPr>
            <p:cNvSpPr>
              <a:spLocks/>
            </p:cNvSpPr>
            <p:nvPr/>
          </p:nvSpPr>
          <p:spPr>
            <a:xfrm>
              <a:off x="3332405" y="3189648"/>
              <a:ext cx="342331" cy="28898"/>
            </a:xfrm>
            <a:custGeom>
              <a:avLst/>
              <a:gdLst>
                <a:gd name="connsiteX0" fmla="*/ 327882 w 342331"/>
                <a:gd name="connsiteY0" fmla="*/ 28898 h 28898"/>
                <a:gd name="connsiteX1" fmla="*/ 14449 w 342331"/>
                <a:gd name="connsiteY1" fmla="*/ 28898 h 28898"/>
                <a:gd name="connsiteX2" fmla="*/ 0 w 342331"/>
                <a:gd name="connsiteY2" fmla="*/ 14449 h 28898"/>
                <a:gd name="connsiteX3" fmla="*/ 14449 w 342331"/>
                <a:gd name="connsiteY3" fmla="*/ 0 h 28898"/>
                <a:gd name="connsiteX4" fmla="*/ 327882 w 342331"/>
                <a:gd name="connsiteY4" fmla="*/ 0 h 28898"/>
                <a:gd name="connsiteX5" fmla="*/ 342332 w 342331"/>
                <a:gd name="connsiteY5" fmla="*/ 14449 h 28898"/>
                <a:gd name="connsiteX6" fmla="*/ 327882 w 342331"/>
                <a:gd name="connsiteY6" fmla="*/ 28898 h 2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331" h="28898">
                  <a:moveTo>
                    <a:pt x="327882" y="28898"/>
                  </a:moveTo>
                  <a:lnTo>
                    <a:pt x="14449" y="28898"/>
                  </a:lnTo>
                  <a:cubicBezTo>
                    <a:pt x="6510" y="28898"/>
                    <a:pt x="0" y="22388"/>
                    <a:pt x="0" y="14449"/>
                  </a:cubicBezTo>
                  <a:cubicBezTo>
                    <a:pt x="0" y="6510"/>
                    <a:pt x="6510" y="0"/>
                    <a:pt x="14449" y="0"/>
                  </a:cubicBezTo>
                  <a:lnTo>
                    <a:pt x="327882" y="0"/>
                  </a:lnTo>
                  <a:cubicBezTo>
                    <a:pt x="335821" y="0"/>
                    <a:pt x="342332" y="6510"/>
                    <a:pt x="342332" y="14449"/>
                  </a:cubicBezTo>
                  <a:cubicBezTo>
                    <a:pt x="342332" y="22388"/>
                    <a:pt x="335821" y="28898"/>
                    <a:pt x="327882" y="28898"/>
                  </a:cubicBez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6" name="Freeform: Shape 15">
              <a:extLst>
                <a:ext uri="{FF2B5EF4-FFF2-40B4-BE49-F238E27FC236}">
                  <a16:creationId xmlns:a16="http://schemas.microsoft.com/office/drawing/2014/main" id="{5BBE4760-ABFC-C963-7D62-E23DFB2B9EC4}"/>
                </a:ext>
              </a:extLst>
            </p:cNvPr>
            <p:cNvSpPr>
              <a:spLocks/>
            </p:cNvSpPr>
            <p:nvPr/>
          </p:nvSpPr>
          <p:spPr>
            <a:xfrm>
              <a:off x="3332405" y="3267927"/>
              <a:ext cx="260559" cy="28898"/>
            </a:xfrm>
            <a:custGeom>
              <a:avLst/>
              <a:gdLst>
                <a:gd name="connsiteX0" fmla="*/ 246110 w 260559"/>
                <a:gd name="connsiteY0" fmla="*/ 28898 h 28898"/>
                <a:gd name="connsiteX1" fmla="*/ 14449 w 260559"/>
                <a:gd name="connsiteY1" fmla="*/ 28898 h 28898"/>
                <a:gd name="connsiteX2" fmla="*/ 0 w 260559"/>
                <a:gd name="connsiteY2" fmla="*/ 14449 h 28898"/>
                <a:gd name="connsiteX3" fmla="*/ 14449 w 260559"/>
                <a:gd name="connsiteY3" fmla="*/ 0 h 28898"/>
                <a:gd name="connsiteX4" fmla="*/ 246110 w 260559"/>
                <a:gd name="connsiteY4" fmla="*/ 0 h 28898"/>
                <a:gd name="connsiteX5" fmla="*/ 260559 w 260559"/>
                <a:gd name="connsiteY5" fmla="*/ 14449 h 28898"/>
                <a:gd name="connsiteX6" fmla="*/ 246110 w 260559"/>
                <a:gd name="connsiteY6" fmla="*/ 28898 h 2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559" h="28898">
                  <a:moveTo>
                    <a:pt x="246110" y="28898"/>
                  </a:moveTo>
                  <a:lnTo>
                    <a:pt x="14449" y="28898"/>
                  </a:lnTo>
                  <a:cubicBezTo>
                    <a:pt x="6510" y="28898"/>
                    <a:pt x="0" y="22388"/>
                    <a:pt x="0" y="14449"/>
                  </a:cubicBezTo>
                  <a:cubicBezTo>
                    <a:pt x="0" y="6510"/>
                    <a:pt x="6510" y="0"/>
                    <a:pt x="14449" y="0"/>
                  </a:cubicBezTo>
                  <a:lnTo>
                    <a:pt x="246110" y="0"/>
                  </a:lnTo>
                  <a:cubicBezTo>
                    <a:pt x="254049" y="0"/>
                    <a:pt x="260559" y="6510"/>
                    <a:pt x="260559" y="14449"/>
                  </a:cubicBezTo>
                  <a:cubicBezTo>
                    <a:pt x="260559" y="22388"/>
                    <a:pt x="254049" y="28898"/>
                    <a:pt x="246110" y="28898"/>
                  </a:cubicBez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24" name="Freeform: Shape 23">
              <a:extLst>
                <a:ext uri="{FF2B5EF4-FFF2-40B4-BE49-F238E27FC236}">
                  <a16:creationId xmlns:a16="http://schemas.microsoft.com/office/drawing/2014/main" id="{153EBFDD-B111-96CD-BF9B-6B5B2F989857}"/>
                </a:ext>
              </a:extLst>
            </p:cNvPr>
            <p:cNvSpPr>
              <a:spLocks/>
            </p:cNvSpPr>
            <p:nvPr/>
          </p:nvSpPr>
          <p:spPr>
            <a:xfrm>
              <a:off x="3332405" y="3346206"/>
              <a:ext cx="182280" cy="28898"/>
            </a:xfrm>
            <a:custGeom>
              <a:avLst/>
              <a:gdLst>
                <a:gd name="connsiteX0" fmla="*/ 167831 w 182280"/>
                <a:gd name="connsiteY0" fmla="*/ 28898 h 28898"/>
                <a:gd name="connsiteX1" fmla="*/ 14449 w 182280"/>
                <a:gd name="connsiteY1" fmla="*/ 28898 h 28898"/>
                <a:gd name="connsiteX2" fmla="*/ 0 w 182280"/>
                <a:gd name="connsiteY2" fmla="*/ 14449 h 28898"/>
                <a:gd name="connsiteX3" fmla="*/ 14449 w 182280"/>
                <a:gd name="connsiteY3" fmla="*/ 0 h 28898"/>
                <a:gd name="connsiteX4" fmla="*/ 167831 w 182280"/>
                <a:gd name="connsiteY4" fmla="*/ 0 h 28898"/>
                <a:gd name="connsiteX5" fmla="*/ 182280 w 182280"/>
                <a:gd name="connsiteY5" fmla="*/ 14449 h 28898"/>
                <a:gd name="connsiteX6" fmla="*/ 167831 w 182280"/>
                <a:gd name="connsiteY6" fmla="*/ 28898 h 2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280" h="28898">
                  <a:moveTo>
                    <a:pt x="167831" y="28898"/>
                  </a:moveTo>
                  <a:lnTo>
                    <a:pt x="14449" y="28898"/>
                  </a:lnTo>
                  <a:cubicBezTo>
                    <a:pt x="6510" y="28898"/>
                    <a:pt x="0" y="22388"/>
                    <a:pt x="0" y="14449"/>
                  </a:cubicBezTo>
                  <a:cubicBezTo>
                    <a:pt x="0" y="6510"/>
                    <a:pt x="6510" y="0"/>
                    <a:pt x="14449" y="0"/>
                  </a:cubicBezTo>
                  <a:lnTo>
                    <a:pt x="167831" y="0"/>
                  </a:lnTo>
                  <a:cubicBezTo>
                    <a:pt x="175770" y="0"/>
                    <a:pt x="182280" y="6510"/>
                    <a:pt x="182280" y="14449"/>
                  </a:cubicBezTo>
                  <a:cubicBezTo>
                    <a:pt x="182280" y="22547"/>
                    <a:pt x="175929" y="28898"/>
                    <a:pt x="167831" y="28898"/>
                  </a:cubicBez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25" name="Freeform: Shape 24">
              <a:extLst>
                <a:ext uri="{FF2B5EF4-FFF2-40B4-BE49-F238E27FC236}">
                  <a16:creationId xmlns:a16="http://schemas.microsoft.com/office/drawing/2014/main" id="{3C1C7585-8F36-CE38-5A10-2E481124A55C}"/>
                </a:ext>
              </a:extLst>
            </p:cNvPr>
            <p:cNvSpPr>
              <a:spLocks/>
            </p:cNvSpPr>
            <p:nvPr/>
          </p:nvSpPr>
          <p:spPr>
            <a:xfrm>
              <a:off x="3446886" y="2989902"/>
              <a:ext cx="487616" cy="487616"/>
            </a:xfrm>
            <a:custGeom>
              <a:avLst/>
              <a:gdLst>
                <a:gd name="connsiteX0" fmla="*/ 74468 w 487616"/>
                <a:gd name="connsiteY0" fmla="*/ 487616 h 487616"/>
                <a:gd name="connsiteX1" fmla="*/ 64306 w 487616"/>
                <a:gd name="connsiteY1" fmla="*/ 483329 h 487616"/>
                <a:gd name="connsiteX2" fmla="*/ 4287 w 487616"/>
                <a:gd name="connsiteY2" fmla="*/ 423310 h 487616"/>
                <a:gd name="connsiteX3" fmla="*/ 4287 w 487616"/>
                <a:gd name="connsiteY3" fmla="*/ 402827 h 487616"/>
                <a:gd name="connsiteX4" fmla="*/ 402827 w 487616"/>
                <a:gd name="connsiteY4" fmla="*/ 4287 h 487616"/>
                <a:gd name="connsiteX5" fmla="*/ 423310 w 487616"/>
                <a:gd name="connsiteY5" fmla="*/ 4287 h 487616"/>
                <a:gd name="connsiteX6" fmla="*/ 483329 w 487616"/>
                <a:gd name="connsiteY6" fmla="*/ 64306 h 487616"/>
                <a:gd name="connsiteX7" fmla="*/ 483329 w 487616"/>
                <a:gd name="connsiteY7" fmla="*/ 84789 h 487616"/>
                <a:gd name="connsiteX8" fmla="*/ 346936 w 487616"/>
                <a:gd name="connsiteY8" fmla="*/ 221182 h 487616"/>
                <a:gd name="connsiteX9" fmla="*/ 326454 w 487616"/>
                <a:gd name="connsiteY9" fmla="*/ 221182 h 487616"/>
                <a:gd name="connsiteX10" fmla="*/ 326454 w 487616"/>
                <a:gd name="connsiteY10" fmla="*/ 200699 h 487616"/>
                <a:gd name="connsiteX11" fmla="*/ 452525 w 487616"/>
                <a:gd name="connsiteY11" fmla="*/ 74627 h 487616"/>
                <a:gd name="connsiteX12" fmla="*/ 412989 w 487616"/>
                <a:gd name="connsiteY12" fmla="*/ 35091 h 487616"/>
                <a:gd name="connsiteX13" fmla="*/ 34932 w 487616"/>
                <a:gd name="connsiteY13" fmla="*/ 413148 h 487616"/>
                <a:gd name="connsiteX14" fmla="*/ 74468 w 487616"/>
                <a:gd name="connsiteY14" fmla="*/ 452684 h 487616"/>
                <a:gd name="connsiteX15" fmla="*/ 268498 w 487616"/>
                <a:gd name="connsiteY15" fmla="*/ 258654 h 487616"/>
                <a:gd name="connsiteX16" fmla="*/ 288981 w 487616"/>
                <a:gd name="connsiteY16" fmla="*/ 258654 h 487616"/>
                <a:gd name="connsiteX17" fmla="*/ 288981 w 487616"/>
                <a:gd name="connsiteY17" fmla="*/ 279137 h 487616"/>
                <a:gd name="connsiteX18" fmla="*/ 84789 w 487616"/>
                <a:gd name="connsiteY18" fmla="*/ 483329 h 487616"/>
                <a:gd name="connsiteX19" fmla="*/ 74468 w 487616"/>
                <a:gd name="connsiteY19" fmla="*/ 487616 h 4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7616" h="487616">
                  <a:moveTo>
                    <a:pt x="74468" y="487616"/>
                  </a:moveTo>
                  <a:cubicBezTo>
                    <a:pt x="70816" y="487616"/>
                    <a:pt x="67005" y="486187"/>
                    <a:pt x="64306" y="483329"/>
                  </a:cubicBezTo>
                  <a:lnTo>
                    <a:pt x="4287" y="423310"/>
                  </a:lnTo>
                  <a:cubicBezTo>
                    <a:pt x="-1429" y="417594"/>
                    <a:pt x="-1429" y="408543"/>
                    <a:pt x="4287" y="402827"/>
                  </a:cubicBezTo>
                  <a:lnTo>
                    <a:pt x="402827" y="4287"/>
                  </a:lnTo>
                  <a:cubicBezTo>
                    <a:pt x="408543" y="-1429"/>
                    <a:pt x="417594" y="-1429"/>
                    <a:pt x="423310" y="4287"/>
                  </a:cubicBezTo>
                  <a:lnTo>
                    <a:pt x="483329" y="64306"/>
                  </a:lnTo>
                  <a:cubicBezTo>
                    <a:pt x="489045" y="70022"/>
                    <a:pt x="489045" y="79073"/>
                    <a:pt x="483329" y="84789"/>
                  </a:cubicBezTo>
                  <a:lnTo>
                    <a:pt x="346936" y="221182"/>
                  </a:lnTo>
                  <a:cubicBezTo>
                    <a:pt x="341220" y="226898"/>
                    <a:pt x="332170" y="226898"/>
                    <a:pt x="326454" y="221182"/>
                  </a:cubicBezTo>
                  <a:cubicBezTo>
                    <a:pt x="320738" y="215466"/>
                    <a:pt x="320738" y="206415"/>
                    <a:pt x="326454" y="200699"/>
                  </a:cubicBezTo>
                  <a:lnTo>
                    <a:pt x="452525" y="74627"/>
                  </a:lnTo>
                  <a:lnTo>
                    <a:pt x="412989" y="35091"/>
                  </a:lnTo>
                  <a:lnTo>
                    <a:pt x="34932" y="413148"/>
                  </a:lnTo>
                  <a:lnTo>
                    <a:pt x="74468" y="452684"/>
                  </a:lnTo>
                  <a:lnTo>
                    <a:pt x="268498" y="258654"/>
                  </a:lnTo>
                  <a:cubicBezTo>
                    <a:pt x="274215" y="252938"/>
                    <a:pt x="283265" y="252938"/>
                    <a:pt x="288981" y="258654"/>
                  </a:cubicBezTo>
                  <a:cubicBezTo>
                    <a:pt x="294697" y="264370"/>
                    <a:pt x="294697" y="273421"/>
                    <a:pt x="288981" y="279137"/>
                  </a:cubicBezTo>
                  <a:lnTo>
                    <a:pt x="84789" y="483329"/>
                  </a:lnTo>
                  <a:cubicBezTo>
                    <a:pt x="81772" y="486187"/>
                    <a:pt x="78120" y="487616"/>
                    <a:pt x="74468" y="487616"/>
                  </a:cubicBez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26" name="Freeform: Shape 25">
              <a:extLst>
                <a:ext uri="{FF2B5EF4-FFF2-40B4-BE49-F238E27FC236}">
                  <a16:creationId xmlns:a16="http://schemas.microsoft.com/office/drawing/2014/main" id="{B473777C-A603-3A37-D4E5-6771C09DE360}"/>
                </a:ext>
              </a:extLst>
            </p:cNvPr>
            <p:cNvSpPr>
              <a:spLocks/>
            </p:cNvSpPr>
            <p:nvPr/>
          </p:nvSpPr>
          <p:spPr>
            <a:xfrm>
              <a:off x="3845426" y="2951953"/>
              <a:ext cx="127024" cy="127024"/>
            </a:xfrm>
            <a:custGeom>
              <a:avLst/>
              <a:gdLst>
                <a:gd name="connsiteX0" fmla="*/ 74468 w 127024"/>
                <a:gd name="connsiteY0" fmla="*/ 127025 h 127024"/>
                <a:gd name="connsiteX1" fmla="*/ 64306 w 127024"/>
                <a:gd name="connsiteY1" fmla="*/ 122738 h 127024"/>
                <a:gd name="connsiteX2" fmla="*/ 4287 w 127024"/>
                <a:gd name="connsiteY2" fmla="*/ 62718 h 127024"/>
                <a:gd name="connsiteX3" fmla="*/ 4287 w 127024"/>
                <a:gd name="connsiteY3" fmla="*/ 42236 h 127024"/>
                <a:gd name="connsiteX4" fmla="*/ 42236 w 127024"/>
                <a:gd name="connsiteY4" fmla="*/ 4287 h 127024"/>
                <a:gd name="connsiteX5" fmla="*/ 62718 w 127024"/>
                <a:gd name="connsiteY5" fmla="*/ 4287 h 127024"/>
                <a:gd name="connsiteX6" fmla="*/ 122737 w 127024"/>
                <a:gd name="connsiteY6" fmla="*/ 64306 h 127024"/>
                <a:gd name="connsiteX7" fmla="*/ 122737 w 127024"/>
                <a:gd name="connsiteY7" fmla="*/ 84789 h 127024"/>
                <a:gd name="connsiteX8" fmla="*/ 84789 w 127024"/>
                <a:gd name="connsiteY8" fmla="*/ 122738 h 127024"/>
                <a:gd name="connsiteX9" fmla="*/ 74468 w 127024"/>
                <a:gd name="connsiteY9" fmla="*/ 127025 h 127024"/>
                <a:gd name="connsiteX10" fmla="*/ 34773 w 127024"/>
                <a:gd name="connsiteY10" fmla="*/ 52556 h 127024"/>
                <a:gd name="connsiteX11" fmla="*/ 74309 w 127024"/>
                <a:gd name="connsiteY11" fmla="*/ 92093 h 127024"/>
                <a:gd name="connsiteX12" fmla="*/ 91775 w 127024"/>
                <a:gd name="connsiteY12" fmla="*/ 74627 h 127024"/>
                <a:gd name="connsiteX13" fmla="*/ 52239 w 127024"/>
                <a:gd name="connsiteY13" fmla="*/ 35091 h 127024"/>
                <a:gd name="connsiteX14" fmla="*/ 34773 w 127024"/>
                <a:gd name="connsiteY14" fmla="*/ 52556 h 127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7024" h="127024">
                  <a:moveTo>
                    <a:pt x="74468" y="127025"/>
                  </a:moveTo>
                  <a:cubicBezTo>
                    <a:pt x="70657" y="127025"/>
                    <a:pt x="67005" y="125437"/>
                    <a:pt x="64306" y="122738"/>
                  </a:cubicBezTo>
                  <a:lnTo>
                    <a:pt x="4287" y="62718"/>
                  </a:lnTo>
                  <a:cubicBezTo>
                    <a:pt x="-1429" y="57002"/>
                    <a:pt x="-1429" y="47952"/>
                    <a:pt x="4287" y="42236"/>
                  </a:cubicBezTo>
                  <a:lnTo>
                    <a:pt x="42236" y="4287"/>
                  </a:lnTo>
                  <a:cubicBezTo>
                    <a:pt x="47952" y="-1429"/>
                    <a:pt x="57002" y="-1429"/>
                    <a:pt x="62718" y="4287"/>
                  </a:cubicBezTo>
                  <a:lnTo>
                    <a:pt x="122737" y="64306"/>
                  </a:lnTo>
                  <a:cubicBezTo>
                    <a:pt x="128454" y="70022"/>
                    <a:pt x="128454" y="79073"/>
                    <a:pt x="122737" y="84789"/>
                  </a:cubicBezTo>
                  <a:lnTo>
                    <a:pt x="84789" y="122738"/>
                  </a:lnTo>
                  <a:cubicBezTo>
                    <a:pt x="81931" y="125437"/>
                    <a:pt x="78279" y="127025"/>
                    <a:pt x="74468" y="127025"/>
                  </a:cubicBezTo>
                  <a:close/>
                  <a:moveTo>
                    <a:pt x="34773" y="52556"/>
                  </a:moveTo>
                  <a:lnTo>
                    <a:pt x="74309" y="92093"/>
                  </a:lnTo>
                  <a:lnTo>
                    <a:pt x="91775" y="74627"/>
                  </a:lnTo>
                  <a:lnTo>
                    <a:pt x="52239" y="35091"/>
                  </a:lnTo>
                  <a:lnTo>
                    <a:pt x="34773" y="52556"/>
                  </a:ln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27" name="Freeform: Shape 26">
              <a:extLst>
                <a:ext uri="{FF2B5EF4-FFF2-40B4-BE49-F238E27FC236}">
                  <a16:creationId xmlns:a16="http://schemas.microsoft.com/office/drawing/2014/main" id="{7F7A367C-4254-7097-F82A-28EBCA60222C}"/>
                </a:ext>
              </a:extLst>
            </p:cNvPr>
            <p:cNvSpPr>
              <a:spLocks/>
            </p:cNvSpPr>
            <p:nvPr/>
          </p:nvSpPr>
          <p:spPr>
            <a:xfrm>
              <a:off x="3890679" y="2930297"/>
              <a:ext cx="103269" cy="103269"/>
            </a:xfrm>
            <a:custGeom>
              <a:avLst/>
              <a:gdLst>
                <a:gd name="connsiteX0" fmla="*/ 59702 w 103269"/>
                <a:gd name="connsiteY0" fmla="*/ 103269 h 103269"/>
                <a:gd name="connsiteX1" fmla="*/ 49540 w 103269"/>
                <a:gd name="connsiteY1" fmla="*/ 98982 h 103269"/>
                <a:gd name="connsiteX2" fmla="*/ 4287 w 103269"/>
                <a:gd name="connsiteY2" fmla="*/ 53730 h 103269"/>
                <a:gd name="connsiteX3" fmla="*/ 4287 w 103269"/>
                <a:gd name="connsiteY3" fmla="*/ 33247 h 103269"/>
                <a:gd name="connsiteX4" fmla="*/ 25405 w 103269"/>
                <a:gd name="connsiteY4" fmla="*/ 12129 h 103269"/>
                <a:gd name="connsiteX5" fmla="*/ 57479 w 103269"/>
                <a:gd name="connsiteY5" fmla="*/ 62 h 103269"/>
                <a:gd name="connsiteX6" fmla="*/ 89076 w 103269"/>
                <a:gd name="connsiteY6" fmla="*/ 14193 h 103269"/>
                <a:gd name="connsiteX7" fmla="*/ 103208 w 103269"/>
                <a:gd name="connsiteY7" fmla="*/ 45791 h 103269"/>
                <a:gd name="connsiteX8" fmla="*/ 91140 w 103269"/>
                <a:gd name="connsiteY8" fmla="*/ 77864 h 103269"/>
                <a:gd name="connsiteX9" fmla="*/ 70022 w 103269"/>
                <a:gd name="connsiteY9" fmla="*/ 98982 h 103269"/>
                <a:gd name="connsiteX10" fmla="*/ 59702 w 103269"/>
                <a:gd name="connsiteY10" fmla="*/ 103269 h 103269"/>
                <a:gd name="connsiteX11" fmla="*/ 34932 w 103269"/>
                <a:gd name="connsiteY11" fmla="*/ 43568 h 103269"/>
                <a:gd name="connsiteX12" fmla="*/ 59702 w 103269"/>
                <a:gd name="connsiteY12" fmla="*/ 68338 h 103269"/>
                <a:gd name="connsiteX13" fmla="*/ 70658 w 103269"/>
                <a:gd name="connsiteY13" fmla="*/ 57382 h 103269"/>
                <a:gd name="connsiteX14" fmla="*/ 74310 w 103269"/>
                <a:gd name="connsiteY14" fmla="*/ 47061 h 103269"/>
                <a:gd name="connsiteX15" fmla="*/ 68593 w 103269"/>
                <a:gd name="connsiteY15" fmla="*/ 34517 h 103269"/>
                <a:gd name="connsiteX16" fmla="*/ 56050 w 103269"/>
                <a:gd name="connsiteY16" fmla="*/ 28801 h 103269"/>
                <a:gd name="connsiteX17" fmla="*/ 45729 w 103269"/>
                <a:gd name="connsiteY17" fmla="*/ 32453 h 103269"/>
                <a:gd name="connsiteX18" fmla="*/ 34932 w 103269"/>
                <a:gd name="connsiteY18" fmla="*/ 43568 h 10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269" h="103269">
                  <a:moveTo>
                    <a:pt x="59702" y="103269"/>
                  </a:moveTo>
                  <a:cubicBezTo>
                    <a:pt x="56050" y="103269"/>
                    <a:pt x="52239" y="101840"/>
                    <a:pt x="49540" y="98982"/>
                  </a:cubicBezTo>
                  <a:lnTo>
                    <a:pt x="4287" y="53730"/>
                  </a:lnTo>
                  <a:cubicBezTo>
                    <a:pt x="-1429" y="48013"/>
                    <a:pt x="-1429" y="38963"/>
                    <a:pt x="4287" y="33247"/>
                  </a:cubicBezTo>
                  <a:lnTo>
                    <a:pt x="25405" y="12129"/>
                  </a:lnTo>
                  <a:cubicBezTo>
                    <a:pt x="33820" y="3714"/>
                    <a:pt x="45094" y="-573"/>
                    <a:pt x="57479" y="62"/>
                  </a:cubicBezTo>
                  <a:cubicBezTo>
                    <a:pt x="69229" y="697"/>
                    <a:pt x="80502" y="5619"/>
                    <a:pt x="89076" y="14193"/>
                  </a:cubicBezTo>
                  <a:cubicBezTo>
                    <a:pt x="97650" y="22767"/>
                    <a:pt x="102731" y="34041"/>
                    <a:pt x="103208" y="45791"/>
                  </a:cubicBezTo>
                  <a:cubicBezTo>
                    <a:pt x="103843" y="58017"/>
                    <a:pt x="99556" y="69449"/>
                    <a:pt x="91140" y="77864"/>
                  </a:cubicBezTo>
                  <a:lnTo>
                    <a:pt x="70022" y="98982"/>
                  </a:lnTo>
                  <a:cubicBezTo>
                    <a:pt x="67164" y="101840"/>
                    <a:pt x="63354" y="103269"/>
                    <a:pt x="59702" y="103269"/>
                  </a:cubicBezTo>
                  <a:close/>
                  <a:moveTo>
                    <a:pt x="34932" y="43568"/>
                  </a:moveTo>
                  <a:lnTo>
                    <a:pt x="59702" y="68338"/>
                  </a:lnTo>
                  <a:lnTo>
                    <a:pt x="70658" y="57382"/>
                  </a:lnTo>
                  <a:cubicBezTo>
                    <a:pt x="73198" y="54841"/>
                    <a:pt x="74468" y="51189"/>
                    <a:pt x="74310" y="47061"/>
                  </a:cubicBezTo>
                  <a:cubicBezTo>
                    <a:pt x="74151" y="42456"/>
                    <a:pt x="72087" y="38010"/>
                    <a:pt x="68593" y="34517"/>
                  </a:cubicBezTo>
                  <a:cubicBezTo>
                    <a:pt x="65100" y="31024"/>
                    <a:pt x="60654" y="28960"/>
                    <a:pt x="56050" y="28801"/>
                  </a:cubicBezTo>
                  <a:cubicBezTo>
                    <a:pt x="52080" y="28483"/>
                    <a:pt x="48428" y="29912"/>
                    <a:pt x="45729" y="32453"/>
                  </a:cubicBezTo>
                  <a:lnTo>
                    <a:pt x="34932" y="43568"/>
                  </a:ln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28" name="Freeform: Shape 27">
              <a:extLst>
                <a:ext uri="{FF2B5EF4-FFF2-40B4-BE49-F238E27FC236}">
                  <a16:creationId xmlns:a16="http://schemas.microsoft.com/office/drawing/2014/main" id="{90968E59-AF1C-AD64-B148-AA1C37A31A84}"/>
                </a:ext>
              </a:extLst>
            </p:cNvPr>
            <p:cNvSpPr>
              <a:spLocks/>
            </p:cNvSpPr>
            <p:nvPr/>
          </p:nvSpPr>
          <p:spPr>
            <a:xfrm>
              <a:off x="3419314" y="3388483"/>
              <a:ext cx="116467" cy="116503"/>
            </a:xfrm>
            <a:custGeom>
              <a:avLst/>
              <a:gdLst>
                <a:gd name="connsiteX0" fmla="*/ 14393 w 116467"/>
                <a:gd name="connsiteY0" fmla="*/ 116503 h 116503"/>
                <a:gd name="connsiteX1" fmla="*/ 4231 w 116467"/>
                <a:gd name="connsiteY1" fmla="*/ 112216 h 116503"/>
                <a:gd name="connsiteX2" fmla="*/ 738 w 116467"/>
                <a:gd name="connsiteY2" fmla="*/ 97608 h 116503"/>
                <a:gd name="connsiteX3" fmla="*/ 28207 w 116467"/>
                <a:gd name="connsiteY3" fmla="*/ 10120 h 116503"/>
                <a:gd name="connsiteX4" fmla="*/ 38528 w 116467"/>
                <a:gd name="connsiteY4" fmla="*/ 434 h 116503"/>
                <a:gd name="connsiteX5" fmla="*/ 52183 w 116467"/>
                <a:gd name="connsiteY5" fmla="*/ 4245 h 116503"/>
                <a:gd name="connsiteX6" fmla="*/ 112202 w 116467"/>
                <a:gd name="connsiteY6" fmla="*/ 64264 h 116503"/>
                <a:gd name="connsiteX7" fmla="*/ 116013 w 116467"/>
                <a:gd name="connsiteY7" fmla="*/ 77920 h 116503"/>
                <a:gd name="connsiteX8" fmla="*/ 106327 w 116467"/>
                <a:gd name="connsiteY8" fmla="*/ 88240 h 116503"/>
                <a:gd name="connsiteX9" fmla="*/ 18839 w 116467"/>
                <a:gd name="connsiteY9" fmla="*/ 115709 h 116503"/>
                <a:gd name="connsiteX10" fmla="*/ 14393 w 116467"/>
                <a:gd name="connsiteY10" fmla="*/ 116503 h 116503"/>
                <a:gd name="connsiteX11" fmla="*/ 48531 w 116467"/>
                <a:gd name="connsiteY11" fmla="*/ 41559 h 116503"/>
                <a:gd name="connsiteX12" fmla="*/ 36464 w 116467"/>
                <a:gd name="connsiteY12" fmla="*/ 79984 h 116503"/>
                <a:gd name="connsiteX13" fmla="*/ 74889 w 116467"/>
                <a:gd name="connsiteY13" fmla="*/ 67916 h 116503"/>
                <a:gd name="connsiteX14" fmla="*/ 48531 w 116467"/>
                <a:gd name="connsiteY14" fmla="*/ 41559 h 116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6467" h="116503">
                  <a:moveTo>
                    <a:pt x="14393" y="116503"/>
                  </a:moveTo>
                  <a:cubicBezTo>
                    <a:pt x="10582" y="116503"/>
                    <a:pt x="6930" y="115074"/>
                    <a:pt x="4231" y="112216"/>
                  </a:cubicBezTo>
                  <a:cubicBezTo>
                    <a:pt x="420" y="108406"/>
                    <a:pt x="-1009" y="102848"/>
                    <a:pt x="738" y="97608"/>
                  </a:cubicBezTo>
                  <a:lnTo>
                    <a:pt x="28207" y="10120"/>
                  </a:lnTo>
                  <a:cubicBezTo>
                    <a:pt x="29795" y="5357"/>
                    <a:pt x="33605" y="1546"/>
                    <a:pt x="38528" y="434"/>
                  </a:cubicBezTo>
                  <a:cubicBezTo>
                    <a:pt x="43450" y="-836"/>
                    <a:pt x="48690" y="752"/>
                    <a:pt x="52183" y="4245"/>
                  </a:cubicBezTo>
                  <a:lnTo>
                    <a:pt x="112202" y="64264"/>
                  </a:lnTo>
                  <a:cubicBezTo>
                    <a:pt x="115854" y="67758"/>
                    <a:pt x="117283" y="72997"/>
                    <a:pt x="116013" y="77920"/>
                  </a:cubicBezTo>
                  <a:cubicBezTo>
                    <a:pt x="114742" y="82842"/>
                    <a:pt x="111091" y="86811"/>
                    <a:pt x="106327" y="88240"/>
                  </a:cubicBezTo>
                  <a:lnTo>
                    <a:pt x="18839" y="115709"/>
                  </a:lnTo>
                  <a:cubicBezTo>
                    <a:pt x="17410" y="116345"/>
                    <a:pt x="15822" y="116503"/>
                    <a:pt x="14393" y="116503"/>
                  </a:cubicBezTo>
                  <a:close/>
                  <a:moveTo>
                    <a:pt x="48531" y="41559"/>
                  </a:moveTo>
                  <a:lnTo>
                    <a:pt x="36464" y="79984"/>
                  </a:lnTo>
                  <a:lnTo>
                    <a:pt x="74889" y="67916"/>
                  </a:lnTo>
                  <a:lnTo>
                    <a:pt x="48531" y="41559"/>
                  </a:ln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29" name="Freeform: Shape 28">
              <a:extLst>
                <a:ext uri="{FF2B5EF4-FFF2-40B4-BE49-F238E27FC236}">
                  <a16:creationId xmlns:a16="http://schemas.microsoft.com/office/drawing/2014/main" id="{670F3D31-AB07-A51F-76F0-3C5F13AB7269}"/>
                </a:ext>
              </a:extLst>
            </p:cNvPr>
            <p:cNvSpPr>
              <a:spLocks/>
            </p:cNvSpPr>
            <p:nvPr/>
          </p:nvSpPr>
          <p:spPr>
            <a:xfrm>
              <a:off x="3211097" y="3115656"/>
              <a:ext cx="657511" cy="517149"/>
            </a:xfrm>
            <a:custGeom>
              <a:avLst/>
              <a:gdLst>
                <a:gd name="connsiteX0" fmla="*/ 372659 w 657511"/>
                <a:gd name="connsiteY0" fmla="*/ 517149 h 517149"/>
                <a:gd name="connsiteX1" fmla="*/ 73198 w 657511"/>
                <a:gd name="connsiteY1" fmla="*/ 517149 h 517149"/>
                <a:gd name="connsiteX2" fmla="*/ 0 w 657511"/>
                <a:gd name="connsiteY2" fmla="*/ 443951 h 517149"/>
                <a:gd name="connsiteX3" fmla="*/ 0 w 657511"/>
                <a:gd name="connsiteY3" fmla="*/ 415212 h 517149"/>
                <a:gd name="connsiteX4" fmla="*/ 14449 w 657511"/>
                <a:gd name="connsiteY4" fmla="*/ 400763 h 517149"/>
                <a:gd name="connsiteX5" fmla="*/ 28898 w 657511"/>
                <a:gd name="connsiteY5" fmla="*/ 415212 h 517149"/>
                <a:gd name="connsiteX6" fmla="*/ 28898 w 657511"/>
                <a:gd name="connsiteY6" fmla="*/ 443951 h 517149"/>
                <a:gd name="connsiteX7" fmla="*/ 73198 w 657511"/>
                <a:gd name="connsiteY7" fmla="*/ 488251 h 517149"/>
                <a:gd name="connsiteX8" fmla="*/ 368213 w 657511"/>
                <a:gd name="connsiteY8" fmla="*/ 488251 h 517149"/>
                <a:gd name="connsiteX9" fmla="*/ 628613 w 657511"/>
                <a:gd name="connsiteY9" fmla="*/ 314704 h 517149"/>
                <a:gd name="connsiteX10" fmla="*/ 628613 w 657511"/>
                <a:gd name="connsiteY10" fmla="*/ 14449 h 517149"/>
                <a:gd name="connsiteX11" fmla="*/ 643063 w 657511"/>
                <a:gd name="connsiteY11" fmla="*/ 0 h 517149"/>
                <a:gd name="connsiteX12" fmla="*/ 657512 w 657511"/>
                <a:gd name="connsiteY12" fmla="*/ 14449 h 517149"/>
                <a:gd name="connsiteX13" fmla="*/ 657512 w 657511"/>
                <a:gd name="connsiteY13" fmla="*/ 322325 h 517149"/>
                <a:gd name="connsiteX14" fmla="*/ 651002 w 657511"/>
                <a:gd name="connsiteY14" fmla="*/ 334393 h 517149"/>
                <a:gd name="connsiteX15" fmla="*/ 380439 w 657511"/>
                <a:gd name="connsiteY15" fmla="*/ 514768 h 517149"/>
                <a:gd name="connsiteX16" fmla="*/ 372659 w 657511"/>
                <a:gd name="connsiteY16" fmla="*/ 517149 h 51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7511" h="517149">
                  <a:moveTo>
                    <a:pt x="372659" y="517149"/>
                  </a:moveTo>
                  <a:lnTo>
                    <a:pt x="73198" y="517149"/>
                  </a:lnTo>
                  <a:cubicBezTo>
                    <a:pt x="32868" y="517149"/>
                    <a:pt x="0" y="484282"/>
                    <a:pt x="0" y="443951"/>
                  </a:cubicBezTo>
                  <a:lnTo>
                    <a:pt x="0" y="415212"/>
                  </a:lnTo>
                  <a:cubicBezTo>
                    <a:pt x="0" y="407273"/>
                    <a:pt x="6510" y="400763"/>
                    <a:pt x="14449" y="400763"/>
                  </a:cubicBezTo>
                  <a:cubicBezTo>
                    <a:pt x="22388" y="400763"/>
                    <a:pt x="28898" y="407273"/>
                    <a:pt x="28898" y="415212"/>
                  </a:cubicBezTo>
                  <a:lnTo>
                    <a:pt x="28898" y="443951"/>
                  </a:lnTo>
                  <a:cubicBezTo>
                    <a:pt x="28898" y="468404"/>
                    <a:pt x="48746" y="488251"/>
                    <a:pt x="73198" y="488251"/>
                  </a:cubicBezTo>
                  <a:lnTo>
                    <a:pt x="368213" y="488251"/>
                  </a:lnTo>
                  <a:lnTo>
                    <a:pt x="628613" y="314704"/>
                  </a:lnTo>
                  <a:lnTo>
                    <a:pt x="628613" y="14449"/>
                  </a:lnTo>
                  <a:cubicBezTo>
                    <a:pt x="628613" y="6510"/>
                    <a:pt x="635124" y="0"/>
                    <a:pt x="643063" y="0"/>
                  </a:cubicBezTo>
                  <a:cubicBezTo>
                    <a:pt x="651002" y="0"/>
                    <a:pt x="657512" y="6510"/>
                    <a:pt x="657512" y="14449"/>
                  </a:cubicBezTo>
                  <a:lnTo>
                    <a:pt x="657512" y="322325"/>
                  </a:lnTo>
                  <a:cubicBezTo>
                    <a:pt x="657512" y="327089"/>
                    <a:pt x="655130" y="331693"/>
                    <a:pt x="651002" y="334393"/>
                  </a:cubicBezTo>
                  <a:lnTo>
                    <a:pt x="380439" y="514768"/>
                  </a:lnTo>
                  <a:cubicBezTo>
                    <a:pt x="378375" y="516197"/>
                    <a:pt x="375517" y="517149"/>
                    <a:pt x="372659" y="517149"/>
                  </a:cubicBez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30" name="Freeform: Shape 29">
              <a:extLst>
                <a:ext uri="{FF2B5EF4-FFF2-40B4-BE49-F238E27FC236}">
                  <a16:creationId xmlns:a16="http://schemas.microsoft.com/office/drawing/2014/main" id="{182E9F01-D1E3-B5E7-F087-B2533916A639}"/>
                </a:ext>
              </a:extLst>
            </p:cNvPr>
            <p:cNvSpPr>
              <a:spLocks/>
            </p:cNvSpPr>
            <p:nvPr/>
          </p:nvSpPr>
          <p:spPr>
            <a:xfrm>
              <a:off x="3211097" y="2800476"/>
              <a:ext cx="657670" cy="653859"/>
            </a:xfrm>
            <a:custGeom>
              <a:avLst/>
              <a:gdLst>
                <a:gd name="connsiteX0" fmla="*/ 14449 w 657670"/>
                <a:gd name="connsiteY0" fmla="*/ 653860 h 653859"/>
                <a:gd name="connsiteX1" fmla="*/ 0 w 657670"/>
                <a:gd name="connsiteY1" fmla="*/ 639411 h 653859"/>
                <a:gd name="connsiteX2" fmla="*/ 0 w 657670"/>
                <a:gd name="connsiteY2" fmla="*/ 73198 h 653859"/>
                <a:gd name="connsiteX3" fmla="*/ 73198 w 657670"/>
                <a:gd name="connsiteY3" fmla="*/ 0 h 653859"/>
                <a:gd name="connsiteX4" fmla="*/ 584472 w 657670"/>
                <a:gd name="connsiteY4" fmla="*/ 0 h 653859"/>
                <a:gd name="connsiteX5" fmla="*/ 657670 w 657670"/>
                <a:gd name="connsiteY5" fmla="*/ 73198 h 653859"/>
                <a:gd name="connsiteX6" fmla="*/ 657670 w 657670"/>
                <a:gd name="connsiteY6" fmla="*/ 137346 h 653859"/>
                <a:gd name="connsiteX7" fmla="*/ 643221 w 657670"/>
                <a:gd name="connsiteY7" fmla="*/ 151794 h 653859"/>
                <a:gd name="connsiteX8" fmla="*/ 628772 w 657670"/>
                <a:gd name="connsiteY8" fmla="*/ 137346 h 653859"/>
                <a:gd name="connsiteX9" fmla="*/ 628772 w 657670"/>
                <a:gd name="connsiteY9" fmla="*/ 73198 h 653859"/>
                <a:gd name="connsiteX10" fmla="*/ 584472 w 657670"/>
                <a:gd name="connsiteY10" fmla="*/ 28898 h 653859"/>
                <a:gd name="connsiteX11" fmla="*/ 73198 w 657670"/>
                <a:gd name="connsiteY11" fmla="*/ 28898 h 653859"/>
                <a:gd name="connsiteX12" fmla="*/ 28898 w 657670"/>
                <a:gd name="connsiteY12" fmla="*/ 73198 h 653859"/>
                <a:gd name="connsiteX13" fmla="*/ 28898 w 657670"/>
                <a:gd name="connsiteY13" fmla="*/ 639411 h 653859"/>
                <a:gd name="connsiteX14" fmla="*/ 14449 w 657670"/>
                <a:gd name="connsiteY14" fmla="*/ 653860 h 65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7670" h="653859">
                  <a:moveTo>
                    <a:pt x="14449" y="653860"/>
                  </a:moveTo>
                  <a:cubicBezTo>
                    <a:pt x="6510" y="653860"/>
                    <a:pt x="0" y="647350"/>
                    <a:pt x="0" y="639411"/>
                  </a:cubicBezTo>
                  <a:lnTo>
                    <a:pt x="0" y="73198"/>
                  </a:lnTo>
                  <a:cubicBezTo>
                    <a:pt x="0" y="32868"/>
                    <a:pt x="32868" y="0"/>
                    <a:pt x="73198" y="0"/>
                  </a:cubicBezTo>
                  <a:lnTo>
                    <a:pt x="584472" y="0"/>
                  </a:lnTo>
                  <a:cubicBezTo>
                    <a:pt x="624803" y="0"/>
                    <a:pt x="657670" y="32868"/>
                    <a:pt x="657670" y="73198"/>
                  </a:cubicBezTo>
                  <a:lnTo>
                    <a:pt x="657670" y="137346"/>
                  </a:lnTo>
                  <a:cubicBezTo>
                    <a:pt x="657670" y="145285"/>
                    <a:pt x="651160" y="151794"/>
                    <a:pt x="643221" y="151794"/>
                  </a:cubicBezTo>
                  <a:cubicBezTo>
                    <a:pt x="635282" y="151794"/>
                    <a:pt x="628772" y="145285"/>
                    <a:pt x="628772" y="137346"/>
                  </a:cubicBezTo>
                  <a:lnTo>
                    <a:pt x="628772" y="73198"/>
                  </a:lnTo>
                  <a:cubicBezTo>
                    <a:pt x="628772" y="48746"/>
                    <a:pt x="608925" y="28898"/>
                    <a:pt x="584472" y="28898"/>
                  </a:cubicBezTo>
                  <a:lnTo>
                    <a:pt x="73198" y="28898"/>
                  </a:lnTo>
                  <a:cubicBezTo>
                    <a:pt x="48746" y="28898"/>
                    <a:pt x="28898" y="48746"/>
                    <a:pt x="28898" y="73198"/>
                  </a:cubicBezTo>
                  <a:lnTo>
                    <a:pt x="28898" y="639411"/>
                  </a:lnTo>
                  <a:cubicBezTo>
                    <a:pt x="28898" y="647508"/>
                    <a:pt x="22388" y="653860"/>
                    <a:pt x="14449" y="653860"/>
                  </a:cubicBez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31" name="Freeform: Shape 30">
              <a:extLst>
                <a:ext uri="{FF2B5EF4-FFF2-40B4-BE49-F238E27FC236}">
                  <a16:creationId xmlns:a16="http://schemas.microsoft.com/office/drawing/2014/main" id="{D192403A-7CD8-0A90-BF94-F2D44EA980CB}"/>
                </a:ext>
              </a:extLst>
            </p:cNvPr>
            <p:cNvSpPr>
              <a:spLocks/>
            </p:cNvSpPr>
            <p:nvPr/>
          </p:nvSpPr>
          <p:spPr>
            <a:xfrm>
              <a:off x="3943394" y="3097079"/>
              <a:ext cx="28898" cy="39060"/>
            </a:xfrm>
            <a:custGeom>
              <a:avLst/>
              <a:gdLst>
                <a:gd name="connsiteX0" fmla="*/ 14449 w 28898"/>
                <a:gd name="connsiteY0" fmla="*/ 39060 h 39060"/>
                <a:gd name="connsiteX1" fmla="*/ 0 w 28898"/>
                <a:gd name="connsiteY1" fmla="*/ 24611 h 39060"/>
                <a:gd name="connsiteX2" fmla="*/ 0 w 28898"/>
                <a:gd name="connsiteY2" fmla="*/ 14449 h 39060"/>
                <a:gd name="connsiteX3" fmla="*/ 14449 w 28898"/>
                <a:gd name="connsiteY3" fmla="*/ 0 h 39060"/>
                <a:gd name="connsiteX4" fmla="*/ 28898 w 28898"/>
                <a:gd name="connsiteY4" fmla="*/ 14449 h 39060"/>
                <a:gd name="connsiteX5" fmla="*/ 28898 w 28898"/>
                <a:gd name="connsiteY5" fmla="*/ 24611 h 39060"/>
                <a:gd name="connsiteX6" fmla="*/ 14449 w 28898"/>
                <a:gd name="connsiteY6" fmla="*/ 39060 h 3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98" h="39060">
                  <a:moveTo>
                    <a:pt x="14449" y="39060"/>
                  </a:moveTo>
                  <a:cubicBezTo>
                    <a:pt x="6510" y="39060"/>
                    <a:pt x="0" y="32550"/>
                    <a:pt x="0" y="24611"/>
                  </a:cubicBezTo>
                  <a:lnTo>
                    <a:pt x="0" y="14449"/>
                  </a:lnTo>
                  <a:cubicBezTo>
                    <a:pt x="0" y="6510"/>
                    <a:pt x="6510" y="0"/>
                    <a:pt x="14449" y="0"/>
                  </a:cubicBezTo>
                  <a:cubicBezTo>
                    <a:pt x="22388" y="0"/>
                    <a:pt x="28898" y="6510"/>
                    <a:pt x="28898" y="14449"/>
                  </a:cubicBezTo>
                  <a:lnTo>
                    <a:pt x="28898" y="24611"/>
                  </a:lnTo>
                  <a:cubicBezTo>
                    <a:pt x="28898" y="32550"/>
                    <a:pt x="22388" y="39060"/>
                    <a:pt x="14449" y="39060"/>
                  </a:cubicBez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34" name="Freeform: Shape 33">
              <a:extLst>
                <a:ext uri="{FF2B5EF4-FFF2-40B4-BE49-F238E27FC236}">
                  <a16:creationId xmlns:a16="http://schemas.microsoft.com/office/drawing/2014/main" id="{4A7F5E6C-713F-D033-826D-447445E9CB4C}"/>
                </a:ext>
              </a:extLst>
            </p:cNvPr>
            <p:cNvSpPr>
              <a:spLocks/>
            </p:cNvSpPr>
            <p:nvPr/>
          </p:nvSpPr>
          <p:spPr>
            <a:xfrm>
              <a:off x="3963083" y="3127088"/>
              <a:ext cx="39059" cy="28898"/>
            </a:xfrm>
            <a:custGeom>
              <a:avLst/>
              <a:gdLst>
                <a:gd name="connsiteX0" fmla="*/ 24611 w 39059"/>
                <a:gd name="connsiteY0" fmla="*/ 28898 h 28898"/>
                <a:gd name="connsiteX1" fmla="*/ 14449 w 39059"/>
                <a:gd name="connsiteY1" fmla="*/ 28898 h 28898"/>
                <a:gd name="connsiteX2" fmla="*/ 0 w 39059"/>
                <a:gd name="connsiteY2" fmla="*/ 14449 h 28898"/>
                <a:gd name="connsiteX3" fmla="*/ 14449 w 39059"/>
                <a:gd name="connsiteY3" fmla="*/ 0 h 28898"/>
                <a:gd name="connsiteX4" fmla="*/ 24611 w 39059"/>
                <a:gd name="connsiteY4" fmla="*/ 0 h 28898"/>
                <a:gd name="connsiteX5" fmla="*/ 39060 w 39059"/>
                <a:gd name="connsiteY5" fmla="*/ 14449 h 28898"/>
                <a:gd name="connsiteX6" fmla="*/ 24611 w 39059"/>
                <a:gd name="connsiteY6" fmla="*/ 28898 h 2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59" h="28898">
                  <a:moveTo>
                    <a:pt x="24611" y="28898"/>
                  </a:moveTo>
                  <a:lnTo>
                    <a:pt x="14449" y="28898"/>
                  </a:lnTo>
                  <a:cubicBezTo>
                    <a:pt x="6510" y="28898"/>
                    <a:pt x="0" y="22388"/>
                    <a:pt x="0" y="14449"/>
                  </a:cubicBezTo>
                  <a:cubicBezTo>
                    <a:pt x="0" y="6510"/>
                    <a:pt x="6510" y="0"/>
                    <a:pt x="14449" y="0"/>
                  </a:cubicBezTo>
                  <a:lnTo>
                    <a:pt x="24611" y="0"/>
                  </a:lnTo>
                  <a:cubicBezTo>
                    <a:pt x="32550" y="0"/>
                    <a:pt x="39060" y="6510"/>
                    <a:pt x="39060" y="14449"/>
                  </a:cubicBezTo>
                  <a:cubicBezTo>
                    <a:pt x="39060" y="22547"/>
                    <a:pt x="32709" y="28898"/>
                    <a:pt x="24611" y="28898"/>
                  </a:cubicBez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35" name="Freeform: Shape 34">
              <a:extLst>
                <a:ext uri="{FF2B5EF4-FFF2-40B4-BE49-F238E27FC236}">
                  <a16:creationId xmlns:a16="http://schemas.microsoft.com/office/drawing/2014/main" id="{3DC8347C-13F6-2A13-B716-AFD382E4B66D}"/>
                </a:ext>
              </a:extLst>
            </p:cNvPr>
            <p:cNvSpPr>
              <a:spLocks/>
            </p:cNvSpPr>
            <p:nvPr/>
          </p:nvSpPr>
          <p:spPr>
            <a:xfrm>
              <a:off x="3943394" y="3146936"/>
              <a:ext cx="28898" cy="39060"/>
            </a:xfrm>
            <a:custGeom>
              <a:avLst/>
              <a:gdLst>
                <a:gd name="connsiteX0" fmla="*/ 14449 w 28898"/>
                <a:gd name="connsiteY0" fmla="*/ 39060 h 39060"/>
                <a:gd name="connsiteX1" fmla="*/ 0 w 28898"/>
                <a:gd name="connsiteY1" fmla="*/ 24611 h 39060"/>
                <a:gd name="connsiteX2" fmla="*/ 0 w 28898"/>
                <a:gd name="connsiteY2" fmla="*/ 14449 h 39060"/>
                <a:gd name="connsiteX3" fmla="*/ 14449 w 28898"/>
                <a:gd name="connsiteY3" fmla="*/ 0 h 39060"/>
                <a:gd name="connsiteX4" fmla="*/ 28898 w 28898"/>
                <a:gd name="connsiteY4" fmla="*/ 14449 h 39060"/>
                <a:gd name="connsiteX5" fmla="*/ 28898 w 28898"/>
                <a:gd name="connsiteY5" fmla="*/ 24611 h 39060"/>
                <a:gd name="connsiteX6" fmla="*/ 14449 w 28898"/>
                <a:gd name="connsiteY6" fmla="*/ 39060 h 3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98" h="39060">
                  <a:moveTo>
                    <a:pt x="14449" y="39060"/>
                  </a:moveTo>
                  <a:cubicBezTo>
                    <a:pt x="6510" y="39060"/>
                    <a:pt x="0" y="32550"/>
                    <a:pt x="0" y="24611"/>
                  </a:cubicBezTo>
                  <a:lnTo>
                    <a:pt x="0" y="14449"/>
                  </a:lnTo>
                  <a:cubicBezTo>
                    <a:pt x="0" y="6510"/>
                    <a:pt x="6510" y="0"/>
                    <a:pt x="14449" y="0"/>
                  </a:cubicBezTo>
                  <a:cubicBezTo>
                    <a:pt x="22388" y="0"/>
                    <a:pt x="28898" y="6510"/>
                    <a:pt x="28898" y="14449"/>
                  </a:cubicBezTo>
                  <a:lnTo>
                    <a:pt x="28898" y="24611"/>
                  </a:lnTo>
                  <a:cubicBezTo>
                    <a:pt x="28898" y="32550"/>
                    <a:pt x="22388" y="39060"/>
                    <a:pt x="14449" y="39060"/>
                  </a:cubicBez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36" name="Freeform: Shape 35">
              <a:extLst>
                <a:ext uri="{FF2B5EF4-FFF2-40B4-BE49-F238E27FC236}">
                  <a16:creationId xmlns:a16="http://schemas.microsoft.com/office/drawing/2014/main" id="{F4EBC6A4-ED5B-4D7A-B8B3-F0D5C52200C6}"/>
                </a:ext>
              </a:extLst>
            </p:cNvPr>
            <p:cNvSpPr>
              <a:spLocks/>
            </p:cNvSpPr>
            <p:nvPr/>
          </p:nvSpPr>
          <p:spPr>
            <a:xfrm>
              <a:off x="3913384" y="3127088"/>
              <a:ext cx="39060" cy="28898"/>
            </a:xfrm>
            <a:custGeom>
              <a:avLst/>
              <a:gdLst>
                <a:gd name="connsiteX0" fmla="*/ 24611 w 39060"/>
                <a:gd name="connsiteY0" fmla="*/ 28898 h 28898"/>
                <a:gd name="connsiteX1" fmla="*/ 14449 w 39060"/>
                <a:gd name="connsiteY1" fmla="*/ 28898 h 28898"/>
                <a:gd name="connsiteX2" fmla="*/ 0 w 39060"/>
                <a:gd name="connsiteY2" fmla="*/ 14449 h 28898"/>
                <a:gd name="connsiteX3" fmla="*/ 14449 w 39060"/>
                <a:gd name="connsiteY3" fmla="*/ 0 h 28898"/>
                <a:gd name="connsiteX4" fmla="*/ 24611 w 39060"/>
                <a:gd name="connsiteY4" fmla="*/ 0 h 28898"/>
                <a:gd name="connsiteX5" fmla="*/ 39060 w 39060"/>
                <a:gd name="connsiteY5" fmla="*/ 14449 h 28898"/>
                <a:gd name="connsiteX6" fmla="*/ 24611 w 39060"/>
                <a:gd name="connsiteY6" fmla="*/ 28898 h 2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60" h="28898">
                  <a:moveTo>
                    <a:pt x="24611" y="28898"/>
                  </a:moveTo>
                  <a:lnTo>
                    <a:pt x="14449" y="28898"/>
                  </a:lnTo>
                  <a:cubicBezTo>
                    <a:pt x="6510" y="28898"/>
                    <a:pt x="0" y="22388"/>
                    <a:pt x="0" y="14449"/>
                  </a:cubicBezTo>
                  <a:cubicBezTo>
                    <a:pt x="0" y="6510"/>
                    <a:pt x="6510" y="0"/>
                    <a:pt x="14449" y="0"/>
                  </a:cubicBezTo>
                  <a:lnTo>
                    <a:pt x="24611" y="0"/>
                  </a:lnTo>
                  <a:cubicBezTo>
                    <a:pt x="32550" y="0"/>
                    <a:pt x="39060" y="6510"/>
                    <a:pt x="39060" y="14449"/>
                  </a:cubicBezTo>
                  <a:cubicBezTo>
                    <a:pt x="39060" y="22547"/>
                    <a:pt x="32550" y="28898"/>
                    <a:pt x="24611" y="28898"/>
                  </a:cubicBez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37" name="Freeform: Shape 36">
              <a:extLst>
                <a:ext uri="{FF2B5EF4-FFF2-40B4-BE49-F238E27FC236}">
                  <a16:creationId xmlns:a16="http://schemas.microsoft.com/office/drawing/2014/main" id="{2CAF76F4-3980-A0D4-18D4-6D586D31F7F7}"/>
                </a:ext>
              </a:extLst>
            </p:cNvPr>
            <p:cNvSpPr>
              <a:spLocks/>
            </p:cNvSpPr>
            <p:nvPr/>
          </p:nvSpPr>
          <p:spPr>
            <a:xfrm>
              <a:off x="3855271" y="3483710"/>
              <a:ext cx="28898" cy="39060"/>
            </a:xfrm>
            <a:custGeom>
              <a:avLst/>
              <a:gdLst>
                <a:gd name="connsiteX0" fmla="*/ 14449 w 28898"/>
                <a:gd name="connsiteY0" fmla="*/ 39060 h 39060"/>
                <a:gd name="connsiteX1" fmla="*/ 0 w 28898"/>
                <a:gd name="connsiteY1" fmla="*/ 24611 h 39060"/>
                <a:gd name="connsiteX2" fmla="*/ 0 w 28898"/>
                <a:gd name="connsiteY2" fmla="*/ 14449 h 39060"/>
                <a:gd name="connsiteX3" fmla="*/ 14449 w 28898"/>
                <a:gd name="connsiteY3" fmla="*/ 0 h 39060"/>
                <a:gd name="connsiteX4" fmla="*/ 28898 w 28898"/>
                <a:gd name="connsiteY4" fmla="*/ 14449 h 39060"/>
                <a:gd name="connsiteX5" fmla="*/ 28898 w 28898"/>
                <a:gd name="connsiteY5" fmla="*/ 24611 h 39060"/>
                <a:gd name="connsiteX6" fmla="*/ 14449 w 28898"/>
                <a:gd name="connsiteY6" fmla="*/ 39060 h 3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98" h="39060">
                  <a:moveTo>
                    <a:pt x="14449" y="39060"/>
                  </a:moveTo>
                  <a:cubicBezTo>
                    <a:pt x="6510" y="39060"/>
                    <a:pt x="0" y="32550"/>
                    <a:pt x="0" y="24611"/>
                  </a:cubicBezTo>
                  <a:lnTo>
                    <a:pt x="0" y="14449"/>
                  </a:lnTo>
                  <a:cubicBezTo>
                    <a:pt x="0" y="6510"/>
                    <a:pt x="6510" y="0"/>
                    <a:pt x="14449" y="0"/>
                  </a:cubicBezTo>
                  <a:cubicBezTo>
                    <a:pt x="22388" y="0"/>
                    <a:pt x="28898" y="6510"/>
                    <a:pt x="28898" y="14449"/>
                  </a:cubicBezTo>
                  <a:lnTo>
                    <a:pt x="28898" y="24611"/>
                  </a:lnTo>
                  <a:cubicBezTo>
                    <a:pt x="28898" y="32550"/>
                    <a:pt x="22388" y="39060"/>
                    <a:pt x="14449" y="39060"/>
                  </a:cubicBez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38" name="Freeform: Shape 37">
              <a:extLst>
                <a:ext uri="{FF2B5EF4-FFF2-40B4-BE49-F238E27FC236}">
                  <a16:creationId xmlns:a16="http://schemas.microsoft.com/office/drawing/2014/main" id="{CB83BEF8-C9A9-6846-E457-E0E3F7ED1CA4}"/>
                </a:ext>
              </a:extLst>
            </p:cNvPr>
            <p:cNvSpPr>
              <a:spLocks/>
            </p:cNvSpPr>
            <p:nvPr/>
          </p:nvSpPr>
          <p:spPr>
            <a:xfrm>
              <a:off x="3875118" y="3513720"/>
              <a:ext cx="39060" cy="28898"/>
            </a:xfrm>
            <a:custGeom>
              <a:avLst/>
              <a:gdLst>
                <a:gd name="connsiteX0" fmla="*/ 24611 w 39060"/>
                <a:gd name="connsiteY0" fmla="*/ 28898 h 28898"/>
                <a:gd name="connsiteX1" fmla="*/ 14449 w 39060"/>
                <a:gd name="connsiteY1" fmla="*/ 28898 h 28898"/>
                <a:gd name="connsiteX2" fmla="*/ 0 w 39060"/>
                <a:gd name="connsiteY2" fmla="*/ 14449 h 28898"/>
                <a:gd name="connsiteX3" fmla="*/ 14449 w 39060"/>
                <a:gd name="connsiteY3" fmla="*/ 0 h 28898"/>
                <a:gd name="connsiteX4" fmla="*/ 24611 w 39060"/>
                <a:gd name="connsiteY4" fmla="*/ 0 h 28898"/>
                <a:gd name="connsiteX5" fmla="*/ 39060 w 39060"/>
                <a:gd name="connsiteY5" fmla="*/ 14449 h 28898"/>
                <a:gd name="connsiteX6" fmla="*/ 24611 w 39060"/>
                <a:gd name="connsiteY6" fmla="*/ 28898 h 2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60" h="28898">
                  <a:moveTo>
                    <a:pt x="24611" y="28898"/>
                  </a:moveTo>
                  <a:lnTo>
                    <a:pt x="14449" y="28898"/>
                  </a:lnTo>
                  <a:cubicBezTo>
                    <a:pt x="6510" y="28898"/>
                    <a:pt x="0" y="22388"/>
                    <a:pt x="0" y="14449"/>
                  </a:cubicBezTo>
                  <a:cubicBezTo>
                    <a:pt x="0" y="6510"/>
                    <a:pt x="6510" y="0"/>
                    <a:pt x="14449" y="0"/>
                  </a:cubicBezTo>
                  <a:lnTo>
                    <a:pt x="24611" y="0"/>
                  </a:lnTo>
                  <a:cubicBezTo>
                    <a:pt x="32550" y="0"/>
                    <a:pt x="39060" y="6510"/>
                    <a:pt x="39060" y="14449"/>
                  </a:cubicBezTo>
                  <a:cubicBezTo>
                    <a:pt x="39060" y="22388"/>
                    <a:pt x="32550" y="28898"/>
                    <a:pt x="24611" y="28898"/>
                  </a:cubicBez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39" name="Freeform: Shape 38">
              <a:extLst>
                <a:ext uri="{FF2B5EF4-FFF2-40B4-BE49-F238E27FC236}">
                  <a16:creationId xmlns:a16="http://schemas.microsoft.com/office/drawing/2014/main" id="{C47A44AD-4D92-E344-2B4B-76A925641474}"/>
                </a:ext>
              </a:extLst>
            </p:cNvPr>
            <p:cNvSpPr>
              <a:spLocks/>
            </p:cNvSpPr>
            <p:nvPr/>
          </p:nvSpPr>
          <p:spPr>
            <a:xfrm>
              <a:off x="3855271" y="3533409"/>
              <a:ext cx="28898" cy="39060"/>
            </a:xfrm>
            <a:custGeom>
              <a:avLst/>
              <a:gdLst>
                <a:gd name="connsiteX0" fmla="*/ 14449 w 28898"/>
                <a:gd name="connsiteY0" fmla="*/ 39060 h 39060"/>
                <a:gd name="connsiteX1" fmla="*/ 0 w 28898"/>
                <a:gd name="connsiteY1" fmla="*/ 24611 h 39060"/>
                <a:gd name="connsiteX2" fmla="*/ 0 w 28898"/>
                <a:gd name="connsiteY2" fmla="*/ 14449 h 39060"/>
                <a:gd name="connsiteX3" fmla="*/ 14449 w 28898"/>
                <a:gd name="connsiteY3" fmla="*/ 0 h 39060"/>
                <a:gd name="connsiteX4" fmla="*/ 28898 w 28898"/>
                <a:gd name="connsiteY4" fmla="*/ 14449 h 39060"/>
                <a:gd name="connsiteX5" fmla="*/ 28898 w 28898"/>
                <a:gd name="connsiteY5" fmla="*/ 24611 h 39060"/>
                <a:gd name="connsiteX6" fmla="*/ 14449 w 28898"/>
                <a:gd name="connsiteY6" fmla="*/ 39060 h 3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98" h="39060">
                  <a:moveTo>
                    <a:pt x="14449" y="39060"/>
                  </a:moveTo>
                  <a:cubicBezTo>
                    <a:pt x="6510" y="39060"/>
                    <a:pt x="0" y="32550"/>
                    <a:pt x="0" y="24611"/>
                  </a:cubicBezTo>
                  <a:lnTo>
                    <a:pt x="0" y="14449"/>
                  </a:lnTo>
                  <a:cubicBezTo>
                    <a:pt x="0" y="6510"/>
                    <a:pt x="6510" y="0"/>
                    <a:pt x="14449" y="0"/>
                  </a:cubicBezTo>
                  <a:cubicBezTo>
                    <a:pt x="22388" y="0"/>
                    <a:pt x="28898" y="6510"/>
                    <a:pt x="28898" y="14449"/>
                  </a:cubicBezTo>
                  <a:lnTo>
                    <a:pt x="28898" y="24611"/>
                  </a:lnTo>
                  <a:cubicBezTo>
                    <a:pt x="28898" y="32709"/>
                    <a:pt x="22388" y="39060"/>
                    <a:pt x="14449" y="39060"/>
                  </a:cubicBez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40" name="Freeform: Shape 39">
              <a:extLst>
                <a:ext uri="{FF2B5EF4-FFF2-40B4-BE49-F238E27FC236}">
                  <a16:creationId xmlns:a16="http://schemas.microsoft.com/office/drawing/2014/main" id="{6F992D72-9BC9-81FD-E80E-7A97A51BD26A}"/>
                </a:ext>
              </a:extLst>
            </p:cNvPr>
            <p:cNvSpPr>
              <a:spLocks/>
            </p:cNvSpPr>
            <p:nvPr/>
          </p:nvSpPr>
          <p:spPr>
            <a:xfrm>
              <a:off x="3825261" y="3513720"/>
              <a:ext cx="39060" cy="28898"/>
            </a:xfrm>
            <a:custGeom>
              <a:avLst/>
              <a:gdLst>
                <a:gd name="connsiteX0" fmla="*/ 24611 w 39060"/>
                <a:gd name="connsiteY0" fmla="*/ 28898 h 28898"/>
                <a:gd name="connsiteX1" fmla="*/ 14449 w 39060"/>
                <a:gd name="connsiteY1" fmla="*/ 28898 h 28898"/>
                <a:gd name="connsiteX2" fmla="*/ 0 w 39060"/>
                <a:gd name="connsiteY2" fmla="*/ 14449 h 28898"/>
                <a:gd name="connsiteX3" fmla="*/ 14449 w 39060"/>
                <a:gd name="connsiteY3" fmla="*/ 0 h 28898"/>
                <a:gd name="connsiteX4" fmla="*/ 24611 w 39060"/>
                <a:gd name="connsiteY4" fmla="*/ 0 h 28898"/>
                <a:gd name="connsiteX5" fmla="*/ 39060 w 39060"/>
                <a:gd name="connsiteY5" fmla="*/ 14449 h 28898"/>
                <a:gd name="connsiteX6" fmla="*/ 24611 w 39060"/>
                <a:gd name="connsiteY6" fmla="*/ 28898 h 2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60" h="28898">
                  <a:moveTo>
                    <a:pt x="24611" y="28898"/>
                  </a:moveTo>
                  <a:lnTo>
                    <a:pt x="14449" y="28898"/>
                  </a:lnTo>
                  <a:cubicBezTo>
                    <a:pt x="6510" y="28898"/>
                    <a:pt x="0" y="22388"/>
                    <a:pt x="0" y="14449"/>
                  </a:cubicBezTo>
                  <a:cubicBezTo>
                    <a:pt x="0" y="6510"/>
                    <a:pt x="6510" y="0"/>
                    <a:pt x="14449" y="0"/>
                  </a:cubicBezTo>
                  <a:lnTo>
                    <a:pt x="24611" y="0"/>
                  </a:lnTo>
                  <a:cubicBezTo>
                    <a:pt x="32550" y="0"/>
                    <a:pt x="39060" y="6510"/>
                    <a:pt x="39060" y="14449"/>
                  </a:cubicBezTo>
                  <a:cubicBezTo>
                    <a:pt x="39060" y="22388"/>
                    <a:pt x="32550" y="28898"/>
                    <a:pt x="24611" y="28898"/>
                  </a:cubicBezTo>
                  <a:close/>
                </a:path>
              </a:pathLst>
            </a:custGeom>
            <a:grp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grpSp>
      <p:grpSp>
        <p:nvGrpSpPr>
          <p:cNvPr id="19" name="Group 18">
            <a:extLst>
              <a:ext uri="{FF2B5EF4-FFF2-40B4-BE49-F238E27FC236}">
                <a16:creationId xmlns:a16="http://schemas.microsoft.com/office/drawing/2014/main" id="{A2ABAC1F-CAC7-71C3-9A91-82DB83CB6DD5}"/>
              </a:ext>
            </a:extLst>
          </p:cNvPr>
          <p:cNvGrpSpPr/>
          <p:nvPr/>
        </p:nvGrpSpPr>
        <p:grpSpPr>
          <a:xfrm>
            <a:off x="4673781" y="2095575"/>
            <a:ext cx="2337510" cy="4084898"/>
            <a:chOff x="4673781" y="2095575"/>
            <a:chExt cx="2337510" cy="4084898"/>
          </a:xfrm>
        </p:grpSpPr>
        <p:sp>
          <p:nvSpPr>
            <p:cNvPr id="41" name="Freeform: Shape 40">
              <a:extLst>
                <a:ext uri="{FF2B5EF4-FFF2-40B4-BE49-F238E27FC236}">
                  <a16:creationId xmlns:a16="http://schemas.microsoft.com/office/drawing/2014/main" id="{78D39C9C-FB9C-B5FA-0DDF-3CECCF584557}"/>
                </a:ext>
              </a:extLst>
            </p:cNvPr>
            <p:cNvSpPr/>
            <p:nvPr/>
          </p:nvSpPr>
          <p:spPr>
            <a:xfrm>
              <a:off x="5495046" y="2474898"/>
              <a:ext cx="1513848" cy="3612992"/>
            </a:xfrm>
            <a:custGeom>
              <a:avLst/>
              <a:gdLst>
                <a:gd name="connsiteX0" fmla="*/ 88103 w 1488578"/>
                <a:gd name="connsiteY0" fmla="*/ 2956289 h 2956289"/>
                <a:gd name="connsiteX1" fmla="*/ 1258179 w 1488578"/>
                <a:gd name="connsiteY1" fmla="*/ 2956289 h 2956289"/>
                <a:gd name="connsiteX2" fmla="*/ 1346210 w 1488578"/>
                <a:gd name="connsiteY2" fmla="*/ 2868259 h 2956289"/>
                <a:gd name="connsiteX3" fmla="*/ 1346210 w 1488578"/>
                <a:gd name="connsiteY3" fmla="*/ 1717502 h 2956289"/>
                <a:gd name="connsiteX4" fmla="*/ 1393774 w 1488578"/>
                <a:gd name="connsiteY4" fmla="*/ 1611470 h 2956289"/>
                <a:gd name="connsiteX5" fmla="*/ 1471486 w 1488578"/>
                <a:gd name="connsiteY5" fmla="*/ 1542246 h 2956289"/>
                <a:gd name="connsiteX6" fmla="*/ 1474779 w 1488578"/>
                <a:gd name="connsiteY6" fmla="*/ 1469217 h 2956289"/>
                <a:gd name="connsiteX7" fmla="*/ 1384480 w 1488578"/>
                <a:gd name="connsiteY7" fmla="*/ 1372772 h 2956289"/>
                <a:gd name="connsiteX8" fmla="*/ 1346136 w 1488578"/>
                <a:gd name="connsiteY8" fmla="*/ 1275741 h 2956289"/>
                <a:gd name="connsiteX9" fmla="*/ 1346136 w 1488578"/>
                <a:gd name="connsiteY9" fmla="*/ 88030 h 2956289"/>
                <a:gd name="connsiteX10" fmla="*/ 1258106 w 1488578"/>
                <a:gd name="connsiteY10" fmla="*/ 0 h 2956289"/>
                <a:gd name="connsiteX11" fmla="*/ 88030 w 1488578"/>
                <a:gd name="connsiteY11" fmla="*/ 0 h 2956289"/>
                <a:gd name="connsiteX12" fmla="*/ 0 w 1488578"/>
                <a:gd name="connsiteY12" fmla="*/ 88030 h 2956289"/>
                <a:gd name="connsiteX13" fmla="*/ 0 w 1488578"/>
                <a:gd name="connsiteY13" fmla="*/ 2868186 h 2956289"/>
                <a:gd name="connsiteX14" fmla="*/ 88030 w 1488578"/>
                <a:gd name="connsiteY14" fmla="*/ 2956216 h 295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88578" h="2956289">
                  <a:moveTo>
                    <a:pt x="88103" y="2956289"/>
                  </a:moveTo>
                  <a:lnTo>
                    <a:pt x="1258179" y="2956289"/>
                  </a:lnTo>
                  <a:cubicBezTo>
                    <a:pt x="1306841" y="2956289"/>
                    <a:pt x="1346210" y="2916848"/>
                    <a:pt x="1346210" y="2868259"/>
                  </a:cubicBezTo>
                  <a:lnTo>
                    <a:pt x="1346210" y="1717502"/>
                  </a:lnTo>
                  <a:cubicBezTo>
                    <a:pt x="1346210" y="1676962"/>
                    <a:pt x="1363479" y="1638399"/>
                    <a:pt x="1393774" y="1611470"/>
                  </a:cubicBezTo>
                  <a:lnTo>
                    <a:pt x="1471486" y="1542246"/>
                  </a:lnTo>
                  <a:cubicBezTo>
                    <a:pt x="1492926" y="1523147"/>
                    <a:pt x="1494390" y="1490219"/>
                    <a:pt x="1474779" y="1469217"/>
                  </a:cubicBezTo>
                  <a:lnTo>
                    <a:pt x="1384480" y="1372772"/>
                  </a:lnTo>
                  <a:cubicBezTo>
                    <a:pt x="1359893" y="1346429"/>
                    <a:pt x="1346136" y="1311817"/>
                    <a:pt x="1346136" y="1275741"/>
                  </a:cubicBezTo>
                  <a:lnTo>
                    <a:pt x="1346136" y="88030"/>
                  </a:lnTo>
                  <a:cubicBezTo>
                    <a:pt x="1346136" y="39368"/>
                    <a:pt x="1306695" y="0"/>
                    <a:pt x="1258106" y="0"/>
                  </a:cubicBezTo>
                  <a:lnTo>
                    <a:pt x="88030" y="0"/>
                  </a:lnTo>
                  <a:cubicBezTo>
                    <a:pt x="39368" y="0"/>
                    <a:pt x="0" y="39442"/>
                    <a:pt x="0" y="88030"/>
                  </a:cubicBezTo>
                  <a:lnTo>
                    <a:pt x="0" y="2868186"/>
                  </a:lnTo>
                  <a:cubicBezTo>
                    <a:pt x="0" y="2916848"/>
                    <a:pt x="39442" y="2956216"/>
                    <a:pt x="88030" y="2956216"/>
                  </a:cubicBezTo>
                  <a:close/>
                </a:path>
              </a:pathLst>
            </a:custGeom>
            <a:solidFill>
              <a:schemeClr val="bg1">
                <a:lumMod val="85000"/>
              </a:schemeClr>
            </a:solidFill>
            <a:ln w="72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Rectangle: Rounded Corners 41">
              <a:extLst>
                <a:ext uri="{FF2B5EF4-FFF2-40B4-BE49-F238E27FC236}">
                  <a16:creationId xmlns:a16="http://schemas.microsoft.com/office/drawing/2014/main" id="{E218FFDD-5C49-A26A-A4E9-EB10AD19C627}"/>
                </a:ext>
              </a:extLst>
            </p:cNvPr>
            <p:cNvSpPr/>
            <p:nvPr/>
          </p:nvSpPr>
          <p:spPr>
            <a:xfrm>
              <a:off x="4673781" y="2095575"/>
              <a:ext cx="2131526" cy="3992315"/>
            </a:xfrm>
            <a:prstGeom prst="roundRect">
              <a:avLst>
                <a:gd name="adj" fmla="val 4166"/>
              </a:avLst>
            </a:prstGeom>
            <a:solidFill>
              <a:schemeClr val="bg1"/>
            </a:solidFill>
            <a:ln w="7295" cap="flat">
              <a:noFill/>
              <a:prstDash val="solid"/>
              <a:miter/>
            </a:ln>
            <a:effectLst>
              <a:outerShdw blurRad="50800" dist="38100" dir="5400000" algn="t" rotWithShape="0">
                <a:prstClr val="black">
                  <a:alpha val="11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Rectangle: Top Corners Rounded 42">
              <a:extLst>
                <a:ext uri="{FF2B5EF4-FFF2-40B4-BE49-F238E27FC236}">
                  <a16:creationId xmlns:a16="http://schemas.microsoft.com/office/drawing/2014/main" id="{3C401A6B-8685-223D-094D-D72B22A22DAC}"/>
                </a:ext>
              </a:extLst>
            </p:cNvPr>
            <p:cNvSpPr/>
            <p:nvPr/>
          </p:nvSpPr>
          <p:spPr>
            <a:xfrm rot="5400000" flipH="1">
              <a:off x="5517844" y="1428439"/>
              <a:ext cx="406207" cy="2094333"/>
            </a:xfrm>
            <a:prstGeom prst="round2SameRect">
              <a:avLst>
                <a:gd name="adj1" fmla="val 50000"/>
                <a:gd name="adj2" fmla="val 0"/>
              </a:avLst>
            </a:prstGeom>
            <a:solidFill>
              <a:schemeClr val="accent1"/>
            </a:solidFill>
            <a:ln w="72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4" name="TextBox 43">
              <a:extLst>
                <a:ext uri="{FF2B5EF4-FFF2-40B4-BE49-F238E27FC236}">
                  <a16:creationId xmlns:a16="http://schemas.microsoft.com/office/drawing/2014/main" id="{C8B11E9F-5D0D-D509-89E2-6AC4A80AFAFB}"/>
                </a:ext>
              </a:extLst>
            </p:cNvPr>
            <p:cNvSpPr txBox="1"/>
            <p:nvPr/>
          </p:nvSpPr>
          <p:spPr>
            <a:xfrm flipH="1">
              <a:off x="4785837" y="2273795"/>
              <a:ext cx="1450114" cy="307777"/>
            </a:xfrm>
            <a:prstGeom prst="rect">
              <a:avLst/>
            </a:prstGeom>
          </p:spPr>
          <p:txBody>
            <a:bodyPr vert="horz"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2000" b="1">
                  <a:solidFill>
                    <a:srgbClr val="FFFFFF"/>
                  </a:solidFill>
                  <a:latin typeface="KPMG Bold"/>
                </a:rPr>
                <a:t>Week 6</a:t>
              </a:r>
              <a:endParaRPr kumimoji="0" lang="en-US" sz="2000" b="1" i="0" u="none" strike="noStrike" kern="1200" cap="none" spc="0" normalizeH="0" baseline="0" noProof="0">
                <a:ln>
                  <a:noFill/>
                </a:ln>
                <a:solidFill>
                  <a:srgbClr val="FFFFFF"/>
                </a:solidFill>
                <a:effectLst/>
                <a:uLnTx/>
                <a:uFillTx/>
                <a:latin typeface="KPMG Bold"/>
                <a:ea typeface="+mn-ea"/>
                <a:cs typeface="+mn-cs"/>
              </a:endParaRPr>
            </a:p>
          </p:txBody>
        </p:sp>
        <p:sp>
          <p:nvSpPr>
            <p:cNvPr id="45" name="TextBox 44">
              <a:extLst>
                <a:ext uri="{FF2B5EF4-FFF2-40B4-BE49-F238E27FC236}">
                  <a16:creationId xmlns:a16="http://schemas.microsoft.com/office/drawing/2014/main" id="{A3283193-71F3-6386-8079-A110067BC7E0}"/>
                </a:ext>
              </a:extLst>
            </p:cNvPr>
            <p:cNvSpPr txBox="1"/>
            <p:nvPr/>
          </p:nvSpPr>
          <p:spPr>
            <a:xfrm>
              <a:off x="4779466" y="2862229"/>
              <a:ext cx="2231825" cy="193899"/>
            </a:xfrm>
            <a:prstGeom prst="rect">
              <a:avLst/>
            </a:prstGeom>
          </p:spPr>
          <p:txBody>
            <a:bodyPr vert="horz" wrap="square" lIns="0" tIns="0" rIns="0" bIns="0" rtlCol="0" anchor="t" anchorCtr="0">
              <a:spAutoFit/>
            </a:bodyPr>
            <a:lstStyle/>
            <a:p>
              <a:pPr marL="0" marR="0" lvl="0" indent="0" algn="l" defTabSz="914400" rtl="0" eaLnBrk="1" fontAlgn="auto" latinLnBrk="0" hangingPunct="1">
                <a:lnSpc>
                  <a:spcPct val="70000"/>
                </a:lnSpc>
                <a:spcBef>
                  <a:spcPts val="0"/>
                </a:spcBef>
                <a:spcAft>
                  <a:spcPts val="600"/>
                </a:spcAft>
                <a:buClrTx/>
                <a:buSzTx/>
                <a:buFontTx/>
                <a:buNone/>
                <a:tabLst/>
                <a:defRPr/>
              </a:pPr>
              <a:r>
                <a:rPr kumimoji="0" lang="en-US" sz="1800" b="1" i="0" u="none" strike="noStrike" kern="1200" cap="none" spc="0" normalizeH="0" baseline="0" noProof="0">
                  <a:ln>
                    <a:noFill/>
                  </a:ln>
                  <a:solidFill>
                    <a:srgbClr val="000000"/>
                  </a:solidFill>
                  <a:effectLst/>
                  <a:uLnTx/>
                  <a:uFillTx/>
                  <a:latin typeface="KPMG Bold"/>
                  <a:ea typeface="+mn-ea"/>
                  <a:cs typeface="+mn-cs"/>
                </a:rPr>
                <a:t>Baseline Assessment</a:t>
              </a:r>
            </a:p>
          </p:txBody>
        </p:sp>
        <p:sp>
          <p:nvSpPr>
            <p:cNvPr id="46" name="TextBox 45">
              <a:extLst>
                <a:ext uri="{FF2B5EF4-FFF2-40B4-BE49-F238E27FC236}">
                  <a16:creationId xmlns:a16="http://schemas.microsoft.com/office/drawing/2014/main" id="{8959F268-34E2-29DC-4702-7038FED4CEE3}"/>
                </a:ext>
              </a:extLst>
            </p:cNvPr>
            <p:cNvSpPr txBox="1">
              <a:spLocks/>
            </p:cNvSpPr>
            <p:nvPr/>
          </p:nvSpPr>
          <p:spPr>
            <a:xfrm>
              <a:off x="4741194" y="3225818"/>
              <a:ext cx="1997108" cy="2954655"/>
            </a:xfrm>
            <a:prstGeom prst="rect">
              <a:avLst/>
            </a:prstGeom>
          </p:spPr>
          <p:txBody>
            <a:bodyPr vert="horz" wrap="square" lIns="0" tIns="0" rIns="0" bIns="0" rtlCol="0" anchor="t" anchorCtr="0">
              <a:spAutoFit/>
            </a:bodyPr>
            <a:lstStyle/>
            <a:p>
              <a:pPr marR="0" lvl="0" algn="l" defTabSz="914400" rtl="0" eaLnBrk="0" fontAlgn="base" latinLnBrk="0" hangingPunct="0">
                <a:lnSpc>
                  <a:spcPct val="100000"/>
                </a:lnSpc>
                <a:spcBef>
                  <a:spcPct val="0"/>
                </a:spcBef>
                <a:spcAft>
                  <a:spcPts val="600"/>
                </a:spcAft>
                <a:buClrTx/>
                <a:buSzTx/>
                <a:tabLst/>
                <a:defRPr/>
              </a:pPr>
              <a:r>
                <a:rPr kumimoji="0" lang="en-US" altLang="en-US" sz="900" b="1" i="0" u="none" strike="noStrike" kern="1200" cap="none" spc="0" normalizeH="0" baseline="0" noProof="0">
                  <a:ln>
                    <a:noFill/>
                  </a:ln>
                  <a:solidFill>
                    <a:srgbClr val="000000"/>
                  </a:solidFill>
                  <a:effectLst/>
                  <a:uLnTx/>
                  <a:uFillTx/>
                  <a:latin typeface="Arial" panose="020B0604020202020204" pitchFamily="34" charset="0"/>
                  <a:ea typeface="+mn-ea"/>
                  <a:cs typeface="+mn-cs"/>
                </a:rPr>
                <a:t>Strategic Roadmap: </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Prioritize and implement high-value automation initiatives, such as UAR and Non-Human ID, through a structured plan with defined milestones and outcomes. </a:t>
              </a:r>
            </a:p>
            <a:p>
              <a:pPr eaLnBrk="0" fontAlgn="base" hangingPunct="0">
                <a:spcBef>
                  <a:spcPct val="0"/>
                </a:spcBef>
                <a:spcAft>
                  <a:spcPts val="600"/>
                </a:spcAft>
              </a:pPr>
              <a:r>
                <a:rPr lang="en-US" altLang="en-US" sz="900" b="1">
                  <a:solidFill>
                    <a:srgbClr val="000000"/>
                  </a:solidFill>
                  <a:latin typeface="Arial" panose="020B0604020202020204" pitchFamily="34" charset="0"/>
                </a:rPr>
                <a:t>Data Driven Business Case</a:t>
              </a:r>
            </a:p>
            <a:p>
              <a:pPr marL="171450" indent="-171450" eaLnBrk="0" fontAlgn="base" hangingPunct="0">
                <a:spcBef>
                  <a:spcPct val="0"/>
                </a:spcBef>
                <a:spcAft>
                  <a:spcPts val="600"/>
                </a:spcAft>
                <a:buFont typeface="Arial" panose="020B0604020202020204" pitchFamily="34" charset="0"/>
                <a:buChar char="–"/>
              </a:pPr>
              <a:r>
                <a:rPr lang="en-US" altLang="en-US" sz="900">
                  <a:solidFill>
                    <a:srgbClr val="000000"/>
                  </a:solidFill>
                  <a:latin typeface="Arial" panose="020B0604020202020204" pitchFamily="34" charset="0"/>
                </a:rPr>
                <a:t>Support Cigna with comprehensive analytics to quantify potential returns and risks, enabling informed decision-making.</a:t>
              </a:r>
            </a:p>
            <a:p>
              <a:pPr marR="0" lvl="0" eaLnBrk="0" fontAlgn="base" hangingPunct="0">
                <a:lnSpc>
                  <a:spcPct val="100000"/>
                </a:lnSpc>
                <a:spcBef>
                  <a:spcPct val="0"/>
                </a:spcBef>
                <a:spcAft>
                  <a:spcPts val="600"/>
                </a:spcAft>
                <a:buClrTx/>
                <a:buSzTx/>
                <a:tabLst/>
                <a:defRPr/>
              </a:pPr>
              <a:r>
                <a:rPr lang="en-US" altLang="en-US" sz="900" b="1">
                  <a:solidFill>
                    <a:srgbClr val="000000"/>
                  </a:solidFill>
                  <a:latin typeface="Arial" panose="020B0604020202020204" pitchFamily="34" charset="0"/>
                </a:rPr>
                <a:t>Non-Data Lake Agent</a:t>
              </a:r>
            </a:p>
            <a:p>
              <a:pPr marL="171450" indent="-171450" eaLnBrk="0" fontAlgn="base" hangingPunct="0">
                <a:spcBef>
                  <a:spcPct val="0"/>
                </a:spcBef>
                <a:spcAft>
                  <a:spcPts val="600"/>
                </a:spcAft>
                <a:buFont typeface="Arial" panose="020B0604020202020204" pitchFamily="34" charset="0"/>
                <a:buChar char="–"/>
              </a:pPr>
              <a:r>
                <a:rPr lang="en-US" altLang="en-US" sz="900">
                  <a:solidFill>
                    <a:srgbClr val="000000"/>
                  </a:solidFill>
                  <a:latin typeface="Arial" panose="020B0604020202020204" pitchFamily="34" charset="0"/>
                </a:rPr>
                <a:t>Deploy a Non-Data Lake Agents to swiftly deliver automation and insights, streamlining operations without requiring extensive data lake infrastructure.</a:t>
              </a:r>
            </a:p>
            <a:p>
              <a:pPr marR="0" lvl="0" eaLnBrk="0" fontAlgn="base" hangingPunct="0">
                <a:lnSpc>
                  <a:spcPct val="100000"/>
                </a:lnSpc>
                <a:spcBef>
                  <a:spcPct val="0"/>
                </a:spcBef>
                <a:spcAft>
                  <a:spcPts val="600"/>
                </a:spcAft>
                <a:buClrTx/>
                <a:buSzTx/>
                <a:tabLst/>
                <a:defRPr/>
              </a:pPr>
              <a:endParaRPr lang="en-US" altLang="en-US" sz="900" b="1">
                <a:solidFill>
                  <a:srgbClr val="000000"/>
                </a:solidFill>
                <a:latin typeface="Arial" panose="020B0604020202020204" pitchFamily="34" charset="0"/>
              </a:endParaRPr>
            </a:p>
          </p:txBody>
        </p:sp>
        <p:grpSp>
          <p:nvGrpSpPr>
            <p:cNvPr id="47" name="Graphic 3">
              <a:extLst>
                <a:ext uri="{FF2B5EF4-FFF2-40B4-BE49-F238E27FC236}">
                  <a16:creationId xmlns:a16="http://schemas.microsoft.com/office/drawing/2014/main" id="{DE98204B-288D-0F00-21EA-255237600A91}"/>
                </a:ext>
              </a:extLst>
            </p:cNvPr>
            <p:cNvGrpSpPr>
              <a:grpSpLocks/>
            </p:cNvGrpSpPr>
            <p:nvPr/>
          </p:nvGrpSpPr>
          <p:grpSpPr>
            <a:xfrm flipH="1">
              <a:off x="6264004" y="2326336"/>
              <a:ext cx="329979" cy="275635"/>
              <a:chOff x="4382666" y="6147925"/>
              <a:chExt cx="859390" cy="859390"/>
            </a:xfrm>
            <a:solidFill>
              <a:schemeClr val="bg1"/>
            </a:solidFill>
          </p:grpSpPr>
          <p:sp>
            <p:nvSpPr>
              <p:cNvPr id="48" name="Freeform: Shape 47">
                <a:extLst>
                  <a:ext uri="{FF2B5EF4-FFF2-40B4-BE49-F238E27FC236}">
                    <a16:creationId xmlns:a16="http://schemas.microsoft.com/office/drawing/2014/main" id="{B5B32743-AB49-8B39-756F-1B084F0AEC8D}"/>
                  </a:ext>
                </a:extLst>
              </p:cNvPr>
              <p:cNvSpPr>
                <a:spLocks/>
              </p:cNvSpPr>
              <p:nvPr/>
            </p:nvSpPr>
            <p:spPr>
              <a:xfrm>
                <a:off x="4469482" y="6755458"/>
                <a:ext cx="251677" cy="165040"/>
              </a:xfrm>
              <a:custGeom>
                <a:avLst/>
                <a:gdLst>
                  <a:gd name="connsiteX0" fmla="*/ 13067 w 251677"/>
                  <a:gd name="connsiteY0" fmla="*/ 0 h 165040"/>
                  <a:gd name="connsiteX1" fmla="*/ 0 w 251677"/>
                  <a:gd name="connsiteY1" fmla="*/ 13067 h 165040"/>
                  <a:gd name="connsiteX2" fmla="*/ 0 w 251677"/>
                  <a:gd name="connsiteY2" fmla="*/ 151973 h 165040"/>
                  <a:gd name="connsiteX3" fmla="*/ 13067 w 251677"/>
                  <a:gd name="connsiteY3" fmla="*/ 165040 h 165040"/>
                  <a:gd name="connsiteX4" fmla="*/ 238610 w 251677"/>
                  <a:gd name="connsiteY4" fmla="*/ 165040 h 165040"/>
                  <a:gd name="connsiteX5" fmla="*/ 251677 w 251677"/>
                  <a:gd name="connsiteY5" fmla="*/ 151973 h 165040"/>
                  <a:gd name="connsiteX6" fmla="*/ 251677 w 251677"/>
                  <a:gd name="connsiteY6" fmla="*/ 13067 h 165040"/>
                  <a:gd name="connsiteX7" fmla="*/ 238610 w 251677"/>
                  <a:gd name="connsiteY7" fmla="*/ 0 h 165040"/>
                  <a:gd name="connsiteX8" fmla="*/ 225543 w 251677"/>
                  <a:gd name="connsiteY8" fmla="*/ 13067 h 165040"/>
                  <a:gd name="connsiteX9" fmla="*/ 225543 w 251677"/>
                  <a:gd name="connsiteY9" fmla="*/ 138905 h 165040"/>
                  <a:gd name="connsiteX10" fmla="*/ 25955 w 251677"/>
                  <a:gd name="connsiteY10" fmla="*/ 138905 h 165040"/>
                  <a:gd name="connsiteX11" fmla="*/ 25955 w 251677"/>
                  <a:gd name="connsiteY11" fmla="*/ 13067 h 165040"/>
                  <a:gd name="connsiteX12" fmla="*/ 13067 w 251677"/>
                  <a:gd name="connsiteY12" fmla="*/ 0 h 16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677" h="165040">
                    <a:moveTo>
                      <a:pt x="13067" y="0"/>
                    </a:moveTo>
                    <a:cubicBezTo>
                      <a:pt x="5907" y="0"/>
                      <a:pt x="0" y="5907"/>
                      <a:pt x="0" y="13067"/>
                    </a:cubicBezTo>
                    <a:lnTo>
                      <a:pt x="0" y="151973"/>
                    </a:lnTo>
                    <a:cubicBezTo>
                      <a:pt x="0" y="159133"/>
                      <a:pt x="5907" y="165040"/>
                      <a:pt x="13067" y="165040"/>
                    </a:cubicBezTo>
                    <a:lnTo>
                      <a:pt x="238610" y="165040"/>
                    </a:lnTo>
                    <a:cubicBezTo>
                      <a:pt x="245770" y="165040"/>
                      <a:pt x="251677" y="159133"/>
                      <a:pt x="251677" y="151973"/>
                    </a:cubicBezTo>
                    <a:lnTo>
                      <a:pt x="251677" y="13067"/>
                    </a:lnTo>
                    <a:cubicBezTo>
                      <a:pt x="251677" y="5907"/>
                      <a:pt x="245770" y="0"/>
                      <a:pt x="238610" y="0"/>
                    </a:cubicBezTo>
                    <a:cubicBezTo>
                      <a:pt x="231450" y="0"/>
                      <a:pt x="225543" y="5907"/>
                      <a:pt x="225543" y="13067"/>
                    </a:cubicBezTo>
                    <a:lnTo>
                      <a:pt x="225543" y="138905"/>
                    </a:lnTo>
                    <a:lnTo>
                      <a:pt x="25955" y="138905"/>
                    </a:lnTo>
                    <a:lnTo>
                      <a:pt x="25955" y="13067"/>
                    </a:lnTo>
                    <a:cubicBezTo>
                      <a:pt x="26134" y="5728"/>
                      <a:pt x="20406" y="0"/>
                      <a:pt x="13067" y="0"/>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49" name="Freeform: Shape 48">
                <a:extLst>
                  <a:ext uri="{FF2B5EF4-FFF2-40B4-BE49-F238E27FC236}">
                    <a16:creationId xmlns:a16="http://schemas.microsoft.com/office/drawing/2014/main" id="{165005E5-B8A6-7E63-FF47-13B520905CEE}"/>
                  </a:ext>
                </a:extLst>
              </p:cNvPr>
              <p:cNvSpPr>
                <a:spLocks/>
              </p:cNvSpPr>
              <p:nvPr/>
            </p:nvSpPr>
            <p:spPr>
              <a:xfrm>
                <a:off x="4469661" y="6373468"/>
                <a:ext cx="251677" cy="165040"/>
              </a:xfrm>
              <a:custGeom>
                <a:avLst/>
                <a:gdLst>
                  <a:gd name="connsiteX0" fmla="*/ 238610 w 251677"/>
                  <a:gd name="connsiteY0" fmla="*/ 165040 h 165040"/>
                  <a:gd name="connsiteX1" fmla="*/ 251677 w 251677"/>
                  <a:gd name="connsiteY1" fmla="*/ 151973 h 165040"/>
                  <a:gd name="connsiteX2" fmla="*/ 251677 w 251677"/>
                  <a:gd name="connsiteY2" fmla="*/ 13067 h 165040"/>
                  <a:gd name="connsiteX3" fmla="*/ 238610 w 251677"/>
                  <a:gd name="connsiteY3" fmla="*/ 0 h 165040"/>
                  <a:gd name="connsiteX4" fmla="*/ 13067 w 251677"/>
                  <a:gd name="connsiteY4" fmla="*/ 0 h 165040"/>
                  <a:gd name="connsiteX5" fmla="*/ 0 w 251677"/>
                  <a:gd name="connsiteY5" fmla="*/ 13067 h 165040"/>
                  <a:gd name="connsiteX6" fmla="*/ 0 w 251677"/>
                  <a:gd name="connsiteY6" fmla="*/ 151973 h 165040"/>
                  <a:gd name="connsiteX7" fmla="*/ 13067 w 251677"/>
                  <a:gd name="connsiteY7" fmla="*/ 165040 h 165040"/>
                  <a:gd name="connsiteX8" fmla="*/ 26134 w 251677"/>
                  <a:gd name="connsiteY8" fmla="*/ 151973 h 165040"/>
                  <a:gd name="connsiteX9" fmla="*/ 26134 w 251677"/>
                  <a:gd name="connsiteY9" fmla="*/ 26134 h 165040"/>
                  <a:gd name="connsiteX10" fmla="*/ 225722 w 251677"/>
                  <a:gd name="connsiteY10" fmla="*/ 26134 h 165040"/>
                  <a:gd name="connsiteX11" fmla="*/ 225722 w 251677"/>
                  <a:gd name="connsiteY11" fmla="*/ 151973 h 165040"/>
                  <a:gd name="connsiteX12" fmla="*/ 238610 w 251677"/>
                  <a:gd name="connsiteY12" fmla="*/ 165040 h 16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677" h="165040">
                    <a:moveTo>
                      <a:pt x="238610" y="165040"/>
                    </a:moveTo>
                    <a:cubicBezTo>
                      <a:pt x="245770" y="165040"/>
                      <a:pt x="251677" y="159133"/>
                      <a:pt x="251677" y="151973"/>
                    </a:cubicBezTo>
                    <a:lnTo>
                      <a:pt x="251677" y="13067"/>
                    </a:lnTo>
                    <a:cubicBezTo>
                      <a:pt x="251677" y="5907"/>
                      <a:pt x="245770" y="0"/>
                      <a:pt x="238610" y="0"/>
                    </a:cubicBezTo>
                    <a:lnTo>
                      <a:pt x="13067" y="0"/>
                    </a:lnTo>
                    <a:cubicBezTo>
                      <a:pt x="5907" y="0"/>
                      <a:pt x="0" y="5907"/>
                      <a:pt x="0" y="13067"/>
                    </a:cubicBezTo>
                    <a:lnTo>
                      <a:pt x="0" y="151973"/>
                    </a:lnTo>
                    <a:cubicBezTo>
                      <a:pt x="0" y="159133"/>
                      <a:pt x="5907" y="165040"/>
                      <a:pt x="13067" y="165040"/>
                    </a:cubicBezTo>
                    <a:cubicBezTo>
                      <a:pt x="20227" y="165040"/>
                      <a:pt x="26134" y="159133"/>
                      <a:pt x="26134" y="151973"/>
                    </a:cubicBezTo>
                    <a:lnTo>
                      <a:pt x="26134" y="26134"/>
                    </a:lnTo>
                    <a:lnTo>
                      <a:pt x="225722" y="26134"/>
                    </a:lnTo>
                    <a:lnTo>
                      <a:pt x="225722" y="151973"/>
                    </a:lnTo>
                    <a:cubicBezTo>
                      <a:pt x="225543" y="159133"/>
                      <a:pt x="231450" y="165040"/>
                      <a:pt x="238610" y="165040"/>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50" name="Freeform: Shape 49">
                <a:extLst>
                  <a:ext uri="{FF2B5EF4-FFF2-40B4-BE49-F238E27FC236}">
                    <a16:creationId xmlns:a16="http://schemas.microsoft.com/office/drawing/2014/main" id="{E9883C39-9C14-E9C4-C412-789CAC895F72}"/>
                  </a:ext>
                </a:extLst>
              </p:cNvPr>
              <p:cNvSpPr>
                <a:spLocks/>
              </p:cNvSpPr>
              <p:nvPr/>
            </p:nvSpPr>
            <p:spPr>
              <a:xfrm>
                <a:off x="4382666" y="6703369"/>
                <a:ext cx="859389" cy="303946"/>
              </a:xfrm>
              <a:custGeom>
                <a:avLst/>
                <a:gdLst>
                  <a:gd name="connsiteX0" fmla="*/ 846323 w 859389"/>
                  <a:gd name="connsiteY0" fmla="*/ 52090 h 303946"/>
                  <a:gd name="connsiteX1" fmla="*/ 833256 w 859389"/>
                  <a:gd name="connsiteY1" fmla="*/ 65157 h 303946"/>
                  <a:gd name="connsiteX2" fmla="*/ 833256 w 859389"/>
                  <a:gd name="connsiteY2" fmla="*/ 277811 h 303946"/>
                  <a:gd name="connsiteX3" fmla="*/ 26134 w 859389"/>
                  <a:gd name="connsiteY3" fmla="*/ 277811 h 303946"/>
                  <a:gd name="connsiteX4" fmla="*/ 26134 w 859389"/>
                  <a:gd name="connsiteY4" fmla="*/ 13067 h 303946"/>
                  <a:gd name="connsiteX5" fmla="*/ 13067 w 859389"/>
                  <a:gd name="connsiteY5" fmla="*/ 0 h 303946"/>
                  <a:gd name="connsiteX6" fmla="*/ 0 w 859389"/>
                  <a:gd name="connsiteY6" fmla="*/ 13067 h 303946"/>
                  <a:gd name="connsiteX7" fmla="*/ 0 w 859389"/>
                  <a:gd name="connsiteY7" fmla="*/ 290879 h 303946"/>
                  <a:gd name="connsiteX8" fmla="*/ 13067 w 859389"/>
                  <a:gd name="connsiteY8" fmla="*/ 303946 h 303946"/>
                  <a:gd name="connsiteX9" fmla="*/ 846323 w 859389"/>
                  <a:gd name="connsiteY9" fmla="*/ 303946 h 303946"/>
                  <a:gd name="connsiteX10" fmla="*/ 859390 w 859389"/>
                  <a:gd name="connsiteY10" fmla="*/ 290879 h 303946"/>
                  <a:gd name="connsiteX11" fmla="*/ 859390 w 859389"/>
                  <a:gd name="connsiteY11" fmla="*/ 65157 h 303946"/>
                  <a:gd name="connsiteX12" fmla="*/ 846323 w 859389"/>
                  <a:gd name="connsiteY12" fmla="*/ 52090 h 30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9389" h="303946">
                    <a:moveTo>
                      <a:pt x="846323" y="52090"/>
                    </a:moveTo>
                    <a:cubicBezTo>
                      <a:pt x="839163" y="52090"/>
                      <a:pt x="833256" y="57997"/>
                      <a:pt x="833256" y="65157"/>
                    </a:cubicBezTo>
                    <a:lnTo>
                      <a:pt x="833256" y="277811"/>
                    </a:lnTo>
                    <a:lnTo>
                      <a:pt x="26134" y="277811"/>
                    </a:lnTo>
                    <a:lnTo>
                      <a:pt x="26134" y="13067"/>
                    </a:lnTo>
                    <a:cubicBezTo>
                      <a:pt x="26134" y="5907"/>
                      <a:pt x="20227" y="0"/>
                      <a:pt x="13067" y="0"/>
                    </a:cubicBezTo>
                    <a:cubicBezTo>
                      <a:pt x="5907" y="0"/>
                      <a:pt x="0" y="5907"/>
                      <a:pt x="0" y="13067"/>
                    </a:cubicBezTo>
                    <a:lnTo>
                      <a:pt x="0" y="290879"/>
                    </a:lnTo>
                    <a:cubicBezTo>
                      <a:pt x="0" y="298039"/>
                      <a:pt x="5907" y="303946"/>
                      <a:pt x="13067" y="303946"/>
                    </a:cubicBezTo>
                    <a:lnTo>
                      <a:pt x="846323" y="303946"/>
                    </a:lnTo>
                    <a:cubicBezTo>
                      <a:pt x="853483" y="303946"/>
                      <a:pt x="859390" y="298039"/>
                      <a:pt x="859390" y="290879"/>
                    </a:cubicBezTo>
                    <a:lnTo>
                      <a:pt x="859390" y="65157"/>
                    </a:lnTo>
                    <a:cubicBezTo>
                      <a:pt x="859390" y="57818"/>
                      <a:pt x="853483" y="52090"/>
                      <a:pt x="846323" y="52090"/>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51" name="Freeform: Shape 50">
                <a:extLst>
                  <a:ext uri="{FF2B5EF4-FFF2-40B4-BE49-F238E27FC236}">
                    <a16:creationId xmlns:a16="http://schemas.microsoft.com/office/drawing/2014/main" id="{39BC6D62-503F-C050-2D77-CB816CD7E5E7}"/>
                  </a:ext>
                </a:extLst>
              </p:cNvPr>
              <p:cNvSpPr>
                <a:spLocks/>
              </p:cNvSpPr>
              <p:nvPr/>
            </p:nvSpPr>
            <p:spPr>
              <a:xfrm>
                <a:off x="4382666" y="6147925"/>
                <a:ext cx="859389" cy="442672"/>
              </a:xfrm>
              <a:custGeom>
                <a:avLst/>
                <a:gdLst>
                  <a:gd name="connsiteX0" fmla="*/ 846323 w 859389"/>
                  <a:gd name="connsiteY0" fmla="*/ 0 h 442672"/>
                  <a:gd name="connsiteX1" fmla="*/ 13067 w 859389"/>
                  <a:gd name="connsiteY1" fmla="*/ 0 h 442672"/>
                  <a:gd name="connsiteX2" fmla="*/ 0 w 859389"/>
                  <a:gd name="connsiteY2" fmla="*/ 13067 h 442672"/>
                  <a:gd name="connsiteX3" fmla="*/ 0 w 859389"/>
                  <a:gd name="connsiteY3" fmla="*/ 429606 h 442672"/>
                  <a:gd name="connsiteX4" fmla="*/ 13067 w 859389"/>
                  <a:gd name="connsiteY4" fmla="*/ 442672 h 442672"/>
                  <a:gd name="connsiteX5" fmla="*/ 26134 w 859389"/>
                  <a:gd name="connsiteY5" fmla="*/ 429606 h 442672"/>
                  <a:gd name="connsiteX6" fmla="*/ 26134 w 859389"/>
                  <a:gd name="connsiteY6" fmla="*/ 164861 h 442672"/>
                  <a:gd name="connsiteX7" fmla="*/ 833256 w 859389"/>
                  <a:gd name="connsiteY7" fmla="*/ 164861 h 442672"/>
                  <a:gd name="connsiteX8" fmla="*/ 833256 w 859389"/>
                  <a:gd name="connsiteY8" fmla="*/ 377516 h 442672"/>
                  <a:gd name="connsiteX9" fmla="*/ 846323 w 859389"/>
                  <a:gd name="connsiteY9" fmla="*/ 390583 h 442672"/>
                  <a:gd name="connsiteX10" fmla="*/ 859390 w 859389"/>
                  <a:gd name="connsiteY10" fmla="*/ 377516 h 442672"/>
                  <a:gd name="connsiteX11" fmla="*/ 859390 w 859389"/>
                  <a:gd name="connsiteY11" fmla="*/ 13067 h 442672"/>
                  <a:gd name="connsiteX12" fmla="*/ 846323 w 859389"/>
                  <a:gd name="connsiteY12" fmla="*/ 0 h 442672"/>
                  <a:gd name="connsiteX13" fmla="*/ 833256 w 859389"/>
                  <a:gd name="connsiteY13" fmla="*/ 138906 h 442672"/>
                  <a:gd name="connsiteX14" fmla="*/ 26134 w 859389"/>
                  <a:gd name="connsiteY14" fmla="*/ 138906 h 442672"/>
                  <a:gd name="connsiteX15" fmla="*/ 26134 w 859389"/>
                  <a:gd name="connsiteY15" fmla="*/ 26134 h 442672"/>
                  <a:gd name="connsiteX16" fmla="*/ 833256 w 859389"/>
                  <a:gd name="connsiteY16" fmla="*/ 26134 h 442672"/>
                  <a:gd name="connsiteX17" fmla="*/ 833256 w 859389"/>
                  <a:gd name="connsiteY17" fmla="*/ 138906 h 44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9389" h="442672">
                    <a:moveTo>
                      <a:pt x="846323" y="0"/>
                    </a:moveTo>
                    <a:lnTo>
                      <a:pt x="13067" y="0"/>
                    </a:lnTo>
                    <a:cubicBezTo>
                      <a:pt x="5907" y="0"/>
                      <a:pt x="0" y="5907"/>
                      <a:pt x="0" y="13067"/>
                    </a:cubicBezTo>
                    <a:lnTo>
                      <a:pt x="0" y="429606"/>
                    </a:lnTo>
                    <a:cubicBezTo>
                      <a:pt x="0" y="436765"/>
                      <a:pt x="5907" y="442672"/>
                      <a:pt x="13067" y="442672"/>
                    </a:cubicBezTo>
                    <a:cubicBezTo>
                      <a:pt x="20227" y="442672"/>
                      <a:pt x="26134" y="436765"/>
                      <a:pt x="26134" y="429606"/>
                    </a:cubicBezTo>
                    <a:lnTo>
                      <a:pt x="26134" y="164861"/>
                    </a:lnTo>
                    <a:lnTo>
                      <a:pt x="833256" y="164861"/>
                    </a:lnTo>
                    <a:lnTo>
                      <a:pt x="833256" y="377516"/>
                    </a:lnTo>
                    <a:cubicBezTo>
                      <a:pt x="833256" y="384676"/>
                      <a:pt x="839163" y="390583"/>
                      <a:pt x="846323" y="390583"/>
                    </a:cubicBezTo>
                    <a:cubicBezTo>
                      <a:pt x="853483" y="390583"/>
                      <a:pt x="859390" y="384676"/>
                      <a:pt x="859390" y="377516"/>
                    </a:cubicBezTo>
                    <a:lnTo>
                      <a:pt x="859390" y="13067"/>
                    </a:lnTo>
                    <a:cubicBezTo>
                      <a:pt x="859390" y="5907"/>
                      <a:pt x="853483" y="0"/>
                      <a:pt x="846323" y="0"/>
                    </a:cubicBezTo>
                    <a:close/>
                    <a:moveTo>
                      <a:pt x="833256" y="138906"/>
                    </a:moveTo>
                    <a:lnTo>
                      <a:pt x="26134" y="138906"/>
                    </a:lnTo>
                    <a:lnTo>
                      <a:pt x="26134" y="26134"/>
                    </a:lnTo>
                    <a:lnTo>
                      <a:pt x="833256" y="26134"/>
                    </a:lnTo>
                    <a:lnTo>
                      <a:pt x="833256" y="138906"/>
                    </a:ln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52" name="Freeform: Shape 51">
                <a:extLst>
                  <a:ext uri="{FF2B5EF4-FFF2-40B4-BE49-F238E27FC236}">
                    <a16:creationId xmlns:a16="http://schemas.microsoft.com/office/drawing/2014/main" id="{D8369099-E6BA-5BFD-DAE9-05C5349D8D35}"/>
                  </a:ext>
                </a:extLst>
              </p:cNvPr>
              <p:cNvSpPr>
                <a:spLocks/>
              </p:cNvSpPr>
              <p:nvPr/>
            </p:nvSpPr>
            <p:spPr>
              <a:xfrm>
                <a:off x="5146469" y="6217870"/>
                <a:ext cx="25955" cy="25642"/>
              </a:xfrm>
              <a:custGeom>
                <a:avLst/>
                <a:gdLst>
                  <a:gd name="connsiteX0" fmla="*/ 13067 w 25955"/>
                  <a:gd name="connsiteY0" fmla="*/ 25642 h 25642"/>
                  <a:gd name="connsiteX1" fmla="*/ 22196 w 25955"/>
                  <a:gd name="connsiteY1" fmla="*/ 21883 h 25642"/>
                  <a:gd name="connsiteX2" fmla="*/ 25955 w 25955"/>
                  <a:gd name="connsiteY2" fmla="*/ 12754 h 25642"/>
                  <a:gd name="connsiteX3" fmla="*/ 22196 w 25955"/>
                  <a:gd name="connsiteY3" fmla="*/ 3625 h 25642"/>
                  <a:gd name="connsiteX4" fmla="*/ 3759 w 25955"/>
                  <a:gd name="connsiteY4" fmla="*/ 3625 h 25642"/>
                  <a:gd name="connsiteX5" fmla="*/ 0 w 25955"/>
                  <a:gd name="connsiteY5" fmla="*/ 12754 h 25642"/>
                  <a:gd name="connsiteX6" fmla="*/ 3759 w 25955"/>
                  <a:gd name="connsiteY6" fmla="*/ 21883 h 25642"/>
                  <a:gd name="connsiteX7" fmla="*/ 13067 w 25955"/>
                  <a:gd name="connsiteY7" fmla="*/ 25642 h 2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55" h="25642">
                    <a:moveTo>
                      <a:pt x="13067" y="25642"/>
                    </a:moveTo>
                    <a:cubicBezTo>
                      <a:pt x="16289" y="25642"/>
                      <a:pt x="19690" y="24210"/>
                      <a:pt x="22196" y="21883"/>
                    </a:cubicBezTo>
                    <a:cubicBezTo>
                      <a:pt x="24702" y="19556"/>
                      <a:pt x="25955" y="16155"/>
                      <a:pt x="25955" y="12754"/>
                    </a:cubicBezTo>
                    <a:cubicBezTo>
                      <a:pt x="25955" y="9353"/>
                      <a:pt x="24523" y="5952"/>
                      <a:pt x="22196" y="3625"/>
                    </a:cubicBezTo>
                    <a:cubicBezTo>
                      <a:pt x="17184" y="-1208"/>
                      <a:pt x="8771" y="-1208"/>
                      <a:pt x="3759" y="3625"/>
                    </a:cubicBezTo>
                    <a:cubicBezTo>
                      <a:pt x="1432" y="6131"/>
                      <a:pt x="0" y="9353"/>
                      <a:pt x="0" y="12754"/>
                    </a:cubicBezTo>
                    <a:cubicBezTo>
                      <a:pt x="0" y="16334"/>
                      <a:pt x="1432" y="19556"/>
                      <a:pt x="3759" y="21883"/>
                    </a:cubicBezTo>
                    <a:cubicBezTo>
                      <a:pt x="6444" y="24210"/>
                      <a:pt x="9666" y="25642"/>
                      <a:pt x="13067" y="25642"/>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53" name="Freeform: Shape 52">
                <a:extLst>
                  <a:ext uri="{FF2B5EF4-FFF2-40B4-BE49-F238E27FC236}">
                    <a16:creationId xmlns:a16="http://schemas.microsoft.com/office/drawing/2014/main" id="{EAEB6174-3DF7-8158-0FF6-AF5290E39288}"/>
                  </a:ext>
                </a:extLst>
              </p:cNvPr>
              <p:cNvSpPr>
                <a:spLocks/>
              </p:cNvSpPr>
              <p:nvPr/>
            </p:nvSpPr>
            <p:spPr>
              <a:xfrm>
                <a:off x="5056789" y="6217378"/>
                <a:ext cx="26134" cy="26134"/>
              </a:xfrm>
              <a:custGeom>
                <a:avLst/>
                <a:gdLst>
                  <a:gd name="connsiteX0" fmla="*/ 13067 w 26134"/>
                  <a:gd name="connsiteY0" fmla="*/ 26134 h 26134"/>
                  <a:gd name="connsiteX1" fmla="*/ 26134 w 26134"/>
                  <a:gd name="connsiteY1" fmla="*/ 13067 h 26134"/>
                  <a:gd name="connsiteX2" fmla="*/ 13067 w 26134"/>
                  <a:gd name="connsiteY2" fmla="*/ 0 h 26134"/>
                  <a:gd name="connsiteX3" fmla="*/ 0 w 26134"/>
                  <a:gd name="connsiteY3" fmla="*/ 13067 h 26134"/>
                  <a:gd name="connsiteX4" fmla="*/ 13067 w 26134"/>
                  <a:gd name="connsiteY4" fmla="*/ 26134 h 26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 h="26134">
                    <a:moveTo>
                      <a:pt x="13067" y="26134"/>
                    </a:moveTo>
                    <a:cubicBezTo>
                      <a:pt x="20406" y="26134"/>
                      <a:pt x="26134" y="20227"/>
                      <a:pt x="26134" y="13067"/>
                    </a:cubicBezTo>
                    <a:cubicBezTo>
                      <a:pt x="26134" y="5728"/>
                      <a:pt x="20406" y="0"/>
                      <a:pt x="13067" y="0"/>
                    </a:cubicBezTo>
                    <a:cubicBezTo>
                      <a:pt x="5907" y="0"/>
                      <a:pt x="0" y="5728"/>
                      <a:pt x="0" y="13067"/>
                    </a:cubicBezTo>
                    <a:cubicBezTo>
                      <a:pt x="0" y="20227"/>
                      <a:pt x="5907" y="26134"/>
                      <a:pt x="13067" y="26134"/>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54" name="Freeform: Shape 53">
                <a:extLst>
                  <a:ext uri="{FF2B5EF4-FFF2-40B4-BE49-F238E27FC236}">
                    <a16:creationId xmlns:a16="http://schemas.microsoft.com/office/drawing/2014/main" id="{309990A1-28CA-533D-D3D3-FD8FB015505D}"/>
                  </a:ext>
                </a:extLst>
              </p:cNvPr>
              <p:cNvSpPr>
                <a:spLocks/>
              </p:cNvSpPr>
              <p:nvPr/>
            </p:nvSpPr>
            <p:spPr>
              <a:xfrm>
                <a:off x="4967287" y="6217870"/>
                <a:ext cx="25955" cy="25642"/>
              </a:xfrm>
              <a:custGeom>
                <a:avLst/>
                <a:gdLst>
                  <a:gd name="connsiteX0" fmla="*/ 13067 w 25955"/>
                  <a:gd name="connsiteY0" fmla="*/ 25642 h 25642"/>
                  <a:gd name="connsiteX1" fmla="*/ 22196 w 25955"/>
                  <a:gd name="connsiteY1" fmla="*/ 21883 h 25642"/>
                  <a:gd name="connsiteX2" fmla="*/ 25955 w 25955"/>
                  <a:gd name="connsiteY2" fmla="*/ 12754 h 25642"/>
                  <a:gd name="connsiteX3" fmla="*/ 22196 w 25955"/>
                  <a:gd name="connsiteY3" fmla="*/ 3625 h 25642"/>
                  <a:gd name="connsiteX4" fmla="*/ 3580 w 25955"/>
                  <a:gd name="connsiteY4" fmla="*/ 3625 h 25642"/>
                  <a:gd name="connsiteX5" fmla="*/ 0 w 25955"/>
                  <a:gd name="connsiteY5" fmla="*/ 12754 h 25642"/>
                  <a:gd name="connsiteX6" fmla="*/ 3759 w 25955"/>
                  <a:gd name="connsiteY6" fmla="*/ 21883 h 25642"/>
                  <a:gd name="connsiteX7" fmla="*/ 13067 w 25955"/>
                  <a:gd name="connsiteY7" fmla="*/ 25642 h 2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55" h="25642">
                    <a:moveTo>
                      <a:pt x="13067" y="25642"/>
                    </a:moveTo>
                    <a:cubicBezTo>
                      <a:pt x="16289" y="25642"/>
                      <a:pt x="19869" y="24210"/>
                      <a:pt x="22196" y="21883"/>
                    </a:cubicBezTo>
                    <a:cubicBezTo>
                      <a:pt x="24702" y="19556"/>
                      <a:pt x="25955" y="15976"/>
                      <a:pt x="25955" y="12754"/>
                    </a:cubicBezTo>
                    <a:cubicBezTo>
                      <a:pt x="25955" y="9353"/>
                      <a:pt x="24523" y="5952"/>
                      <a:pt x="22196" y="3625"/>
                    </a:cubicBezTo>
                    <a:cubicBezTo>
                      <a:pt x="17363" y="-1208"/>
                      <a:pt x="8592" y="-1208"/>
                      <a:pt x="3580" y="3625"/>
                    </a:cubicBezTo>
                    <a:cubicBezTo>
                      <a:pt x="1253" y="6131"/>
                      <a:pt x="0" y="9353"/>
                      <a:pt x="0" y="12754"/>
                    </a:cubicBezTo>
                    <a:cubicBezTo>
                      <a:pt x="0" y="16334"/>
                      <a:pt x="1432" y="19556"/>
                      <a:pt x="3759" y="21883"/>
                    </a:cubicBezTo>
                    <a:cubicBezTo>
                      <a:pt x="6265" y="24210"/>
                      <a:pt x="9487" y="25642"/>
                      <a:pt x="13067" y="25642"/>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55" name="Freeform: Shape 54">
                <a:extLst>
                  <a:ext uri="{FF2B5EF4-FFF2-40B4-BE49-F238E27FC236}">
                    <a16:creationId xmlns:a16="http://schemas.microsoft.com/office/drawing/2014/main" id="{0E82D980-8C86-3815-A016-52FFDD76AECC}"/>
                  </a:ext>
                </a:extLst>
              </p:cNvPr>
              <p:cNvSpPr>
                <a:spLocks/>
              </p:cNvSpPr>
              <p:nvPr/>
            </p:nvSpPr>
            <p:spPr>
              <a:xfrm>
                <a:off x="5050523" y="6373468"/>
                <a:ext cx="104716" cy="26134"/>
              </a:xfrm>
              <a:custGeom>
                <a:avLst/>
                <a:gdLst>
                  <a:gd name="connsiteX0" fmla="*/ 91649 w 104716"/>
                  <a:gd name="connsiteY0" fmla="*/ 26134 h 26134"/>
                  <a:gd name="connsiteX1" fmla="*/ 104716 w 104716"/>
                  <a:gd name="connsiteY1" fmla="*/ 13067 h 26134"/>
                  <a:gd name="connsiteX2" fmla="*/ 91649 w 104716"/>
                  <a:gd name="connsiteY2" fmla="*/ 0 h 26134"/>
                  <a:gd name="connsiteX3" fmla="*/ 13067 w 104716"/>
                  <a:gd name="connsiteY3" fmla="*/ 0 h 26134"/>
                  <a:gd name="connsiteX4" fmla="*/ 0 w 104716"/>
                  <a:gd name="connsiteY4" fmla="*/ 13067 h 26134"/>
                  <a:gd name="connsiteX5" fmla="*/ 13067 w 104716"/>
                  <a:gd name="connsiteY5" fmla="*/ 26134 h 26134"/>
                  <a:gd name="connsiteX6" fmla="*/ 91649 w 104716"/>
                  <a:gd name="connsiteY6" fmla="*/ 26134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16" h="26134">
                    <a:moveTo>
                      <a:pt x="91649" y="26134"/>
                    </a:moveTo>
                    <a:cubicBezTo>
                      <a:pt x="98809" y="26134"/>
                      <a:pt x="104716" y="20227"/>
                      <a:pt x="104716" y="13067"/>
                    </a:cubicBezTo>
                    <a:cubicBezTo>
                      <a:pt x="104716" y="5907"/>
                      <a:pt x="98809" y="0"/>
                      <a:pt x="91649" y="0"/>
                    </a:cubicBezTo>
                    <a:lnTo>
                      <a:pt x="13067" y="0"/>
                    </a:lnTo>
                    <a:cubicBezTo>
                      <a:pt x="5907" y="0"/>
                      <a:pt x="0" y="5907"/>
                      <a:pt x="0" y="13067"/>
                    </a:cubicBezTo>
                    <a:cubicBezTo>
                      <a:pt x="0" y="20227"/>
                      <a:pt x="5907" y="26134"/>
                      <a:pt x="13067" y="26134"/>
                    </a:cubicBezTo>
                    <a:lnTo>
                      <a:pt x="91649" y="26134"/>
                    </a:ln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56" name="Freeform: Shape 55">
                <a:extLst>
                  <a:ext uri="{FF2B5EF4-FFF2-40B4-BE49-F238E27FC236}">
                    <a16:creationId xmlns:a16="http://schemas.microsoft.com/office/drawing/2014/main" id="{CA82086C-DADE-513F-B980-56F8B55807A9}"/>
                  </a:ext>
                </a:extLst>
              </p:cNvPr>
              <p:cNvSpPr>
                <a:spLocks/>
              </p:cNvSpPr>
              <p:nvPr/>
            </p:nvSpPr>
            <p:spPr>
              <a:xfrm>
                <a:off x="4782020" y="6373468"/>
                <a:ext cx="225184" cy="26134"/>
              </a:xfrm>
              <a:custGeom>
                <a:avLst/>
                <a:gdLst>
                  <a:gd name="connsiteX0" fmla="*/ 212118 w 225184"/>
                  <a:gd name="connsiteY0" fmla="*/ 0 h 26134"/>
                  <a:gd name="connsiteX1" fmla="*/ 13067 w 225184"/>
                  <a:gd name="connsiteY1" fmla="*/ 0 h 26134"/>
                  <a:gd name="connsiteX2" fmla="*/ 0 w 225184"/>
                  <a:gd name="connsiteY2" fmla="*/ 13067 h 26134"/>
                  <a:gd name="connsiteX3" fmla="*/ 13067 w 225184"/>
                  <a:gd name="connsiteY3" fmla="*/ 26134 h 26134"/>
                  <a:gd name="connsiteX4" fmla="*/ 212118 w 225184"/>
                  <a:gd name="connsiteY4" fmla="*/ 26134 h 26134"/>
                  <a:gd name="connsiteX5" fmla="*/ 225185 w 225184"/>
                  <a:gd name="connsiteY5" fmla="*/ 13067 h 26134"/>
                  <a:gd name="connsiteX6" fmla="*/ 212118 w 225184"/>
                  <a:gd name="connsiteY6" fmla="*/ 0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184" h="26134">
                    <a:moveTo>
                      <a:pt x="212118" y="0"/>
                    </a:moveTo>
                    <a:lnTo>
                      <a:pt x="13067" y="0"/>
                    </a:lnTo>
                    <a:cubicBezTo>
                      <a:pt x="5907" y="0"/>
                      <a:pt x="0" y="5907"/>
                      <a:pt x="0" y="13067"/>
                    </a:cubicBezTo>
                    <a:cubicBezTo>
                      <a:pt x="0" y="20227"/>
                      <a:pt x="5907" y="26134"/>
                      <a:pt x="13067" y="26134"/>
                    </a:cubicBezTo>
                    <a:lnTo>
                      <a:pt x="212118" y="26134"/>
                    </a:lnTo>
                    <a:cubicBezTo>
                      <a:pt x="219278" y="26134"/>
                      <a:pt x="225185" y="20227"/>
                      <a:pt x="225185" y="13067"/>
                    </a:cubicBezTo>
                    <a:cubicBezTo>
                      <a:pt x="225185" y="5907"/>
                      <a:pt x="219278" y="0"/>
                      <a:pt x="212118" y="0"/>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57" name="Freeform: Shape 56">
                <a:extLst>
                  <a:ext uri="{FF2B5EF4-FFF2-40B4-BE49-F238E27FC236}">
                    <a16:creationId xmlns:a16="http://schemas.microsoft.com/office/drawing/2014/main" id="{41072EBF-2639-E435-051A-E1A26764882A}"/>
                  </a:ext>
                </a:extLst>
              </p:cNvPr>
              <p:cNvSpPr>
                <a:spLocks/>
              </p:cNvSpPr>
              <p:nvPr/>
            </p:nvSpPr>
            <p:spPr>
              <a:xfrm>
                <a:off x="4949208" y="6460283"/>
                <a:ext cx="206031" cy="26134"/>
              </a:xfrm>
              <a:custGeom>
                <a:avLst/>
                <a:gdLst>
                  <a:gd name="connsiteX0" fmla="*/ 0 w 206031"/>
                  <a:gd name="connsiteY0" fmla="*/ 13067 h 26134"/>
                  <a:gd name="connsiteX1" fmla="*/ 13067 w 206031"/>
                  <a:gd name="connsiteY1" fmla="*/ 26135 h 26134"/>
                  <a:gd name="connsiteX2" fmla="*/ 192964 w 206031"/>
                  <a:gd name="connsiteY2" fmla="*/ 26135 h 26134"/>
                  <a:gd name="connsiteX3" fmla="*/ 206032 w 206031"/>
                  <a:gd name="connsiteY3" fmla="*/ 13067 h 26134"/>
                  <a:gd name="connsiteX4" fmla="*/ 192964 w 206031"/>
                  <a:gd name="connsiteY4" fmla="*/ 0 h 26134"/>
                  <a:gd name="connsiteX5" fmla="*/ 13067 w 206031"/>
                  <a:gd name="connsiteY5" fmla="*/ 0 h 26134"/>
                  <a:gd name="connsiteX6" fmla="*/ 0 w 206031"/>
                  <a:gd name="connsiteY6" fmla="*/ 13067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031" h="26134">
                    <a:moveTo>
                      <a:pt x="0" y="13067"/>
                    </a:moveTo>
                    <a:cubicBezTo>
                      <a:pt x="0" y="20227"/>
                      <a:pt x="5907" y="26135"/>
                      <a:pt x="13067" y="26135"/>
                    </a:cubicBezTo>
                    <a:lnTo>
                      <a:pt x="192964" y="26135"/>
                    </a:lnTo>
                    <a:cubicBezTo>
                      <a:pt x="200125" y="26135"/>
                      <a:pt x="206032" y="20227"/>
                      <a:pt x="206032" y="13067"/>
                    </a:cubicBezTo>
                    <a:cubicBezTo>
                      <a:pt x="206032" y="5907"/>
                      <a:pt x="200125" y="0"/>
                      <a:pt x="192964" y="0"/>
                    </a:cubicBezTo>
                    <a:lnTo>
                      <a:pt x="13067" y="0"/>
                    </a:lnTo>
                    <a:cubicBezTo>
                      <a:pt x="5907" y="0"/>
                      <a:pt x="0" y="5907"/>
                      <a:pt x="0" y="13067"/>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58" name="Freeform: Shape 57">
                <a:extLst>
                  <a:ext uri="{FF2B5EF4-FFF2-40B4-BE49-F238E27FC236}">
                    <a16:creationId xmlns:a16="http://schemas.microsoft.com/office/drawing/2014/main" id="{476A1681-6999-1879-3699-C16D39373616}"/>
                  </a:ext>
                </a:extLst>
              </p:cNvPr>
              <p:cNvSpPr>
                <a:spLocks/>
              </p:cNvSpPr>
              <p:nvPr/>
            </p:nvSpPr>
            <p:spPr>
              <a:xfrm>
                <a:off x="4782020" y="6460283"/>
                <a:ext cx="123869" cy="26134"/>
              </a:xfrm>
              <a:custGeom>
                <a:avLst/>
                <a:gdLst>
                  <a:gd name="connsiteX0" fmla="*/ 13067 w 123869"/>
                  <a:gd name="connsiteY0" fmla="*/ 26135 h 26134"/>
                  <a:gd name="connsiteX1" fmla="*/ 110802 w 123869"/>
                  <a:gd name="connsiteY1" fmla="*/ 26135 h 26134"/>
                  <a:gd name="connsiteX2" fmla="*/ 123870 w 123869"/>
                  <a:gd name="connsiteY2" fmla="*/ 13067 h 26134"/>
                  <a:gd name="connsiteX3" fmla="*/ 110802 w 123869"/>
                  <a:gd name="connsiteY3" fmla="*/ 0 h 26134"/>
                  <a:gd name="connsiteX4" fmla="*/ 13067 w 123869"/>
                  <a:gd name="connsiteY4" fmla="*/ 0 h 26134"/>
                  <a:gd name="connsiteX5" fmla="*/ 0 w 123869"/>
                  <a:gd name="connsiteY5" fmla="*/ 13067 h 26134"/>
                  <a:gd name="connsiteX6" fmla="*/ 13067 w 123869"/>
                  <a:gd name="connsiteY6" fmla="*/ 26135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69" h="26134">
                    <a:moveTo>
                      <a:pt x="13067" y="26135"/>
                    </a:moveTo>
                    <a:lnTo>
                      <a:pt x="110802" y="26135"/>
                    </a:lnTo>
                    <a:cubicBezTo>
                      <a:pt x="117962" y="26135"/>
                      <a:pt x="123870" y="20227"/>
                      <a:pt x="123870" y="13067"/>
                    </a:cubicBezTo>
                    <a:cubicBezTo>
                      <a:pt x="123870" y="5907"/>
                      <a:pt x="117962" y="0"/>
                      <a:pt x="110802" y="0"/>
                    </a:cubicBezTo>
                    <a:lnTo>
                      <a:pt x="13067" y="0"/>
                    </a:lnTo>
                    <a:cubicBezTo>
                      <a:pt x="5907" y="0"/>
                      <a:pt x="0" y="5907"/>
                      <a:pt x="0" y="13067"/>
                    </a:cubicBezTo>
                    <a:cubicBezTo>
                      <a:pt x="0" y="20227"/>
                      <a:pt x="5907" y="26135"/>
                      <a:pt x="13067" y="26135"/>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59" name="Freeform: Shape 58">
                <a:extLst>
                  <a:ext uri="{FF2B5EF4-FFF2-40B4-BE49-F238E27FC236}">
                    <a16:creationId xmlns:a16="http://schemas.microsoft.com/office/drawing/2014/main" id="{817738B8-4BBD-CFD6-9A3A-765435FA55A8}"/>
                  </a:ext>
                </a:extLst>
              </p:cNvPr>
              <p:cNvSpPr>
                <a:spLocks/>
              </p:cNvSpPr>
              <p:nvPr/>
            </p:nvSpPr>
            <p:spPr>
              <a:xfrm>
                <a:off x="5008458" y="6807548"/>
                <a:ext cx="146781" cy="26134"/>
              </a:xfrm>
              <a:custGeom>
                <a:avLst/>
                <a:gdLst>
                  <a:gd name="connsiteX0" fmla="*/ 146782 w 146781"/>
                  <a:gd name="connsiteY0" fmla="*/ 13067 h 26134"/>
                  <a:gd name="connsiteX1" fmla="*/ 133714 w 146781"/>
                  <a:gd name="connsiteY1" fmla="*/ 0 h 26134"/>
                  <a:gd name="connsiteX2" fmla="*/ 13067 w 146781"/>
                  <a:gd name="connsiteY2" fmla="*/ 0 h 26134"/>
                  <a:gd name="connsiteX3" fmla="*/ 0 w 146781"/>
                  <a:gd name="connsiteY3" fmla="*/ 13067 h 26134"/>
                  <a:gd name="connsiteX4" fmla="*/ 13067 w 146781"/>
                  <a:gd name="connsiteY4" fmla="*/ 26134 h 26134"/>
                  <a:gd name="connsiteX5" fmla="*/ 133714 w 146781"/>
                  <a:gd name="connsiteY5" fmla="*/ 26134 h 26134"/>
                  <a:gd name="connsiteX6" fmla="*/ 146782 w 146781"/>
                  <a:gd name="connsiteY6" fmla="*/ 13067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781" h="26134">
                    <a:moveTo>
                      <a:pt x="146782" y="13067"/>
                    </a:moveTo>
                    <a:cubicBezTo>
                      <a:pt x="146782" y="5907"/>
                      <a:pt x="140875" y="0"/>
                      <a:pt x="133714" y="0"/>
                    </a:cubicBezTo>
                    <a:lnTo>
                      <a:pt x="13067" y="0"/>
                    </a:lnTo>
                    <a:cubicBezTo>
                      <a:pt x="5907" y="0"/>
                      <a:pt x="0" y="5728"/>
                      <a:pt x="0" y="13067"/>
                    </a:cubicBezTo>
                    <a:cubicBezTo>
                      <a:pt x="0" y="20227"/>
                      <a:pt x="5907" y="26134"/>
                      <a:pt x="13067" y="26134"/>
                    </a:cubicBezTo>
                    <a:lnTo>
                      <a:pt x="133714" y="26134"/>
                    </a:lnTo>
                    <a:cubicBezTo>
                      <a:pt x="140875" y="25955"/>
                      <a:pt x="146782" y="20227"/>
                      <a:pt x="146782" y="13067"/>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60" name="Freeform: Shape 59">
                <a:extLst>
                  <a:ext uri="{FF2B5EF4-FFF2-40B4-BE49-F238E27FC236}">
                    <a16:creationId xmlns:a16="http://schemas.microsoft.com/office/drawing/2014/main" id="{B0BABEA9-71EE-E221-FD0C-28E84E972A8B}"/>
                  </a:ext>
                </a:extLst>
              </p:cNvPr>
              <p:cNvSpPr>
                <a:spLocks/>
              </p:cNvSpPr>
              <p:nvPr/>
            </p:nvSpPr>
            <p:spPr>
              <a:xfrm>
                <a:off x="4780946" y="6807548"/>
                <a:ext cx="184193" cy="26134"/>
              </a:xfrm>
              <a:custGeom>
                <a:avLst/>
                <a:gdLst>
                  <a:gd name="connsiteX0" fmla="*/ 184193 w 184193"/>
                  <a:gd name="connsiteY0" fmla="*/ 13067 h 26134"/>
                  <a:gd name="connsiteX1" fmla="*/ 171126 w 184193"/>
                  <a:gd name="connsiteY1" fmla="*/ 0 h 26134"/>
                  <a:gd name="connsiteX2" fmla="*/ 13067 w 184193"/>
                  <a:gd name="connsiteY2" fmla="*/ 0 h 26134"/>
                  <a:gd name="connsiteX3" fmla="*/ 0 w 184193"/>
                  <a:gd name="connsiteY3" fmla="*/ 13067 h 26134"/>
                  <a:gd name="connsiteX4" fmla="*/ 13067 w 184193"/>
                  <a:gd name="connsiteY4" fmla="*/ 26134 h 26134"/>
                  <a:gd name="connsiteX5" fmla="*/ 171126 w 184193"/>
                  <a:gd name="connsiteY5" fmla="*/ 26134 h 26134"/>
                  <a:gd name="connsiteX6" fmla="*/ 184193 w 184193"/>
                  <a:gd name="connsiteY6" fmla="*/ 13067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193" h="26134">
                    <a:moveTo>
                      <a:pt x="184193" y="13067"/>
                    </a:moveTo>
                    <a:cubicBezTo>
                      <a:pt x="184193" y="5907"/>
                      <a:pt x="178286" y="0"/>
                      <a:pt x="171126" y="0"/>
                    </a:cubicBezTo>
                    <a:lnTo>
                      <a:pt x="13067" y="0"/>
                    </a:lnTo>
                    <a:cubicBezTo>
                      <a:pt x="5907" y="0"/>
                      <a:pt x="0" y="5728"/>
                      <a:pt x="0" y="13067"/>
                    </a:cubicBezTo>
                    <a:cubicBezTo>
                      <a:pt x="0" y="20227"/>
                      <a:pt x="5907" y="26134"/>
                      <a:pt x="13067" y="26134"/>
                    </a:cubicBezTo>
                    <a:lnTo>
                      <a:pt x="171126" y="26134"/>
                    </a:lnTo>
                    <a:cubicBezTo>
                      <a:pt x="178465" y="25955"/>
                      <a:pt x="184193" y="20227"/>
                      <a:pt x="184193" y="13067"/>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61" name="Freeform: Shape 60">
                <a:extLst>
                  <a:ext uri="{FF2B5EF4-FFF2-40B4-BE49-F238E27FC236}">
                    <a16:creationId xmlns:a16="http://schemas.microsoft.com/office/drawing/2014/main" id="{DBB61AB0-D172-5378-E716-5F18B7AD10A0}"/>
                  </a:ext>
                </a:extLst>
              </p:cNvPr>
              <p:cNvSpPr>
                <a:spLocks/>
              </p:cNvSpPr>
              <p:nvPr/>
            </p:nvSpPr>
            <p:spPr>
              <a:xfrm>
                <a:off x="4931845" y="6894185"/>
                <a:ext cx="136578" cy="26134"/>
              </a:xfrm>
              <a:custGeom>
                <a:avLst/>
                <a:gdLst>
                  <a:gd name="connsiteX0" fmla="*/ 13067 w 136578"/>
                  <a:gd name="connsiteY0" fmla="*/ 26134 h 26134"/>
                  <a:gd name="connsiteX1" fmla="*/ 123512 w 136578"/>
                  <a:gd name="connsiteY1" fmla="*/ 26134 h 26134"/>
                  <a:gd name="connsiteX2" fmla="*/ 136579 w 136578"/>
                  <a:gd name="connsiteY2" fmla="*/ 13067 h 26134"/>
                  <a:gd name="connsiteX3" fmla="*/ 123512 w 136578"/>
                  <a:gd name="connsiteY3" fmla="*/ 0 h 26134"/>
                  <a:gd name="connsiteX4" fmla="*/ 13067 w 136578"/>
                  <a:gd name="connsiteY4" fmla="*/ 0 h 26134"/>
                  <a:gd name="connsiteX5" fmla="*/ 0 w 136578"/>
                  <a:gd name="connsiteY5" fmla="*/ 13067 h 26134"/>
                  <a:gd name="connsiteX6" fmla="*/ 13067 w 136578"/>
                  <a:gd name="connsiteY6" fmla="*/ 26134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78" h="26134">
                    <a:moveTo>
                      <a:pt x="13067" y="26134"/>
                    </a:moveTo>
                    <a:lnTo>
                      <a:pt x="123512" y="26134"/>
                    </a:lnTo>
                    <a:cubicBezTo>
                      <a:pt x="130672" y="26134"/>
                      <a:pt x="136579" y="20227"/>
                      <a:pt x="136579" y="13067"/>
                    </a:cubicBezTo>
                    <a:cubicBezTo>
                      <a:pt x="136579" y="5907"/>
                      <a:pt x="130672" y="0"/>
                      <a:pt x="123512" y="0"/>
                    </a:cubicBezTo>
                    <a:lnTo>
                      <a:pt x="13067" y="0"/>
                    </a:lnTo>
                    <a:cubicBezTo>
                      <a:pt x="5907" y="0"/>
                      <a:pt x="0" y="5907"/>
                      <a:pt x="0" y="13067"/>
                    </a:cubicBezTo>
                    <a:cubicBezTo>
                      <a:pt x="0" y="20406"/>
                      <a:pt x="5907" y="26134"/>
                      <a:pt x="13067" y="26134"/>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64" name="Freeform: Shape 63">
                <a:extLst>
                  <a:ext uri="{FF2B5EF4-FFF2-40B4-BE49-F238E27FC236}">
                    <a16:creationId xmlns:a16="http://schemas.microsoft.com/office/drawing/2014/main" id="{1EA11C26-CAC9-472D-5436-1F137C062FD0}"/>
                  </a:ext>
                </a:extLst>
              </p:cNvPr>
              <p:cNvSpPr>
                <a:spLocks/>
              </p:cNvSpPr>
              <p:nvPr/>
            </p:nvSpPr>
            <p:spPr>
              <a:xfrm>
                <a:off x="4782020" y="6894364"/>
                <a:ext cx="106506" cy="26134"/>
              </a:xfrm>
              <a:custGeom>
                <a:avLst/>
                <a:gdLst>
                  <a:gd name="connsiteX0" fmla="*/ 13067 w 106506"/>
                  <a:gd name="connsiteY0" fmla="*/ 0 h 26134"/>
                  <a:gd name="connsiteX1" fmla="*/ 0 w 106506"/>
                  <a:gd name="connsiteY1" fmla="*/ 13067 h 26134"/>
                  <a:gd name="connsiteX2" fmla="*/ 13067 w 106506"/>
                  <a:gd name="connsiteY2" fmla="*/ 26135 h 26134"/>
                  <a:gd name="connsiteX3" fmla="*/ 93439 w 106506"/>
                  <a:gd name="connsiteY3" fmla="*/ 26135 h 26134"/>
                  <a:gd name="connsiteX4" fmla="*/ 106506 w 106506"/>
                  <a:gd name="connsiteY4" fmla="*/ 13067 h 26134"/>
                  <a:gd name="connsiteX5" fmla="*/ 93439 w 106506"/>
                  <a:gd name="connsiteY5" fmla="*/ 0 h 26134"/>
                  <a:gd name="connsiteX6" fmla="*/ 13067 w 106506"/>
                  <a:gd name="connsiteY6" fmla="*/ 0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506" h="26134">
                    <a:moveTo>
                      <a:pt x="13067" y="0"/>
                    </a:moveTo>
                    <a:cubicBezTo>
                      <a:pt x="5907" y="0"/>
                      <a:pt x="0" y="5907"/>
                      <a:pt x="0" y="13067"/>
                    </a:cubicBezTo>
                    <a:cubicBezTo>
                      <a:pt x="0" y="20227"/>
                      <a:pt x="5907" y="26135"/>
                      <a:pt x="13067" y="26135"/>
                    </a:cubicBezTo>
                    <a:lnTo>
                      <a:pt x="93439" y="26135"/>
                    </a:lnTo>
                    <a:cubicBezTo>
                      <a:pt x="100599" y="26135"/>
                      <a:pt x="106506" y="20227"/>
                      <a:pt x="106506" y="13067"/>
                    </a:cubicBezTo>
                    <a:cubicBezTo>
                      <a:pt x="106506" y="5907"/>
                      <a:pt x="100599" y="0"/>
                      <a:pt x="93439" y="0"/>
                    </a:cubicBezTo>
                    <a:lnTo>
                      <a:pt x="13067" y="0"/>
                    </a:ln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67" name="Freeform: Shape 66">
                <a:extLst>
                  <a:ext uri="{FF2B5EF4-FFF2-40B4-BE49-F238E27FC236}">
                    <a16:creationId xmlns:a16="http://schemas.microsoft.com/office/drawing/2014/main" id="{60DA3BA4-FFE5-BB0E-AB40-CD1CA21F9995}"/>
                  </a:ext>
                </a:extLst>
              </p:cNvPr>
              <p:cNvSpPr>
                <a:spLocks/>
              </p:cNvSpPr>
              <p:nvPr/>
            </p:nvSpPr>
            <p:spPr>
              <a:xfrm>
                <a:off x="4382845" y="6564463"/>
                <a:ext cx="859211" cy="165040"/>
              </a:xfrm>
              <a:custGeom>
                <a:avLst/>
                <a:gdLst>
                  <a:gd name="connsiteX0" fmla="*/ 0 w 859211"/>
                  <a:gd name="connsiteY0" fmla="*/ 82520 h 165040"/>
                  <a:gd name="connsiteX1" fmla="*/ 7160 w 859211"/>
                  <a:gd name="connsiteY1" fmla="*/ 94155 h 165040"/>
                  <a:gd name="connsiteX2" fmla="*/ 146245 w 859211"/>
                  <a:gd name="connsiteY2" fmla="*/ 163608 h 165040"/>
                  <a:gd name="connsiteX3" fmla="*/ 151973 w 859211"/>
                  <a:gd name="connsiteY3" fmla="*/ 165040 h 165040"/>
                  <a:gd name="connsiteX4" fmla="*/ 811418 w 859211"/>
                  <a:gd name="connsiteY4" fmla="*/ 165040 h 165040"/>
                  <a:gd name="connsiteX5" fmla="*/ 859211 w 859211"/>
                  <a:gd name="connsiteY5" fmla="*/ 117247 h 165040"/>
                  <a:gd name="connsiteX6" fmla="*/ 859211 w 859211"/>
                  <a:gd name="connsiteY6" fmla="*/ 47794 h 165040"/>
                  <a:gd name="connsiteX7" fmla="*/ 811418 w 859211"/>
                  <a:gd name="connsiteY7" fmla="*/ 0 h 165040"/>
                  <a:gd name="connsiteX8" fmla="*/ 151973 w 859211"/>
                  <a:gd name="connsiteY8" fmla="*/ 0 h 165040"/>
                  <a:gd name="connsiteX9" fmla="*/ 146245 w 859211"/>
                  <a:gd name="connsiteY9" fmla="*/ 1432 h 165040"/>
                  <a:gd name="connsiteX10" fmla="*/ 7160 w 859211"/>
                  <a:gd name="connsiteY10" fmla="*/ 70885 h 165040"/>
                  <a:gd name="connsiteX11" fmla="*/ 0 w 859211"/>
                  <a:gd name="connsiteY11" fmla="*/ 82520 h 165040"/>
                  <a:gd name="connsiteX12" fmla="*/ 767920 w 859211"/>
                  <a:gd name="connsiteY12" fmla="*/ 26134 h 165040"/>
                  <a:gd name="connsiteX13" fmla="*/ 811418 w 859211"/>
                  <a:gd name="connsiteY13" fmla="*/ 26134 h 165040"/>
                  <a:gd name="connsiteX14" fmla="*/ 833077 w 859211"/>
                  <a:gd name="connsiteY14" fmla="*/ 47794 h 165040"/>
                  <a:gd name="connsiteX15" fmla="*/ 833077 w 859211"/>
                  <a:gd name="connsiteY15" fmla="*/ 117247 h 165040"/>
                  <a:gd name="connsiteX16" fmla="*/ 811418 w 859211"/>
                  <a:gd name="connsiteY16" fmla="*/ 138906 h 165040"/>
                  <a:gd name="connsiteX17" fmla="*/ 767920 w 859211"/>
                  <a:gd name="connsiteY17" fmla="*/ 138906 h 165040"/>
                  <a:gd name="connsiteX18" fmla="*/ 767920 w 859211"/>
                  <a:gd name="connsiteY18" fmla="*/ 26134 h 165040"/>
                  <a:gd name="connsiteX19" fmla="*/ 165040 w 859211"/>
                  <a:gd name="connsiteY19" fmla="*/ 26134 h 165040"/>
                  <a:gd name="connsiteX20" fmla="*/ 741786 w 859211"/>
                  <a:gd name="connsiteY20" fmla="*/ 26134 h 165040"/>
                  <a:gd name="connsiteX21" fmla="*/ 741786 w 859211"/>
                  <a:gd name="connsiteY21" fmla="*/ 69453 h 165040"/>
                  <a:gd name="connsiteX22" fmla="*/ 165040 w 859211"/>
                  <a:gd name="connsiteY22" fmla="*/ 69453 h 165040"/>
                  <a:gd name="connsiteX23" fmla="*/ 165040 w 859211"/>
                  <a:gd name="connsiteY23" fmla="*/ 26134 h 165040"/>
                  <a:gd name="connsiteX24" fmla="*/ 165040 w 859211"/>
                  <a:gd name="connsiteY24" fmla="*/ 95409 h 165040"/>
                  <a:gd name="connsiteX25" fmla="*/ 741786 w 859211"/>
                  <a:gd name="connsiteY25" fmla="*/ 95409 h 165040"/>
                  <a:gd name="connsiteX26" fmla="*/ 741786 w 859211"/>
                  <a:gd name="connsiteY26" fmla="*/ 138906 h 165040"/>
                  <a:gd name="connsiteX27" fmla="*/ 165040 w 859211"/>
                  <a:gd name="connsiteY27" fmla="*/ 138906 h 165040"/>
                  <a:gd name="connsiteX28" fmla="*/ 165040 w 859211"/>
                  <a:gd name="connsiteY28" fmla="*/ 95409 h 165040"/>
                  <a:gd name="connsiteX29" fmla="*/ 139085 w 859211"/>
                  <a:gd name="connsiteY29" fmla="*/ 34190 h 165040"/>
                  <a:gd name="connsiteX30" fmla="*/ 139085 w 859211"/>
                  <a:gd name="connsiteY30" fmla="*/ 131030 h 165040"/>
                  <a:gd name="connsiteX31" fmla="*/ 42245 w 859211"/>
                  <a:gd name="connsiteY31" fmla="*/ 82699 h 165040"/>
                  <a:gd name="connsiteX32" fmla="*/ 139085 w 859211"/>
                  <a:gd name="connsiteY32" fmla="*/ 34190 h 16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9211" h="165040">
                    <a:moveTo>
                      <a:pt x="0" y="82520"/>
                    </a:moveTo>
                    <a:cubicBezTo>
                      <a:pt x="0" y="87532"/>
                      <a:pt x="2864" y="92007"/>
                      <a:pt x="7160" y="94155"/>
                    </a:cubicBezTo>
                    <a:lnTo>
                      <a:pt x="146245" y="163608"/>
                    </a:lnTo>
                    <a:cubicBezTo>
                      <a:pt x="148035" y="164503"/>
                      <a:pt x="150004" y="165040"/>
                      <a:pt x="151973" y="165040"/>
                    </a:cubicBezTo>
                    <a:lnTo>
                      <a:pt x="811418" y="165040"/>
                    </a:lnTo>
                    <a:cubicBezTo>
                      <a:pt x="837731" y="165040"/>
                      <a:pt x="859211" y="143560"/>
                      <a:pt x="859211" y="117247"/>
                    </a:cubicBezTo>
                    <a:lnTo>
                      <a:pt x="859211" y="47794"/>
                    </a:lnTo>
                    <a:cubicBezTo>
                      <a:pt x="859211" y="21480"/>
                      <a:pt x="837731" y="0"/>
                      <a:pt x="811418" y="0"/>
                    </a:cubicBezTo>
                    <a:lnTo>
                      <a:pt x="151973" y="0"/>
                    </a:lnTo>
                    <a:cubicBezTo>
                      <a:pt x="150004" y="0"/>
                      <a:pt x="148035" y="537"/>
                      <a:pt x="146245" y="1432"/>
                    </a:cubicBezTo>
                    <a:lnTo>
                      <a:pt x="7160" y="70885"/>
                    </a:lnTo>
                    <a:cubicBezTo>
                      <a:pt x="2685" y="73033"/>
                      <a:pt x="0" y="77508"/>
                      <a:pt x="0" y="82520"/>
                    </a:cubicBezTo>
                    <a:close/>
                    <a:moveTo>
                      <a:pt x="767920" y="26134"/>
                    </a:moveTo>
                    <a:lnTo>
                      <a:pt x="811418" y="26134"/>
                    </a:lnTo>
                    <a:cubicBezTo>
                      <a:pt x="823411" y="26134"/>
                      <a:pt x="833077" y="35800"/>
                      <a:pt x="833077" y="47794"/>
                    </a:cubicBezTo>
                    <a:lnTo>
                      <a:pt x="833077" y="117247"/>
                    </a:lnTo>
                    <a:cubicBezTo>
                      <a:pt x="833077" y="129240"/>
                      <a:pt x="823411" y="138906"/>
                      <a:pt x="811418" y="138906"/>
                    </a:cubicBezTo>
                    <a:lnTo>
                      <a:pt x="767920" y="138906"/>
                    </a:lnTo>
                    <a:lnTo>
                      <a:pt x="767920" y="26134"/>
                    </a:lnTo>
                    <a:close/>
                    <a:moveTo>
                      <a:pt x="165040" y="26134"/>
                    </a:moveTo>
                    <a:lnTo>
                      <a:pt x="741786" y="26134"/>
                    </a:lnTo>
                    <a:lnTo>
                      <a:pt x="741786" y="69453"/>
                    </a:lnTo>
                    <a:lnTo>
                      <a:pt x="165040" y="69453"/>
                    </a:lnTo>
                    <a:lnTo>
                      <a:pt x="165040" y="26134"/>
                    </a:lnTo>
                    <a:close/>
                    <a:moveTo>
                      <a:pt x="165040" y="95409"/>
                    </a:moveTo>
                    <a:lnTo>
                      <a:pt x="741786" y="95409"/>
                    </a:lnTo>
                    <a:lnTo>
                      <a:pt x="741786" y="138906"/>
                    </a:lnTo>
                    <a:lnTo>
                      <a:pt x="165040" y="138906"/>
                    </a:lnTo>
                    <a:lnTo>
                      <a:pt x="165040" y="95409"/>
                    </a:lnTo>
                    <a:close/>
                    <a:moveTo>
                      <a:pt x="139085" y="34190"/>
                    </a:moveTo>
                    <a:lnTo>
                      <a:pt x="139085" y="131030"/>
                    </a:lnTo>
                    <a:lnTo>
                      <a:pt x="42245" y="82699"/>
                    </a:lnTo>
                    <a:lnTo>
                      <a:pt x="139085" y="34190"/>
                    </a:ln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grpSp>
      </p:grpSp>
      <p:sp>
        <p:nvSpPr>
          <p:cNvPr id="70" name="Freeform: Shape 69">
            <a:extLst>
              <a:ext uri="{FF2B5EF4-FFF2-40B4-BE49-F238E27FC236}">
                <a16:creationId xmlns:a16="http://schemas.microsoft.com/office/drawing/2014/main" id="{041569C2-0CD7-FCDC-EA58-859FFBCA807A}"/>
              </a:ext>
            </a:extLst>
          </p:cNvPr>
          <p:cNvSpPr/>
          <p:nvPr/>
        </p:nvSpPr>
        <p:spPr>
          <a:xfrm>
            <a:off x="7896054" y="2474898"/>
            <a:ext cx="1513848" cy="3612992"/>
          </a:xfrm>
          <a:custGeom>
            <a:avLst/>
            <a:gdLst>
              <a:gd name="connsiteX0" fmla="*/ 88103 w 1488578"/>
              <a:gd name="connsiteY0" fmla="*/ 2956289 h 2956289"/>
              <a:gd name="connsiteX1" fmla="*/ 1258179 w 1488578"/>
              <a:gd name="connsiteY1" fmla="*/ 2956289 h 2956289"/>
              <a:gd name="connsiteX2" fmla="*/ 1346210 w 1488578"/>
              <a:gd name="connsiteY2" fmla="*/ 2868259 h 2956289"/>
              <a:gd name="connsiteX3" fmla="*/ 1346210 w 1488578"/>
              <a:gd name="connsiteY3" fmla="*/ 1717502 h 2956289"/>
              <a:gd name="connsiteX4" fmla="*/ 1393774 w 1488578"/>
              <a:gd name="connsiteY4" fmla="*/ 1611470 h 2956289"/>
              <a:gd name="connsiteX5" fmla="*/ 1471486 w 1488578"/>
              <a:gd name="connsiteY5" fmla="*/ 1542246 h 2956289"/>
              <a:gd name="connsiteX6" fmla="*/ 1474779 w 1488578"/>
              <a:gd name="connsiteY6" fmla="*/ 1469217 h 2956289"/>
              <a:gd name="connsiteX7" fmla="*/ 1384480 w 1488578"/>
              <a:gd name="connsiteY7" fmla="*/ 1372772 h 2956289"/>
              <a:gd name="connsiteX8" fmla="*/ 1346136 w 1488578"/>
              <a:gd name="connsiteY8" fmla="*/ 1275741 h 2956289"/>
              <a:gd name="connsiteX9" fmla="*/ 1346136 w 1488578"/>
              <a:gd name="connsiteY9" fmla="*/ 88030 h 2956289"/>
              <a:gd name="connsiteX10" fmla="*/ 1258106 w 1488578"/>
              <a:gd name="connsiteY10" fmla="*/ 0 h 2956289"/>
              <a:gd name="connsiteX11" fmla="*/ 88030 w 1488578"/>
              <a:gd name="connsiteY11" fmla="*/ 0 h 2956289"/>
              <a:gd name="connsiteX12" fmla="*/ 0 w 1488578"/>
              <a:gd name="connsiteY12" fmla="*/ 88030 h 2956289"/>
              <a:gd name="connsiteX13" fmla="*/ 0 w 1488578"/>
              <a:gd name="connsiteY13" fmla="*/ 2868186 h 2956289"/>
              <a:gd name="connsiteX14" fmla="*/ 88030 w 1488578"/>
              <a:gd name="connsiteY14" fmla="*/ 2956216 h 295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88578" h="2956289">
                <a:moveTo>
                  <a:pt x="88103" y="2956289"/>
                </a:moveTo>
                <a:lnTo>
                  <a:pt x="1258179" y="2956289"/>
                </a:lnTo>
                <a:cubicBezTo>
                  <a:pt x="1306841" y="2956289"/>
                  <a:pt x="1346210" y="2916848"/>
                  <a:pt x="1346210" y="2868259"/>
                </a:cubicBezTo>
                <a:lnTo>
                  <a:pt x="1346210" y="1717502"/>
                </a:lnTo>
                <a:cubicBezTo>
                  <a:pt x="1346210" y="1676962"/>
                  <a:pt x="1363479" y="1638399"/>
                  <a:pt x="1393774" y="1611470"/>
                </a:cubicBezTo>
                <a:lnTo>
                  <a:pt x="1471486" y="1542246"/>
                </a:lnTo>
                <a:cubicBezTo>
                  <a:pt x="1492926" y="1523147"/>
                  <a:pt x="1494390" y="1490219"/>
                  <a:pt x="1474779" y="1469217"/>
                </a:cubicBezTo>
                <a:lnTo>
                  <a:pt x="1384480" y="1372772"/>
                </a:lnTo>
                <a:cubicBezTo>
                  <a:pt x="1359893" y="1346429"/>
                  <a:pt x="1346136" y="1311817"/>
                  <a:pt x="1346136" y="1275741"/>
                </a:cubicBezTo>
                <a:lnTo>
                  <a:pt x="1346136" y="88030"/>
                </a:lnTo>
                <a:cubicBezTo>
                  <a:pt x="1346136" y="39368"/>
                  <a:pt x="1306695" y="0"/>
                  <a:pt x="1258106" y="0"/>
                </a:cubicBezTo>
                <a:lnTo>
                  <a:pt x="88030" y="0"/>
                </a:lnTo>
                <a:cubicBezTo>
                  <a:pt x="39368" y="0"/>
                  <a:pt x="0" y="39442"/>
                  <a:pt x="0" y="88030"/>
                </a:cubicBezTo>
                <a:lnTo>
                  <a:pt x="0" y="2868186"/>
                </a:lnTo>
                <a:cubicBezTo>
                  <a:pt x="0" y="2916848"/>
                  <a:pt x="39442" y="2956216"/>
                  <a:pt x="88030" y="2956216"/>
                </a:cubicBezTo>
                <a:close/>
              </a:path>
            </a:pathLst>
          </a:custGeom>
          <a:solidFill>
            <a:schemeClr val="bg1">
              <a:lumMod val="85000"/>
            </a:schemeClr>
          </a:solidFill>
          <a:ln w="72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6" name="Rectangle: Rounded Corners 95">
            <a:extLst>
              <a:ext uri="{FF2B5EF4-FFF2-40B4-BE49-F238E27FC236}">
                <a16:creationId xmlns:a16="http://schemas.microsoft.com/office/drawing/2014/main" id="{C36EBFE3-2FB0-FF73-94F7-2EAF24295B51}"/>
              </a:ext>
            </a:extLst>
          </p:cNvPr>
          <p:cNvSpPr/>
          <p:nvPr/>
        </p:nvSpPr>
        <p:spPr>
          <a:xfrm>
            <a:off x="7074789" y="2095575"/>
            <a:ext cx="2131526" cy="3992315"/>
          </a:xfrm>
          <a:prstGeom prst="roundRect">
            <a:avLst>
              <a:gd name="adj" fmla="val 3712"/>
            </a:avLst>
          </a:prstGeom>
          <a:solidFill>
            <a:schemeClr val="bg1"/>
          </a:solidFill>
          <a:ln w="7295" cap="flat">
            <a:noFill/>
            <a:prstDash val="solid"/>
            <a:miter/>
          </a:ln>
          <a:effectLst>
            <a:outerShdw blurRad="50800" dist="38100" dir="5400000" algn="t" rotWithShape="0">
              <a:prstClr val="black">
                <a:alpha val="11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7" name="Rectangle: Top Corners Rounded 96">
            <a:extLst>
              <a:ext uri="{FF2B5EF4-FFF2-40B4-BE49-F238E27FC236}">
                <a16:creationId xmlns:a16="http://schemas.microsoft.com/office/drawing/2014/main" id="{AD570FC4-A34C-9933-B74A-FE98E90EF680}"/>
              </a:ext>
            </a:extLst>
          </p:cNvPr>
          <p:cNvSpPr/>
          <p:nvPr/>
        </p:nvSpPr>
        <p:spPr>
          <a:xfrm rot="5400000" flipH="1">
            <a:off x="7923180" y="1428439"/>
            <a:ext cx="406207" cy="2094333"/>
          </a:xfrm>
          <a:prstGeom prst="round2SameRect">
            <a:avLst>
              <a:gd name="adj1" fmla="val 50000"/>
              <a:gd name="adj2" fmla="val 0"/>
            </a:avLst>
          </a:prstGeom>
          <a:solidFill>
            <a:srgbClr val="00C0AE"/>
          </a:solidFill>
          <a:ln w="72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8" name="TextBox 97">
            <a:extLst>
              <a:ext uri="{FF2B5EF4-FFF2-40B4-BE49-F238E27FC236}">
                <a16:creationId xmlns:a16="http://schemas.microsoft.com/office/drawing/2014/main" id="{93592B34-ECDA-0A77-CF53-09E38EA2ED6A}"/>
              </a:ext>
            </a:extLst>
          </p:cNvPr>
          <p:cNvSpPr txBox="1"/>
          <p:nvPr/>
        </p:nvSpPr>
        <p:spPr>
          <a:xfrm flipH="1">
            <a:off x="7186845" y="2273795"/>
            <a:ext cx="1450114" cy="307777"/>
          </a:xfrm>
          <a:prstGeom prst="rect">
            <a:avLst/>
          </a:prstGeom>
        </p:spPr>
        <p:txBody>
          <a:bodyPr vert="horz"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a:ln>
                  <a:noFill/>
                </a:ln>
                <a:solidFill>
                  <a:srgbClr val="FFFFFF"/>
                </a:solidFill>
                <a:effectLst/>
                <a:uLnTx/>
                <a:uFillTx/>
                <a:latin typeface="KPMG Bold"/>
                <a:ea typeface="+mn-ea"/>
                <a:cs typeface="+mn-cs"/>
              </a:rPr>
              <a:t>Week 13</a:t>
            </a:r>
          </a:p>
        </p:txBody>
      </p:sp>
      <p:sp>
        <p:nvSpPr>
          <p:cNvPr id="99" name="TextBox 98">
            <a:extLst>
              <a:ext uri="{FF2B5EF4-FFF2-40B4-BE49-F238E27FC236}">
                <a16:creationId xmlns:a16="http://schemas.microsoft.com/office/drawing/2014/main" id="{0B59EF6C-3DA1-BE47-8ACA-BE3A5599702E}"/>
              </a:ext>
            </a:extLst>
          </p:cNvPr>
          <p:cNvSpPr txBox="1"/>
          <p:nvPr/>
        </p:nvSpPr>
        <p:spPr>
          <a:xfrm>
            <a:off x="7180474" y="2862229"/>
            <a:ext cx="2231825" cy="193899"/>
          </a:xfrm>
          <a:prstGeom prst="rect">
            <a:avLst/>
          </a:prstGeom>
        </p:spPr>
        <p:txBody>
          <a:bodyPr vert="horz" wrap="square" lIns="0" tIns="0" rIns="0" bIns="0" rtlCol="0" anchor="t" anchorCtr="0">
            <a:spAutoFit/>
          </a:bodyPr>
          <a:lstStyle/>
          <a:p>
            <a:pPr marL="0" marR="0" lvl="0" indent="0" algn="l" defTabSz="914400" rtl="0" eaLnBrk="1" fontAlgn="auto" latinLnBrk="0" hangingPunct="1">
              <a:lnSpc>
                <a:spcPct val="70000"/>
              </a:lnSpc>
              <a:spcBef>
                <a:spcPts val="0"/>
              </a:spcBef>
              <a:spcAft>
                <a:spcPts val="600"/>
              </a:spcAft>
              <a:buClrTx/>
              <a:buSzTx/>
              <a:buFontTx/>
              <a:buNone/>
              <a:tabLst/>
              <a:defRPr/>
            </a:pPr>
            <a:r>
              <a:rPr kumimoji="0" lang="en-US" sz="1800" b="1" i="0" u="none" strike="noStrike" kern="1200" cap="none" spc="0" normalizeH="0" baseline="0" noProof="0">
                <a:ln>
                  <a:noFill/>
                </a:ln>
                <a:solidFill>
                  <a:srgbClr val="000000"/>
                </a:solidFill>
                <a:effectLst/>
                <a:uLnTx/>
                <a:uFillTx/>
                <a:latin typeface="KPMG Bold"/>
                <a:ea typeface="+mn-ea"/>
                <a:cs typeface="+mn-cs"/>
              </a:rPr>
              <a:t>Data Lake</a:t>
            </a:r>
          </a:p>
        </p:txBody>
      </p:sp>
      <p:sp>
        <p:nvSpPr>
          <p:cNvPr id="100" name="TextBox 99">
            <a:extLst>
              <a:ext uri="{FF2B5EF4-FFF2-40B4-BE49-F238E27FC236}">
                <a16:creationId xmlns:a16="http://schemas.microsoft.com/office/drawing/2014/main" id="{4E372F0D-7F1B-68CF-484D-5EFCA5E527B7}"/>
              </a:ext>
            </a:extLst>
          </p:cNvPr>
          <p:cNvSpPr txBox="1">
            <a:spLocks/>
          </p:cNvSpPr>
          <p:nvPr/>
        </p:nvSpPr>
        <p:spPr>
          <a:xfrm>
            <a:off x="7197485" y="3225820"/>
            <a:ext cx="1941823" cy="2893100"/>
          </a:xfrm>
          <a:prstGeom prst="rect">
            <a:avLst/>
          </a:prstGeom>
        </p:spPr>
        <p:txBody>
          <a:bodyPr vert="horz" wrap="square" lIns="0" tIns="0" rIns="0" bIns="0" rtlCol="0" anchor="t" anchorCtr="0">
            <a:spAutoFit/>
          </a:bodyPr>
          <a:lstStyle/>
          <a:p>
            <a:pPr marR="0" lvl="0" algn="l" defTabSz="914400" rtl="0" eaLnBrk="0" fontAlgn="base" latinLnBrk="0" hangingPunct="0">
              <a:lnSpc>
                <a:spcPct val="100000"/>
              </a:lnSpc>
              <a:spcBef>
                <a:spcPct val="0"/>
              </a:spcBef>
              <a:spcAft>
                <a:spcPts val="600"/>
              </a:spcAft>
              <a:buClrTx/>
              <a:buSzTx/>
              <a:tabLst/>
              <a:defRPr/>
            </a:pPr>
            <a:r>
              <a:rPr lang="en-US" altLang="en-US" sz="900" b="1">
                <a:solidFill>
                  <a:srgbClr val="000000"/>
                </a:solidFill>
                <a:latin typeface="Arial" panose="020B0604020202020204" pitchFamily="34" charset="0"/>
              </a:rPr>
              <a:t>Data Lake MVP Build</a:t>
            </a:r>
          </a:p>
          <a:p>
            <a:pPr marL="171450" lvl="0" indent="-171450" eaLnBrk="0" fontAlgn="base" hangingPunct="0">
              <a:spcBef>
                <a:spcPct val="0"/>
              </a:spcBef>
              <a:spcAft>
                <a:spcPts val="600"/>
              </a:spcAft>
              <a:buFont typeface="Arial" panose="020B0604020202020204" pitchFamily="34" charset="0"/>
              <a:buChar char="–"/>
              <a:defRPr/>
            </a:pPr>
            <a:r>
              <a:rPr lang="en-US" altLang="en-US" sz="900">
                <a:solidFill>
                  <a:srgbClr val="000000"/>
                </a:solidFill>
                <a:latin typeface="Arial" panose="020B0604020202020204" pitchFamily="34" charset="0"/>
              </a:rPr>
              <a:t>Develop a production-ready, scalable MVP of the Data Lake, laying the groundwork for advanced AI agents.</a:t>
            </a:r>
          </a:p>
          <a:p>
            <a:pPr eaLnBrk="0" fontAlgn="base" hangingPunct="0">
              <a:spcBef>
                <a:spcPct val="0"/>
              </a:spcBef>
              <a:spcAft>
                <a:spcPts val="600"/>
              </a:spcAft>
            </a:pPr>
            <a:r>
              <a:rPr lang="en-US" sz="900" b="1">
                <a:solidFill>
                  <a:srgbClr val="000000"/>
                </a:solidFill>
                <a:latin typeface="Arial" panose="020B0604020202020204" pitchFamily="34" charset="0"/>
              </a:rPr>
              <a:t>Agile Agentic Factory Design: </a:t>
            </a:r>
          </a:p>
          <a:p>
            <a:pPr marL="171450" indent="-171450" eaLnBrk="0" fontAlgn="base" hangingPunct="0">
              <a:spcBef>
                <a:spcPct val="0"/>
              </a:spcBef>
              <a:spcAft>
                <a:spcPts val="600"/>
              </a:spcAft>
              <a:buFont typeface="Arial" panose="020B0604020202020204" pitchFamily="34" charset="0"/>
              <a:buChar char="–"/>
              <a:defRPr/>
            </a:pPr>
            <a:r>
              <a:rPr lang="en-US" sz="900">
                <a:solidFill>
                  <a:srgbClr val="000000"/>
                </a:solidFill>
                <a:latin typeface="Arial" panose="020B0604020202020204" pitchFamily="34" charset="0"/>
              </a:rPr>
              <a:t>Design the Agile Agentic Factory to streamline and accelerate AI development.</a:t>
            </a:r>
          </a:p>
          <a:p>
            <a:pPr eaLnBrk="0" fontAlgn="base" hangingPunct="0">
              <a:spcBef>
                <a:spcPct val="0"/>
              </a:spcBef>
              <a:spcAft>
                <a:spcPts val="600"/>
              </a:spcAft>
              <a:defRPr/>
            </a:pPr>
            <a:r>
              <a:rPr lang="en-US" sz="900" b="1">
                <a:solidFill>
                  <a:srgbClr val="000000"/>
                </a:solidFill>
                <a:latin typeface="Arial" panose="020B0604020202020204" pitchFamily="34" charset="0"/>
              </a:rPr>
              <a:t>'Securing AI' Governance Framework:</a:t>
            </a:r>
          </a:p>
          <a:p>
            <a:pPr marL="171450" indent="-171450" eaLnBrk="0" fontAlgn="base" hangingPunct="0">
              <a:spcBef>
                <a:spcPct val="0"/>
              </a:spcBef>
              <a:spcAft>
                <a:spcPts val="600"/>
              </a:spcAft>
              <a:buFont typeface="Arial" panose="020B0604020202020204" pitchFamily="34" charset="0"/>
              <a:buChar char="–"/>
              <a:defRPr/>
            </a:pPr>
            <a:r>
              <a:rPr lang="en-US" sz="900">
                <a:solidFill>
                  <a:srgbClr val="000000"/>
                </a:solidFill>
                <a:latin typeface="Arial" panose="020B0604020202020204" pitchFamily="34" charset="0"/>
              </a:rPr>
              <a:t> Establish the 'Securing AI' Governance framework to ensure all future AI initiatives are secure, scalable, and compliant.</a:t>
            </a:r>
          </a:p>
          <a:p>
            <a:pPr marL="171450" lvl="0" indent="-171450" eaLnBrk="0" fontAlgn="base" hangingPunct="0">
              <a:spcBef>
                <a:spcPct val="0"/>
              </a:spcBef>
              <a:spcAft>
                <a:spcPts val="600"/>
              </a:spcAft>
              <a:buFont typeface="Arial" panose="020B0604020202020204" pitchFamily="34" charset="0"/>
              <a:buChar char="–"/>
              <a:defRPr/>
            </a:pPr>
            <a:endParaRPr lang="en-US" altLang="en-US" sz="900">
              <a:solidFill>
                <a:srgbClr val="000000"/>
              </a:solidFill>
              <a:latin typeface="Arial" panose="020B0604020202020204" pitchFamily="34" charset="0"/>
            </a:endParaRP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endPar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nvGrpSpPr>
          <p:cNvPr id="101" name="Graphic 3">
            <a:extLst>
              <a:ext uri="{FF2B5EF4-FFF2-40B4-BE49-F238E27FC236}">
                <a16:creationId xmlns:a16="http://schemas.microsoft.com/office/drawing/2014/main" id="{6C6FE32B-A3AA-10FD-D871-F4083507B6D7}"/>
              </a:ext>
            </a:extLst>
          </p:cNvPr>
          <p:cNvGrpSpPr>
            <a:grpSpLocks/>
          </p:cNvGrpSpPr>
          <p:nvPr/>
        </p:nvGrpSpPr>
        <p:grpSpPr>
          <a:xfrm flipH="1">
            <a:off x="8665012" y="2326336"/>
            <a:ext cx="329979" cy="275635"/>
            <a:chOff x="4382666" y="6147925"/>
            <a:chExt cx="859390" cy="859390"/>
          </a:xfrm>
          <a:solidFill>
            <a:schemeClr val="bg1"/>
          </a:solidFill>
        </p:grpSpPr>
        <p:sp>
          <p:nvSpPr>
            <p:cNvPr id="102" name="Freeform: Shape 101">
              <a:extLst>
                <a:ext uri="{FF2B5EF4-FFF2-40B4-BE49-F238E27FC236}">
                  <a16:creationId xmlns:a16="http://schemas.microsoft.com/office/drawing/2014/main" id="{F79A181A-6140-2180-EE80-7B4FD7BCF998}"/>
                </a:ext>
              </a:extLst>
            </p:cNvPr>
            <p:cNvSpPr>
              <a:spLocks/>
            </p:cNvSpPr>
            <p:nvPr/>
          </p:nvSpPr>
          <p:spPr>
            <a:xfrm>
              <a:off x="4469482" y="6755458"/>
              <a:ext cx="251677" cy="165040"/>
            </a:xfrm>
            <a:custGeom>
              <a:avLst/>
              <a:gdLst>
                <a:gd name="connsiteX0" fmla="*/ 13067 w 251677"/>
                <a:gd name="connsiteY0" fmla="*/ 0 h 165040"/>
                <a:gd name="connsiteX1" fmla="*/ 0 w 251677"/>
                <a:gd name="connsiteY1" fmla="*/ 13067 h 165040"/>
                <a:gd name="connsiteX2" fmla="*/ 0 w 251677"/>
                <a:gd name="connsiteY2" fmla="*/ 151973 h 165040"/>
                <a:gd name="connsiteX3" fmla="*/ 13067 w 251677"/>
                <a:gd name="connsiteY3" fmla="*/ 165040 h 165040"/>
                <a:gd name="connsiteX4" fmla="*/ 238610 w 251677"/>
                <a:gd name="connsiteY4" fmla="*/ 165040 h 165040"/>
                <a:gd name="connsiteX5" fmla="*/ 251677 w 251677"/>
                <a:gd name="connsiteY5" fmla="*/ 151973 h 165040"/>
                <a:gd name="connsiteX6" fmla="*/ 251677 w 251677"/>
                <a:gd name="connsiteY6" fmla="*/ 13067 h 165040"/>
                <a:gd name="connsiteX7" fmla="*/ 238610 w 251677"/>
                <a:gd name="connsiteY7" fmla="*/ 0 h 165040"/>
                <a:gd name="connsiteX8" fmla="*/ 225543 w 251677"/>
                <a:gd name="connsiteY8" fmla="*/ 13067 h 165040"/>
                <a:gd name="connsiteX9" fmla="*/ 225543 w 251677"/>
                <a:gd name="connsiteY9" fmla="*/ 138905 h 165040"/>
                <a:gd name="connsiteX10" fmla="*/ 25955 w 251677"/>
                <a:gd name="connsiteY10" fmla="*/ 138905 h 165040"/>
                <a:gd name="connsiteX11" fmla="*/ 25955 w 251677"/>
                <a:gd name="connsiteY11" fmla="*/ 13067 h 165040"/>
                <a:gd name="connsiteX12" fmla="*/ 13067 w 251677"/>
                <a:gd name="connsiteY12" fmla="*/ 0 h 16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677" h="165040">
                  <a:moveTo>
                    <a:pt x="13067" y="0"/>
                  </a:moveTo>
                  <a:cubicBezTo>
                    <a:pt x="5907" y="0"/>
                    <a:pt x="0" y="5907"/>
                    <a:pt x="0" y="13067"/>
                  </a:cubicBezTo>
                  <a:lnTo>
                    <a:pt x="0" y="151973"/>
                  </a:lnTo>
                  <a:cubicBezTo>
                    <a:pt x="0" y="159133"/>
                    <a:pt x="5907" y="165040"/>
                    <a:pt x="13067" y="165040"/>
                  </a:cubicBezTo>
                  <a:lnTo>
                    <a:pt x="238610" y="165040"/>
                  </a:lnTo>
                  <a:cubicBezTo>
                    <a:pt x="245770" y="165040"/>
                    <a:pt x="251677" y="159133"/>
                    <a:pt x="251677" y="151973"/>
                  </a:cubicBezTo>
                  <a:lnTo>
                    <a:pt x="251677" y="13067"/>
                  </a:lnTo>
                  <a:cubicBezTo>
                    <a:pt x="251677" y="5907"/>
                    <a:pt x="245770" y="0"/>
                    <a:pt x="238610" y="0"/>
                  </a:cubicBezTo>
                  <a:cubicBezTo>
                    <a:pt x="231450" y="0"/>
                    <a:pt x="225543" y="5907"/>
                    <a:pt x="225543" y="13067"/>
                  </a:cubicBezTo>
                  <a:lnTo>
                    <a:pt x="225543" y="138905"/>
                  </a:lnTo>
                  <a:lnTo>
                    <a:pt x="25955" y="138905"/>
                  </a:lnTo>
                  <a:lnTo>
                    <a:pt x="25955" y="13067"/>
                  </a:lnTo>
                  <a:cubicBezTo>
                    <a:pt x="26134" y="5728"/>
                    <a:pt x="20406" y="0"/>
                    <a:pt x="13067" y="0"/>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03" name="Freeform: Shape 102">
              <a:extLst>
                <a:ext uri="{FF2B5EF4-FFF2-40B4-BE49-F238E27FC236}">
                  <a16:creationId xmlns:a16="http://schemas.microsoft.com/office/drawing/2014/main" id="{C8B270DA-7894-A8EB-DDFF-1FCDF26BDB6F}"/>
                </a:ext>
              </a:extLst>
            </p:cNvPr>
            <p:cNvSpPr>
              <a:spLocks/>
            </p:cNvSpPr>
            <p:nvPr/>
          </p:nvSpPr>
          <p:spPr>
            <a:xfrm>
              <a:off x="4469661" y="6373468"/>
              <a:ext cx="251677" cy="165040"/>
            </a:xfrm>
            <a:custGeom>
              <a:avLst/>
              <a:gdLst>
                <a:gd name="connsiteX0" fmla="*/ 238610 w 251677"/>
                <a:gd name="connsiteY0" fmla="*/ 165040 h 165040"/>
                <a:gd name="connsiteX1" fmla="*/ 251677 w 251677"/>
                <a:gd name="connsiteY1" fmla="*/ 151973 h 165040"/>
                <a:gd name="connsiteX2" fmla="*/ 251677 w 251677"/>
                <a:gd name="connsiteY2" fmla="*/ 13067 h 165040"/>
                <a:gd name="connsiteX3" fmla="*/ 238610 w 251677"/>
                <a:gd name="connsiteY3" fmla="*/ 0 h 165040"/>
                <a:gd name="connsiteX4" fmla="*/ 13067 w 251677"/>
                <a:gd name="connsiteY4" fmla="*/ 0 h 165040"/>
                <a:gd name="connsiteX5" fmla="*/ 0 w 251677"/>
                <a:gd name="connsiteY5" fmla="*/ 13067 h 165040"/>
                <a:gd name="connsiteX6" fmla="*/ 0 w 251677"/>
                <a:gd name="connsiteY6" fmla="*/ 151973 h 165040"/>
                <a:gd name="connsiteX7" fmla="*/ 13067 w 251677"/>
                <a:gd name="connsiteY7" fmla="*/ 165040 h 165040"/>
                <a:gd name="connsiteX8" fmla="*/ 26134 w 251677"/>
                <a:gd name="connsiteY8" fmla="*/ 151973 h 165040"/>
                <a:gd name="connsiteX9" fmla="*/ 26134 w 251677"/>
                <a:gd name="connsiteY9" fmla="*/ 26134 h 165040"/>
                <a:gd name="connsiteX10" fmla="*/ 225722 w 251677"/>
                <a:gd name="connsiteY10" fmla="*/ 26134 h 165040"/>
                <a:gd name="connsiteX11" fmla="*/ 225722 w 251677"/>
                <a:gd name="connsiteY11" fmla="*/ 151973 h 165040"/>
                <a:gd name="connsiteX12" fmla="*/ 238610 w 251677"/>
                <a:gd name="connsiteY12" fmla="*/ 165040 h 16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677" h="165040">
                  <a:moveTo>
                    <a:pt x="238610" y="165040"/>
                  </a:moveTo>
                  <a:cubicBezTo>
                    <a:pt x="245770" y="165040"/>
                    <a:pt x="251677" y="159133"/>
                    <a:pt x="251677" y="151973"/>
                  </a:cubicBezTo>
                  <a:lnTo>
                    <a:pt x="251677" y="13067"/>
                  </a:lnTo>
                  <a:cubicBezTo>
                    <a:pt x="251677" y="5907"/>
                    <a:pt x="245770" y="0"/>
                    <a:pt x="238610" y="0"/>
                  </a:cubicBezTo>
                  <a:lnTo>
                    <a:pt x="13067" y="0"/>
                  </a:lnTo>
                  <a:cubicBezTo>
                    <a:pt x="5907" y="0"/>
                    <a:pt x="0" y="5907"/>
                    <a:pt x="0" y="13067"/>
                  </a:cubicBezTo>
                  <a:lnTo>
                    <a:pt x="0" y="151973"/>
                  </a:lnTo>
                  <a:cubicBezTo>
                    <a:pt x="0" y="159133"/>
                    <a:pt x="5907" y="165040"/>
                    <a:pt x="13067" y="165040"/>
                  </a:cubicBezTo>
                  <a:cubicBezTo>
                    <a:pt x="20227" y="165040"/>
                    <a:pt x="26134" y="159133"/>
                    <a:pt x="26134" y="151973"/>
                  </a:cubicBezTo>
                  <a:lnTo>
                    <a:pt x="26134" y="26134"/>
                  </a:lnTo>
                  <a:lnTo>
                    <a:pt x="225722" y="26134"/>
                  </a:lnTo>
                  <a:lnTo>
                    <a:pt x="225722" y="151973"/>
                  </a:lnTo>
                  <a:cubicBezTo>
                    <a:pt x="225543" y="159133"/>
                    <a:pt x="231450" y="165040"/>
                    <a:pt x="238610" y="165040"/>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04" name="Freeform: Shape 103">
              <a:extLst>
                <a:ext uri="{FF2B5EF4-FFF2-40B4-BE49-F238E27FC236}">
                  <a16:creationId xmlns:a16="http://schemas.microsoft.com/office/drawing/2014/main" id="{93C70FC0-4549-268F-A6DE-D56C15F0BE07}"/>
                </a:ext>
              </a:extLst>
            </p:cNvPr>
            <p:cNvSpPr>
              <a:spLocks/>
            </p:cNvSpPr>
            <p:nvPr/>
          </p:nvSpPr>
          <p:spPr>
            <a:xfrm>
              <a:off x="4382666" y="6703369"/>
              <a:ext cx="859389" cy="303946"/>
            </a:xfrm>
            <a:custGeom>
              <a:avLst/>
              <a:gdLst>
                <a:gd name="connsiteX0" fmla="*/ 846323 w 859389"/>
                <a:gd name="connsiteY0" fmla="*/ 52090 h 303946"/>
                <a:gd name="connsiteX1" fmla="*/ 833256 w 859389"/>
                <a:gd name="connsiteY1" fmla="*/ 65157 h 303946"/>
                <a:gd name="connsiteX2" fmla="*/ 833256 w 859389"/>
                <a:gd name="connsiteY2" fmla="*/ 277811 h 303946"/>
                <a:gd name="connsiteX3" fmla="*/ 26134 w 859389"/>
                <a:gd name="connsiteY3" fmla="*/ 277811 h 303946"/>
                <a:gd name="connsiteX4" fmla="*/ 26134 w 859389"/>
                <a:gd name="connsiteY4" fmla="*/ 13067 h 303946"/>
                <a:gd name="connsiteX5" fmla="*/ 13067 w 859389"/>
                <a:gd name="connsiteY5" fmla="*/ 0 h 303946"/>
                <a:gd name="connsiteX6" fmla="*/ 0 w 859389"/>
                <a:gd name="connsiteY6" fmla="*/ 13067 h 303946"/>
                <a:gd name="connsiteX7" fmla="*/ 0 w 859389"/>
                <a:gd name="connsiteY7" fmla="*/ 290879 h 303946"/>
                <a:gd name="connsiteX8" fmla="*/ 13067 w 859389"/>
                <a:gd name="connsiteY8" fmla="*/ 303946 h 303946"/>
                <a:gd name="connsiteX9" fmla="*/ 846323 w 859389"/>
                <a:gd name="connsiteY9" fmla="*/ 303946 h 303946"/>
                <a:gd name="connsiteX10" fmla="*/ 859390 w 859389"/>
                <a:gd name="connsiteY10" fmla="*/ 290879 h 303946"/>
                <a:gd name="connsiteX11" fmla="*/ 859390 w 859389"/>
                <a:gd name="connsiteY11" fmla="*/ 65157 h 303946"/>
                <a:gd name="connsiteX12" fmla="*/ 846323 w 859389"/>
                <a:gd name="connsiteY12" fmla="*/ 52090 h 30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9389" h="303946">
                  <a:moveTo>
                    <a:pt x="846323" y="52090"/>
                  </a:moveTo>
                  <a:cubicBezTo>
                    <a:pt x="839163" y="52090"/>
                    <a:pt x="833256" y="57997"/>
                    <a:pt x="833256" y="65157"/>
                  </a:cubicBezTo>
                  <a:lnTo>
                    <a:pt x="833256" y="277811"/>
                  </a:lnTo>
                  <a:lnTo>
                    <a:pt x="26134" y="277811"/>
                  </a:lnTo>
                  <a:lnTo>
                    <a:pt x="26134" y="13067"/>
                  </a:lnTo>
                  <a:cubicBezTo>
                    <a:pt x="26134" y="5907"/>
                    <a:pt x="20227" y="0"/>
                    <a:pt x="13067" y="0"/>
                  </a:cubicBezTo>
                  <a:cubicBezTo>
                    <a:pt x="5907" y="0"/>
                    <a:pt x="0" y="5907"/>
                    <a:pt x="0" y="13067"/>
                  </a:cubicBezTo>
                  <a:lnTo>
                    <a:pt x="0" y="290879"/>
                  </a:lnTo>
                  <a:cubicBezTo>
                    <a:pt x="0" y="298039"/>
                    <a:pt x="5907" y="303946"/>
                    <a:pt x="13067" y="303946"/>
                  </a:cubicBezTo>
                  <a:lnTo>
                    <a:pt x="846323" y="303946"/>
                  </a:lnTo>
                  <a:cubicBezTo>
                    <a:pt x="853483" y="303946"/>
                    <a:pt x="859390" y="298039"/>
                    <a:pt x="859390" y="290879"/>
                  </a:cubicBezTo>
                  <a:lnTo>
                    <a:pt x="859390" y="65157"/>
                  </a:lnTo>
                  <a:cubicBezTo>
                    <a:pt x="859390" y="57818"/>
                    <a:pt x="853483" y="52090"/>
                    <a:pt x="846323" y="52090"/>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05" name="Freeform: Shape 104">
              <a:extLst>
                <a:ext uri="{FF2B5EF4-FFF2-40B4-BE49-F238E27FC236}">
                  <a16:creationId xmlns:a16="http://schemas.microsoft.com/office/drawing/2014/main" id="{EA2C729B-7CBD-759C-7839-1B51FC64D95E}"/>
                </a:ext>
              </a:extLst>
            </p:cNvPr>
            <p:cNvSpPr>
              <a:spLocks/>
            </p:cNvSpPr>
            <p:nvPr/>
          </p:nvSpPr>
          <p:spPr>
            <a:xfrm>
              <a:off x="4382666" y="6147925"/>
              <a:ext cx="859389" cy="442672"/>
            </a:xfrm>
            <a:custGeom>
              <a:avLst/>
              <a:gdLst>
                <a:gd name="connsiteX0" fmla="*/ 846323 w 859389"/>
                <a:gd name="connsiteY0" fmla="*/ 0 h 442672"/>
                <a:gd name="connsiteX1" fmla="*/ 13067 w 859389"/>
                <a:gd name="connsiteY1" fmla="*/ 0 h 442672"/>
                <a:gd name="connsiteX2" fmla="*/ 0 w 859389"/>
                <a:gd name="connsiteY2" fmla="*/ 13067 h 442672"/>
                <a:gd name="connsiteX3" fmla="*/ 0 w 859389"/>
                <a:gd name="connsiteY3" fmla="*/ 429606 h 442672"/>
                <a:gd name="connsiteX4" fmla="*/ 13067 w 859389"/>
                <a:gd name="connsiteY4" fmla="*/ 442672 h 442672"/>
                <a:gd name="connsiteX5" fmla="*/ 26134 w 859389"/>
                <a:gd name="connsiteY5" fmla="*/ 429606 h 442672"/>
                <a:gd name="connsiteX6" fmla="*/ 26134 w 859389"/>
                <a:gd name="connsiteY6" fmla="*/ 164861 h 442672"/>
                <a:gd name="connsiteX7" fmla="*/ 833256 w 859389"/>
                <a:gd name="connsiteY7" fmla="*/ 164861 h 442672"/>
                <a:gd name="connsiteX8" fmla="*/ 833256 w 859389"/>
                <a:gd name="connsiteY8" fmla="*/ 377516 h 442672"/>
                <a:gd name="connsiteX9" fmla="*/ 846323 w 859389"/>
                <a:gd name="connsiteY9" fmla="*/ 390583 h 442672"/>
                <a:gd name="connsiteX10" fmla="*/ 859390 w 859389"/>
                <a:gd name="connsiteY10" fmla="*/ 377516 h 442672"/>
                <a:gd name="connsiteX11" fmla="*/ 859390 w 859389"/>
                <a:gd name="connsiteY11" fmla="*/ 13067 h 442672"/>
                <a:gd name="connsiteX12" fmla="*/ 846323 w 859389"/>
                <a:gd name="connsiteY12" fmla="*/ 0 h 442672"/>
                <a:gd name="connsiteX13" fmla="*/ 833256 w 859389"/>
                <a:gd name="connsiteY13" fmla="*/ 138906 h 442672"/>
                <a:gd name="connsiteX14" fmla="*/ 26134 w 859389"/>
                <a:gd name="connsiteY14" fmla="*/ 138906 h 442672"/>
                <a:gd name="connsiteX15" fmla="*/ 26134 w 859389"/>
                <a:gd name="connsiteY15" fmla="*/ 26134 h 442672"/>
                <a:gd name="connsiteX16" fmla="*/ 833256 w 859389"/>
                <a:gd name="connsiteY16" fmla="*/ 26134 h 442672"/>
                <a:gd name="connsiteX17" fmla="*/ 833256 w 859389"/>
                <a:gd name="connsiteY17" fmla="*/ 138906 h 44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9389" h="442672">
                  <a:moveTo>
                    <a:pt x="846323" y="0"/>
                  </a:moveTo>
                  <a:lnTo>
                    <a:pt x="13067" y="0"/>
                  </a:lnTo>
                  <a:cubicBezTo>
                    <a:pt x="5907" y="0"/>
                    <a:pt x="0" y="5907"/>
                    <a:pt x="0" y="13067"/>
                  </a:cubicBezTo>
                  <a:lnTo>
                    <a:pt x="0" y="429606"/>
                  </a:lnTo>
                  <a:cubicBezTo>
                    <a:pt x="0" y="436765"/>
                    <a:pt x="5907" y="442672"/>
                    <a:pt x="13067" y="442672"/>
                  </a:cubicBezTo>
                  <a:cubicBezTo>
                    <a:pt x="20227" y="442672"/>
                    <a:pt x="26134" y="436765"/>
                    <a:pt x="26134" y="429606"/>
                  </a:cubicBezTo>
                  <a:lnTo>
                    <a:pt x="26134" y="164861"/>
                  </a:lnTo>
                  <a:lnTo>
                    <a:pt x="833256" y="164861"/>
                  </a:lnTo>
                  <a:lnTo>
                    <a:pt x="833256" y="377516"/>
                  </a:lnTo>
                  <a:cubicBezTo>
                    <a:pt x="833256" y="384676"/>
                    <a:pt x="839163" y="390583"/>
                    <a:pt x="846323" y="390583"/>
                  </a:cubicBezTo>
                  <a:cubicBezTo>
                    <a:pt x="853483" y="390583"/>
                    <a:pt x="859390" y="384676"/>
                    <a:pt x="859390" y="377516"/>
                  </a:cubicBezTo>
                  <a:lnTo>
                    <a:pt x="859390" y="13067"/>
                  </a:lnTo>
                  <a:cubicBezTo>
                    <a:pt x="859390" y="5907"/>
                    <a:pt x="853483" y="0"/>
                    <a:pt x="846323" y="0"/>
                  </a:cubicBezTo>
                  <a:close/>
                  <a:moveTo>
                    <a:pt x="833256" y="138906"/>
                  </a:moveTo>
                  <a:lnTo>
                    <a:pt x="26134" y="138906"/>
                  </a:lnTo>
                  <a:lnTo>
                    <a:pt x="26134" y="26134"/>
                  </a:lnTo>
                  <a:lnTo>
                    <a:pt x="833256" y="26134"/>
                  </a:lnTo>
                  <a:lnTo>
                    <a:pt x="833256" y="138906"/>
                  </a:ln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06" name="Freeform: Shape 105">
              <a:extLst>
                <a:ext uri="{FF2B5EF4-FFF2-40B4-BE49-F238E27FC236}">
                  <a16:creationId xmlns:a16="http://schemas.microsoft.com/office/drawing/2014/main" id="{27C967BC-E74E-996F-CA45-DEB73D728515}"/>
                </a:ext>
              </a:extLst>
            </p:cNvPr>
            <p:cNvSpPr>
              <a:spLocks/>
            </p:cNvSpPr>
            <p:nvPr/>
          </p:nvSpPr>
          <p:spPr>
            <a:xfrm>
              <a:off x="5146469" y="6217870"/>
              <a:ext cx="25955" cy="25642"/>
            </a:xfrm>
            <a:custGeom>
              <a:avLst/>
              <a:gdLst>
                <a:gd name="connsiteX0" fmla="*/ 13067 w 25955"/>
                <a:gd name="connsiteY0" fmla="*/ 25642 h 25642"/>
                <a:gd name="connsiteX1" fmla="*/ 22196 w 25955"/>
                <a:gd name="connsiteY1" fmla="*/ 21883 h 25642"/>
                <a:gd name="connsiteX2" fmla="*/ 25955 w 25955"/>
                <a:gd name="connsiteY2" fmla="*/ 12754 h 25642"/>
                <a:gd name="connsiteX3" fmla="*/ 22196 w 25955"/>
                <a:gd name="connsiteY3" fmla="*/ 3625 h 25642"/>
                <a:gd name="connsiteX4" fmla="*/ 3759 w 25955"/>
                <a:gd name="connsiteY4" fmla="*/ 3625 h 25642"/>
                <a:gd name="connsiteX5" fmla="*/ 0 w 25955"/>
                <a:gd name="connsiteY5" fmla="*/ 12754 h 25642"/>
                <a:gd name="connsiteX6" fmla="*/ 3759 w 25955"/>
                <a:gd name="connsiteY6" fmla="*/ 21883 h 25642"/>
                <a:gd name="connsiteX7" fmla="*/ 13067 w 25955"/>
                <a:gd name="connsiteY7" fmla="*/ 25642 h 2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55" h="25642">
                  <a:moveTo>
                    <a:pt x="13067" y="25642"/>
                  </a:moveTo>
                  <a:cubicBezTo>
                    <a:pt x="16289" y="25642"/>
                    <a:pt x="19690" y="24210"/>
                    <a:pt x="22196" y="21883"/>
                  </a:cubicBezTo>
                  <a:cubicBezTo>
                    <a:pt x="24702" y="19556"/>
                    <a:pt x="25955" y="16155"/>
                    <a:pt x="25955" y="12754"/>
                  </a:cubicBezTo>
                  <a:cubicBezTo>
                    <a:pt x="25955" y="9353"/>
                    <a:pt x="24523" y="5952"/>
                    <a:pt x="22196" y="3625"/>
                  </a:cubicBezTo>
                  <a:cubicBezTo>
                    <a:pt x="17184" y="-1208"/>
                    <a:pt x="8771" y="-1208"/>
                    <a:pt x="3759" y="3625"/>
                  </a:cubicBezTo>
                  <a:cubicBezTo>
                    <a:pt x="1432" y="6131"/>
                    <a:pt x="0" y="9353"/>
                    <a:pt x="0" y="12754"/>
                  </a:cubicBezTo>
                  <a:cubicBezTo>
                    <a:pt x="0" y="16334"/>
                    <a:pt x="1432" y="19556"/>
                    <a:pt x="3759" y="21883"/>
                  </a:cubicBezTo>
                  <a:cubicBezTo>
                    <a:pt x="6444" y="24210"/>
                    <a:pt x="9666" y="25642"/>
                    <a:pt x="13067" y="25642"/>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07" name="Freeform: Shape 106">
              <a:extLst>
                <a:ext uri="{FF2B5EF4-FFF2-40B4-BE49-F238E27FC236}">
                  <a16:creationId xmlns:a16="http://schemas.microsoft.com/office/drawing/2014/main" id="{028C51AE-4205-B3BB-A73C-6A216967DAF1}"/>
                </a:ext>
              </a:extLst>
            </p:cNvPr>
            <p:cNvSpPr>
              <a:spLocks/>
            </p:cNvSpPr>
            <p:nvPr/>
          </p:nvSpPr>
          <p:spPr>
            <a:xfrm>
              <a:off x="5056789" y="6217378"/>
              <a:ext cx="26134" cy="26134"/>
            </a:xfrm>
            <a:custGeom>
              <a:avLst/>
              <a:gdLst>
                <a:gd name="connsiteX0" fmla="*/ 13067 w 26134"/>
                <a:gd name="connsiteY0" fmla="*/ 26134 h 26134"/>
                <a:gd name="connsiteX1" fmla="*/ 26134 w 26134"/>
                <a:gd name="connsiteY1" fmla="*/ 13067 h 26134"/>
                <a:gd name="connsiteX2" fmla="*/ 13067 w 26134"/>
                <a:gd name="connsiteY2" fmla="*/ 0 h 26134"/>
                <a:gd name="connsiteX3" fmla="*/ 0 w 26134"/>
                <a:gd name="connsiteY3" fmla="*/ 13067 h 26134"/>
                <a:gd name="connsiteX4" fmla="*/ 13067 w 26134"/>
                <a:gd name="connsiteY4" fmla="*/ 26134 h 26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 h="26134">
                  <a:moveTo>
                    <a:pt x="13067" y="26134"/>
                  </a:moveTo>
                  <a:cubicBezTo>
                    <a:pt x="20406" y="26134"/>
                    <a:pt x="26134" y="20227"/>
                    <a:pt x="26134" y="13067"/>
                  </a:cubicBezTo>
                  <a:cubicBezTo>
                    <a:pt x="26134" y="5728"/>
                    <a:pt x="20406" y="0"/>
                    <a:pt x="13067" y="0"/>
                  </a:cubicBezTo>
                  <a:cubicBezTo>
                    <a:pt x="5907" y="0"/>
                    <a:pt x="0" y="5728"/>
                    <a:pt x="0" y="13067"/>
                  </a:cubicBezTo>
                  <a:cubicBezTo>
                    <a:pt x="0" y="20227"/>
                    <a:pt x="5907" y="26134"/>
                    <a:pt x="13067" y="26134"/>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08" name="Freeform: Shape 107">
              <a:extLst>
                <a:ext uri="{FF2B5EF4-FFF2-40B4-BE49-F238E27FC236}">
                  <a16:creationId xmlns:a16="http://schemas.microsoft.com/office/drawing/2014/main" id="{41CC717A-E639-1F03-E6D3-BB4594339734}"/>
                </a:ext>
              </a:extLst>
            </p:cNvPr>
            <p:cNvSpPr>
              <a:spLocks/>
            </p:cNvSpPr>
            <p:nvPr/>
          </p:nvSpPr>
          <p:spPr>
            <a:xfrm>
              <a:off x="4967287" y="6217870"/>
              <a:ext cx="25955" cy="25642"/>
            </a:xfrm>
            <a:custGeom>
              <a:avLst/>
              <a:gdLst>
                <a:gd name="connsiteX0" fmla="*/ 13067 w 25955"/>
                <a:gd name="connsiteY0" fmla="*/ 25642 h 25642"/>
                <a:gd name="connsiteX1" fmla="*/ 22196 w 25955"/>
                <a:gd name="connsiteY1" fmla="*/ 21883 h 25642"/>
                <a:gd name="connsiteX2" fmla="*/ 25955 w 25955"/>
                <a:gd name="connsiteY2" fmla="*/ 12754 h 25642"/>
                <a:gd name="connsiteX3" fmla="*/ 22196 w 25955"/>
                <a:gd name="connsiteY3" fmla="*/ 3625 h 25642"/>
                <a:gd name="connsiteX4" fmla="*/ 3580 w 25955"/>
                <a:gd name="connsiteY4" fmla="*/ 3625 h 25642"/>
                <a:gd name="connsiteX5" fmla="*/ 0 w 25955"/>
                <a:gd name="connsiteY5" fmla="*/ 12754 h 25642"/>
                <a:gd name="connsiteX6" fmla="*/ 3759 w 25955"/>
                <a:gd name="connsiteY6" fmla="*/ 21883 h 25642"/>
                <a:gd name="connsiteX7" fmla="*/ 13067 w 25955"/>
                <a:gd name="connsiteY7" fmla="*/ 25642 h 2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55" h="25642">
                  <a:moveTo>
                    <a:pt x="13067" y="25642"/>
                  </a:moveTo>
                  <a:cubicBezTo>
                    <a:pt x="16289" y="25642"/>
                    <a:pt x="19869" y="24210"/>
                    <a:pt x="22196" y="21883"/>
                  </a:cubicBezTo>
                  <a:cubicBezTo>
                    <a:pt x="24702" y="19556"/>
                    <a:pt x="25955" y="15976"/>
                    <a:pt x="25955" y="12754"/>
                  </a:cubicBezTo>
                  <a:cubicBezTo>
                    <a:pt x="25955" y="9353"/>
                    <a:pt x="24523" y="5952"/>
                    <a:pt x="22196" y="3625"/>
                  </a:cubicBezTo>
                  <a:cubicBezTo>
                    <a:pt x="17363" y="-1208"/>
                    <a:pt x="8592" y="-1208"/>
                    <a:pt x="3580" y="3625"/>
                  </a:cubicBezTo>
                  <a:cubicBezTo>
                    <a:pt x="1253" y="6131"/>
                    <a:pt x="0" y="9353"/>
                    <a:pt x="0" y="12754"/>
                  </a:cubicBezTo>
                  <a:cubicBezTo>
                    <a:pt x="0" y="16334"/>
                    <a:pt x="1432" y="19556"/>
                    <a:pt x="3759" y="21883"/>
                  </a:cubicBezTo>
                  <a:cubicBezTo>
                    <a:pt x="6265" y="24210"/>
                    <a:pt x="9487" y="25642"/>
                    <a:pt x="13067" y="25642"/>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09" name="Freeform: Shape 108">
              <a:extLst>
                <a:ext uri="{FF2B5EF4-FFF2-40B4-BE49-F238E27FC236}">
                  <a16:creationId xmlns:a16="http://schemas.microsoft.com/office/drawing/2014/main" id="{286EB816-8292-316A-7ADF-91FB9AA7ED45}"/>
                </a:ext>
              </a:extLst>
            </p:cNvPr>
            <p:cNvSpPr>
              <a:spLocks/>
            </p:cNvSpPr>
            <p:nvPr/>
          </p:nvSpPr>
          <p:spPr>
            <a:xfrm>
              <a:off x="5050523" y="6373468"/>
              <a:ext cx="104716" cy="26134"/>
            </a:xfrm>
            <a:custGeom>
              <a:avLst/>
              <a:gdLst>
                <a:gd name="connsiteX0" fmla="*/ 91649 w 104716"/>
                <a:gd name="connsiteY0" fmla="*/ 26134 h 26134"/>
                <a:gd name="connsiteX1" fmla="*/ 104716 w 104716"/>
                <a:gd name="connsiteY1" fmla="*/ 13067 h 26134"/>
                <a:gd name="connsiteX2" fmla="*/ 91649 w 104716"/>
                <a:gd name="connsiteY2" fmla="*/ 0 h 26134"/>
                <a:gd name="connsiteX3" fmla="*/ 13067 w 104716"/>
                <a:gd name="connsiteY3" fmla="*/ 0 h 26134"/>
                <a:gd name="connsiteX4" fmla="*/ 0 w 104716"/>
                <a:gd name="connsiteY4" fmla="*/ 13067 h 26134"/>
                <a:gd name="connsiteX5" fmla="*/ 13067 w 104716"/>
                <a:gd name="connsiteY5" fmla="*/ 26134 h 26134"/>
                <a:gd name="connsiteX6" fmla="*/ 91649 w 104716"/>
                <a:gd name="connsiteY6" fmla="*/ 26134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16" h="26134">
                  <a:moveTo>
                    <a:pt x="91649" y="26134"/>
                  </a:moveTo>
                  <a:cubicBezTo>
                    <a:pt x="98809" y="26134"/>
                    <a:pt x="104716" y="20227"/>
                    <a:pt x="104716" y="13067"/>
                  </a:cubicBezTo>
                  <a:cubicBezTo>
                    <a:pt x="104716" y="5907"/>
                    <a:pt x="98809" y="0"/>
                    <a:pt x="91649" y="0"/>
                  </a:cubicBezTo>
                  <a:lnTo>
                    <a:pt x="13067" y="0"/>
                  </a:lnTo>
                  <a:cubicBezTo>
                    <a:pt x="5907" y="0"/>
                    <a:pt x="0" y="5907"/>
                    <a:pt x="0" y="13067"/>
                  </a:cubicBezTo>
                  <a:cubicBezTo>
                    <a:pt x="0" y="20227"/>
                    <a:pt x="5907" y="26134"/>
                    <a:pt x="13067" y="26134"/>
                  </a:cubicBezTo>
                  <a:lnTo>
                    <a:pt x="91649" y="26134"/>
                  </a:ln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10" name="Freeform: Shape 109">
              <a:extLst>
                <a:ext uri="{FF2B5EF4-FFF2-40B4-BE49-F238E27FC236}">
                  <a16:creationId xmlns:a16="http://schemas.microsoft.com/office/drawing/2014/main" id="{2B92F2A9-8129-B302-81D4-9512C8BC6D90}"/>
                </a:ext>
              </a:extLst>
            </p:cNvPr>
            <p:cNvSpPr>
              <a:spLocks/>
            </p:cNvSpPr>
            <p:nvPr/>
          </p:nvSpPr>
          <p:spPr>
            <a:xfrm>
              <a:off x="4782020" y="6373468"/>
              <a:ext cx="225184" cy="26134"/>
            </a:xfrm>
            <a:custGeom>
              <a:avLst/>
              <a:gdLst>
                <a:gd name="connsiteX0" fmla="*/ 212118 w 225184"/>
                <a:gd name="connsiteY0" fmla="*/ 0 h 26134"/>
                <a:gd name="connsiteX1" fmla="*/ 13067 w 225184"/>
                <a:gd name="connsiteY1" fmla="*/ 0 h 26134"/>
                <a:gd name="connsiteX2" fmla="*/ 0 w 225184"/>
                <a:gd name="connsiteY2" fmla="*/ 13067 h 26134"/>
                <a:gd name="connsiteX3" fmla="*/ 13067 w 225184"/>
                <a:gd name="connsiteY3" fmla="*/ 26134 h 26134"/>
                <a:gd name="connsiteX4" fmla="*/ 212118 w 225184"/>
                <a:gd name="connsiteY4" fmla="*/ 26134 h 26134"/>
                <a:gd name="connsiteX5" fmla="*/ 225185 w 225184"/>
                <a:gd name="connsiteY5" fmla="*/ 13067 h 26134"/>
                <a:gd name="connsiteX6" fmla="*/ 212118 w 225184"/>
                <a:gd name="connsiteY6" fmla="*/ 0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184" h="26134">
                  <a:moveTo>
                    <a:pt x="212118" y="0"/>
                  </a:moveTo>
                  <a:lnTo>
                    <a:pt x="13067" y="0"/>
                  </a:lnTo>
                  <a:cubicBezTo>
                    <a:pt x="5907" y="0"/>
                    <a:pt x="0" y="5907"/>
                    <a:pt x="0" y="13067"/>
                  </a:cubicBezTo>
                  <a:cubicBezTo>
                    <a:pt x="0" y="20227"/>
                    <a:pt x="5907" y="26134"/>
                    <a:pt x="13067" y="26134"/>
                  </a:cubicBezTo>
                  <a:lnTo>
                    <a:pt x="212118" y="26134"/>
                  </a:lnTo>
                  <a:cubicBezTo>
                    <a:pt x="219278" y="26134"/>
                    <a:pt x="225185" y="20227"/>
                    <a:pt x="225185" y="13067"/>
                  </a:cubicBezTo>
                  <a:cubicBezTo>
                    <a:pt x="225185" y="5907"/>
                    <a:pt x="219278" y="0"/>
                    <a:pt x="212118" y="0"/>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11" name="Freeform: Shape 110">
              <a:extLst>
                <a:ext uri="{FF2B5EF4-FFF2-40B4-BE49-F238E27FC236}">
                  <a16:creationId xmlns:a16="http://schemas.microsoft.com/office/drawing/2014/main" id="{2152C3C3-0AA6-F9E7-C88C-B2BD2BFC3B7E}"/>
                </a:ext>
              </a:extLst>
            </p:cNvPr>
            <p:cNvSpPr>
              <a:spLocks/>
            </p:cNvSpPr>
            <p:nvPr/>
          </p:nvSpPr>
          <p:spPr>
            <a:xfrm>
              <a:off x="4949208" y="6460283"/>
              <a:ext cx="206031" cy="26134"/>
            </a:xfrm>
            <a:custGeom>
              <a:avLst/>
              <a:gdLst>
                <a:gd name="connsiteX0" fmla="*/ 0 w 206031"/>
                <a:gd name="connsiteY0" fmla="*/ 13067 h 26134"/>
                <a:gd name="connsiteX1" fmla="*/ 13067 w 206031"/>
                <a:gd name="connsiteY1" fmla="*/ 26135 h 26134"/>
                <a:gd name="connsiteX2" fmla="*/ 192964 w 206031"/>
                <a:gd name="connsiteY2" fmla="*/ 26135 h 26134"/>
                <a:gd name="connsiteX3" fmla="*/ 206032 w 206031"/>
                <a:gd name="connsiteY3" fmla="*/ 13067 h 26134"/>
                <a:gd name="connsiteX4" fmla="*/ 192964 w 206031"/>
                <a:gd name="connsiteY4" fmla="*/ 0 h 26134"/>
                <a:gd name="connsiteX5" fmla="*/ 13067 w 206031"/>
                <a:gd name="connsiteY5" fmla="*/ 0 h 26134"/>
                <a:gd name="connsiteX6" fmla="*/ 0 w 206031"/>
                <a:gd name="connsiteY6" fmla="*/ 13067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031" h="26134">
                  <a:moveTo>
                    <a:pt x="0" y="13067"/>
                  </a:moveTo>
                  <a:cubicBezTo>
                    <a:pt x="0" y="20227"/>
                    <a:pt x="5907" y="26135"/>
                    <a:pt x="13067" y="26135"/>
                  </a:cubicBezTo>
                  <a:lnTo>
                    <a:pt x="192964" y="26135"/>
                  </a:lnTo>
                  <a:cubicBezTo>
                    <a:pt x="200125" y="26135"/>
                    <a:pt x="206032" y="20227"/>
                    <a:pt x="206032" y="13067"/>
                  </a:cubicBezTo>
                  <a:cubicBezTo>
                    <a:pt x="206032" y="5907"/>
                    <a:pt x="200125" y="0"/>
                    <a:pt x="192964" y="0"/>
                  </a:cubicBezTo>
                  <a:lnTo>
                    <a:pt x="13067" y="0"/>
                  </a:lnTo>
                  <a:cubicBezTo>
                    <a:pt x="5907" y="0"/>
                    <a:pt x="0" y="5907"/>
                    <a:pt x="0" y="13067"/>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12" name="Freeform: Shape 111">
              <a:extLst>
                <a:ext uri="{FF2B5EF4-FFF2-40B4-BE49-F238E27FC236}">
                  <a16:creationId xmlns:a16="http://schemas.microsoft.com/office/drawing/2014/main" id="{9EE796A6-3C6D-2DD7-DD5C-72D7312E22ED}"/>
                </a:ext>
              </a:extLst>
            </p:cNvPr>
            <p:cNvSpPr>
              <a:spLocks/>
            </p:cNvSpPr>
            <p:nvPr/>
          </p:nvSpPr>
          <p:spPr>
            <a:xfrm>
              <a:off x="4782020" y="6460283"/>
              <a:ext cx="123869" cy="26134"/>
            </a:xfrm>
            <a:custGeom>
              <a:avLst/>
              <a:gdLst>
                <a:gd name="connsiteX0" fmla="*/ 13067 w 123869"/>
                <a:gd name="connsiteY0" fmla="*/ 26135 h 26134"/>
                <a:gd name="connsiteX1" fmla="*/ 110802 w 123869"/>
                <a:gd name="connsiteY1" fmla="*/ 26135 h 26134"/>
                <a:gd name="connsiteX2" fmla="*/ 123870 w 123869"/>
                <a:gd name="connsiteY2" fmla="*/ 13067 h 26134"/>
                <a:gd name="connsiteX3" fmla="*/ 110802 w 123869"/>
                <a:gd name="connsiteY3" fmla="*/ 0 h 26134"/>
                <a:gd name="connsiteX4" fmla="*/ 13067 w 123869"/>
                <a:gd name="connsiteY4" fmla="*/ 0 h 26134"/>
                <a:gd name="connsiteX5" fmla="*/ 0 w 123869"/>
                <a:gd name="connsiteY5" fmla="*/ 13067 h 26134"/>
                <a:gd name="connsiteX6" fmla="*/ 13067 w 123869"/>
                <a:gd name="connsiteY6" fmla="*/ 26135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69" h="26134">
                  <a:moveTo>
                    <a:pt x="13067" y="26135"/>
                  </a:moveTo>
                  <a:lnTo>
                    <a:pt x="110802" y="26135"/>
                  </a:lnTo>
                  <a:cubicBezTo>
                    <a:pt x="117962" y="26135"/>
                    <a:pt x="123870" y="20227"/>
                    <a:pt x="123870" y="13067"/>
                  </a:cubicBezTo>
                  <a:cubicBezTo>
                    <a:pt x="123870" y="5907"/>
                    <a:pt x="117962" y="0"/>
                    <a:pt x="110802" y="0"/>
                  </a:cubicBezTo>
                  <a:lnTo>
                    <a:pt x="13067" y="0"/>
                  </a:lnTo>
                  <a:cubicBezTo>
                    <a:pt x="5907" y="0"/>
                    <a:pt x="0" y="5907"/>
                    <a:pt x="0" y="13067"/>
                  </a:cubicBezTo>
                  <a:cubicBezTo>
                    <a:pt x="0" y="20227"/>
                    <a:pt x="5907" y="26135"/>
                    <a:pt x="13067" y="26135"/>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13" name="Freeform: Shape 112">
              <a:extLst>
                <a:ext uri="{FF2B5EF4-FFF2-40B4-BE49-F238E27FC236}">
                  <a16:creationId xmlns:a16="http://schemas.microsoft.com/office/drawing/2014/main" id="{E89109FC-399D-F091-95C0-591C0BFA298A}"/>
                </a:ext>
              </a:extLst>
            </p:cNvPr>
            <p:cNvSpPr>
              <a:spLocks/>
            </p:cNvSpPr>
            <p:nvPr/>
          </p:nvSpPr>
          <p:spPr>
            <a:xfrm>
              <a:off x="5008458" y="6807548"/>
              <a:ext cx="146781" cy="26134"/>
            </a:xfrm>
            <a:custGeom>
              <a:avLst/>
              <a:gdLst>
                <a:gd name="connsiteX0" fmla="*/ 146782 w 146781"/>
                <a:gd name="connsiteY0" fmla="*/ 13067 h 26134"/>
                <a:gd name="connsiteX1" fmla="*/ 133714 w 146781"/>
                <a:gd name="connsiteY1" fmla="*/ 0 h 26134"/>
                <a:gd name="connsiteX2" fmla="*/ 13067 w 146781"/>
                <a:gd name="connsiteY2" fmla="*/ 0 h 26134"/>
                <a:gd name="connsiteX3" fmla="*/ 0 w 146781"/>
                <a:gd name="connsiteY3" fmla="*/ 13067 h 26134"/>
                <a:gd name="connsiteX4" fmla="*/ 13067 w 146781"/>
                <a:gd name="connsiteY4" fmla="*/ 26134 h 26134"/>
                <a:gd name="connsiteX5" fmla="*/ 133714 w 146781"/>
                <a:gd name="connsiteY5" fmla="*/ 26134 h 26134"/>
                <a:gd name="connsiteX6" fmla="*/ 146782 w 146781"/>
                <a:gd name="connsiteY6" fmla="*/ 13067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781" h="26134">
                  <a:moveTo>
                    <a:pt x="146782" y="13067"/>
                  </a:moveTo>
                  <a:cubicBezTo>
                    <a:pt x="146782" y="5907"/>
                    <a:pt x="140875" y="0"/>
                    <a:pt x="133714" y="0"/>
                  </a:cubicBezTo>
                  <a:lnTo>
                    <a:pt x="13067" y="0"/>
                  </a:lnTo>
                  <a:cubicBezTo>
                    <a:pt x="5907" y="0"/>
                    <a:pt x="0" y="5728"/>
                    <a:pt x="0" y="13067"/>
                  </a:cubicBezTo>
                  <a:cubicBezTo>
                    <a:pt x="0" y="20227"/>
                    <a:pt x="5907" y="26134"/>
                    <a:pt x="13067" y="26134"/>
                  </a:cubicBezTo>
                  <a:lnTo>
                    <a:pt x="133714" y="26134"/>
                  </a:lnTo>
                  <a:cubicBezTo>
                    <a:pt x="140875" y="25955"/>
                    <a:pt x="146782" y="20227"/>
                    <a:pt x="146782" y="13067"/>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14" name="Freeform: Shape 113">
              <a:extLst>
                <a:ext uri="{FF2B5EF4-FFF2-40B4-BE49-F238E27FC236}">
                  <a16:creationId xmlns:a16="http://schemas.microsoft.com/office/drawing/2014/main" id="{71407963-2514-B122-8663-5749849D96FB}"/>
                </a:ext>
              </a:extLst>
            </p:cNvPr>
            <p:cNvSpPr>
              <a:spLocks/>
            </p:cNvSpPr>
            <p:nvPr/>
          </p:nvSpPr>
          <p:spPr>
            <a:xfrm>
              <a:off x="4780946" y="6807548"/>
              <a:ext cx="184193" cy="26134"/>
            </a:xfrm>
            <a:custGeom>
              <a:avLst/>
              <a:gdLst>
                <a:gd name="connsiteX0" fmla="*/ 184193 w 184193"/>
                <a:gd name="connsiteY0" fmla="*/ 13067 h 26134"/>
                <a:gd name="connsiteX1" fmla="*/ 171126 w 184193"/>
                <a:gd name="connsiteY1" fmla="*/ 0 h 26134"/>
                <a:gd name="connsiteX2" fmla="*/ 13067 w 184193"/>
                <a:gd name="connsiteY2" fmla="*/ 0 h 26134"/>
                <a:gd name="connsiteX3" fmla="*/ 0 w 184193"/>
                <a:gd name="connsiteY3" fmla="*/ 13067 h 26134"/>
                <a:gd name="connsiteX4" fmla="*/ 13067 w 184193"/>
                <a:gd name="connsiteY4" fmla="*/ 26134 h 26134"/>
                <a:gd name="connsiteX5" fmla="*/ 171126 w 184193"/>
                <a:gd name="connsiteY5" fmla="*/ 26134 h 26134"/>
                <a:gd name="connsiteX6" fmla="*/ 184193 w 184193"/>
                <a:gd name="connsiteY6" fmla="*/ 13067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193" h="26134">
                  <a:moveTo>
                    <a:pt x="184193" y="13067"/>
                  </a:moveTo>
                  <a:cubicBezTo>
                    <a:pt x="184193" y="5907"/>
                    <a:pt x="178286" y="0"/>
                    <a:pt x="171126" y="0"/>
                  </a:cubicBezTo>
                  <a:lnTo>
                    <a:pt x="13067" y="0"/>
                  </a:lnTo>
                  <a:cubicBezTo>
                    <a:pt x="5907" y="0"/>
                    <a:pt x="0" y="5728"/>
                    <a:pt x="0" y="13067"/>
                  </a:cubicBezTo>
                  <a:cubicBezTo>
                    <a:pt x="0" y="20227"/>
                    <a:pt x="5907" y="26134"/>
                    <a:pt x="13067" y="26134"/>
                  </a:cubicBezTo>
                  <a:lnTo>
                    <a:pt x="171126" y="26134"/>
                  </a:lnTo>
                  <a:cubicBezTo>
                    <a:pt x="178465" y="25955"/>
                    <a:pt x="184193" y="20227"/>
                    <a:pt x="184193" y="13067"/>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15" name="Freeform: Shape 114">
              <a:extLst>
                <a:ext uri="{FF2B5EF4-FFF2-40B4-BE49-F238E27FC236}">
                  <a16:creationId xmlns:a16="http://schemas.microsoft.com/office/drawing/2014/main" id="{C89BE245-1EE9-9420-90D0-B5FDE97FF592}"/>
                </a:ext>
              </a:extLst>
            </p:cNvPr>
            <p:cNvSpPr>
              <a:spLocks/>
            </p:cNvSpPr>
            <p:nvPr/>
          </p:nvSpPr>
          <p:spPr>
            <a:xfrm>
              <a:off x="4931845" y="6894185"/>
              <a:ext cx="136578" cy="26134"/>
            </a:xfrm>
            <a:custGeom>
              <a:avLst/>
              <a:gdLst>
                <a:gd name="connsiteX0" fmla="*/ 13067 w 136578"/>
                <a:gd name="connsiteY0" fmla="*/ 26134 h 26134"/>
                <a:gd name="connsiteX1" fmla="*/ 123512 w 136578"/>
                <a:gd name="connsiteY1" fmla="*/ 26134 h 26134"/>
                <a:gd name="connsiteX2" fmla="*/ 136579 w 136578"/>
                <a:gd name="connsiteY2" fmla="*/ 13067 h 26134"/>
                <a:gd name="connsiteX3" fmla="*/ 123512 w 136578"/>
                <a:gd name="connsiteY3" fmla="*/ 0 h 26134"/>
                <a:gd name="connsiteX4" fmla="*/ 13067 w 136578"/>
                <a:gd name="connsiteY4" fmla="*/ 0 h 26134"/>
                <a:gd name="connsiteX5" fmla="*/ 0 w 136578"/>
                <a:gd name="connsiteY5" fmla="*/ 13067 h 26134"/>
                <a:gd name="connsiteX6" fmla="*/ 13067 w 136578"/>
                <a:gd name="connsiteY6" fmla="*/ 26134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78" h="26134">
                  <a:moveTo>
                    <a:pt x="13067" y="26134"/>
                  </a:moveTo>
                  <a:lnTo>
                    <a:pt x="123512" y="26134"/>
                  </a:lnTo>
                  <a:cubicBezTo>
                    <a:pt x="130672" y="26134"/>
                    <a:pt x="136579" y="20227"/>
                    <a:pt x="136579" y="13067"/>
                  </a:cubicBezTo>
                  <a:cubicBezTo>
                    <a:pt x="136579" y="5907"/>
                    <a:pt x="130672" y="0"/>
                    <a:pt x="123512" y="0"/>
                  </a:cubicBezTo>
                  <a:lnTo>
                    <a:pt x="13067" y="0"/>
                  </a:lnTo>
                  <a:cubicBezTo>
                    <a:pt x="5907" y="0"/>
                    <a:pt x="0" y="5907"/>
                    <a:pt x="0" y="13067"/>
                  </a:cubicBezTo>
                  <a:cubicBezTo>
                    <a:pt x="0" y="20406"/>
                    <a:pt x="5907" y="26134"/>
                    <a:pt x="13067" y="26134"/>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16" name="Freeform: Shape 115">
              <a:extLst>
                <a:ext uri="{FF2B5EF4-FFF2-40B4-BE49-F238E27FC236}">
                  <a16:creationId xmlns:a16="http://schemas.microsoft.com/office/drawing/2014/main" id="{BF6B5DC0-B9DD-6B10-0BAA-58926D5428BF}"/>
                </a:ext>
              </a:extLst>
            </p:cNvPr>
            <p:cNvSpPr>
              <a:spLocks/>
            </p:cNvSpPr>
            <p:nvPr/>
          </p:nvSpPr>
          <p:spPr>
            <a:xfrm>
              <a:off x="4782020" y="6894364"/>
              <a:ext cx="106506" cy="26134"/>
            </a:xfrm>
            <a:custGeom>
              <a:avLst/>
              <a:gdLst>
                <a:gd name="connsiteX0" fmla="*/ 13067 w 106506"/>
                <a:gd name="connsiteY0" fmla="*/ 0 h 26134"/>
                <a:gd name="connsiteX1" fmla="*/ 0 w 106506"/>
                <a:gd name="connsiteY1" fmla="*/ 13067 h 26134"/>
                <a:gd name="connsiteX2" fmla="*/ 13067 w 106506"/>
                <a:gd name="connsiteY2" fmla="*/ 26135 h 26134"/>
                <a:gd name="connsiteX3" fmla="*/ 93439 w 106506"/>
                <a:gd name="connsiteY3" fmla="*/ 26135 h 26134"/>
                <a:gd name="connsiteX4" fmla="*/ 106506 w 106506"/>
                <a:gd name="connsiteY4" fmla="*/ 13067 h 26134"/>
                <a:gd name="connsiteX5" fmla="*/ 93439 w 106506"/>
                <a:gd name="connsiteY5" fmla="*/ 0 h 26134"/>
                <a:gd name="connsiteX6" fmla="*/ 13067 w 106506"/>
                <a:gd name="connsiteY6" fmla="*/ 0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506" h="26134">
                  <a:moveTo>
                    <a:pt x="13067" y="0"/>
                  </a:moveTo>
                  <a:cubicBezTo>
                    <a:pt x="5907" y="0"/>
                    <a:pt x="0" y="5907"/>
                    <a:pt x="0" y="13067"/>
                  </a:cubicBezTo>
                  <a:cubicBezTo>
                    <a:pt x="0" y="20227"/>
                    <a:pt x="5907" y="26135"/>
                    <a:pt x="13067" y="26135"/>
                  </a:cubicBezTo>
                  <a:lnTo>
                    <a:pt x="93439" y="26135"/>
                  </a:lnTo>
                  <a:cubicBezTo>
                    <a:pt x="100599" y="26135"/>
                    <a:pt x="106506" y="20227"/>
                    <a:pt x="106506" y="13067"/>
                  </a:cubicBezTo>
                  <a:cubicBezTo>
                    <a:pt x="106506" y="5907"/>
                    <a:pt x="100599" y="0"/>
                    <a:pt x="93439" y="0"/>
                  </a:cubicBezTo>
                  <a:lnTo>
                    <a:pt x="13067" y="0"/>
                  </a:ln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17" name="Freeform: Shape 116">
              <a:extLst>
                <a:ext uri="{FF2B5EF4-FFF2-40B4-BE49-F238E27FC236}">
                  <a16:creationId xmlns:a16="http://schemas.microsoft.com/office/drawing/2014/main" id="{14AFCB48-A002-F0AB-C9C8-74A6F14A2268}"/>
                </a:ext>
              </a:extLst>
            </p:cNvPr>
            <p:cNvSpPr>
              <a:spLocks/>
            </p:cNvSpPr>
            <p:nvPr/>
          </p:nvSpPr>
          <p:spPr>
            <a:xfrm>
              <a:off x="4382845" y="6564463"/>
              <a:ext cx="859211" cy="165040"/>
            </a:xfrm>
            <a:custGeom>
              <a:avLst/>
              <a:gdLst>
                <a:gd name="connsiteX0" fmla="*/ 0 w 859211"/>
                <a:gd name="connsiteY0" fmla="*/ 82520 h 165040"/>
                <a:gd name="connsiteX1" fmla="*/ 7160 w 859211"/>
                <a:gd name="connsiteY1" fmla="*/ 94155 h 165040"/>
                <a:gd name="connsiteX2" fmla="*/ 146245 w 859211"/>
                <a:gd name="connsiteY2" fmla="*/ 163608 h 165040"/>
                <a:gd name="connsiteX3" fmla="*/ 151973 w 859211"/>
                <a:gd name="connsiteY3" fmla="*/ 165040 h 165040"/>
                <a:gd name="connsiteX4" fmla="*/ 811418 w 859211"/>
                <a:gd name="connsiteY4" fmla="*/ 165040 h 165040"/>
                <a:gd name="connsiteX5" fmla="*/ 859211 w 859211"/>
                <a:gd name="connsiteY5" fmla="*/ 117247 h 165040"/>
                <a:gd name="connsiteX6" fmla="*/ 859211 w 859211"/>
                <a:gd name="connsiteY6" fmla="*/ 47794 h 165040"/>
                <a:gd name="connsiteX7" fmla="*/ 811418 w 859211"/>
                <a:gd name="connsiteY7" fmla="*/ 0 h 165040"/>
                <a:gd name="connsiteX8" fmla="*/ 151973 w 859211"/>
                <a:gd name="connsiteY8" fmla="*/ 0 h 165040"/>
                <a:gd name="connsiteX9" fmla="*/ 146245 w 859211"/>
                <a:gd name="connsiteY9" fmla="*/ 1432 h 165040"/>
                <a:gd name="connsiteX10" fmla="*/ 7160 w 859211"/>
                <a:gd name="connsiteY10" fmla="*/ 70885 h 165040"/>
                <a:gd name="connsiteX11" fmla="*/ 0 w 859211"/>
                <a:gd name="connsiteY11" fmla="*/ 82520 h 165040"/>
                <a:gd name="connsiteX12" fmla="*/ 767920 w 859211"/>
                <a:gd name="connsiteY12" fmla="*/ 26134 h 165040"/>
                <a:gd name="connsiteX13" fmla="*/ 811418 w 859211"/>
                <a:gd name="connsiteY13" fmla="*/ 26134 h 165040"/>
                <a:gd name="connsiteX14" fmla="*/ 833077 w 859211"/>
                <a:gd name="connsiteY14" fmla="*/ 47794 h 165040"/>
                <a:gd name="connsiteX15" fmla="*/ 833077 w 859211"/>
                <a:gd name="connsiteY15" fmla="*/ 117247 h 165040"/>
                <a:gd name="connsiteX16" fmla="*/ 811418 w 859211"/>
                <a:gd name="connsiteY16" fmla="*/ 138906 h 165040"/>
                <a:gd name="connsiteX17" fmla="*/ 767920 w 859211"/>
                <a:gd name="connsiteY17" fmla="*/ 138906 h 165040"/>
                <a:gd name="connsiteX18" fmla="*/ 767920 w 859211"/>
                <a:gd name="connsiteY18" fmla="*/ 26134 h 165040"/>
                <a:gd name="connsiteX19" fmla="*/ 165040 w 859211"/>
                <a:gd name="connsiteY19" fmla="*/ 26134 h 165040"/>
                <a:gd name="connsiteX20" fmla="*/ 741786 w 859211"/>
                <a:gd name="connsiteY20" fmla="*/ 26134 h 165040"/>
                <a:gd name="connsiteX21" fmla="*/ 741786 w 859211"/>
                <a:gd name="connsiteY21" fmla="*/ 69453 h 165040"/>
                <a:gd name="connsiteX22" fmla="*/ 165040 w 859211"/>
                <a:gd name="connsiteY22" fmla="*/ 69453 h 165040"/>
                <a:gd name="connsiteX23" fmla="*/ 165040 w 859211"/>
                <a:gd name="connsiteY23" fmla="*/ 26134 h 165040"/>
                <a:gd name="connsiteX24" fmla="*/ 165040 w 859211"/>
                <a:gd name="connsiteY24" fmla="*/ 95409 h 165040"/>
                <a:gd name="connsiteX25" fmla="*/ 741786 w 859211"/>
                <a:gd name="connsiteY25" fmla="*/ 95409 h 165040"/>
                <a:gd name="connsiteX26" fmla="*/ 741786 w 859211"/>
                <a:gd name="connsiteY26" fmla="*/ 138906 h 165040"/>
                <a:gd name="connsiteX27" fmla="*/ 165040 w 859211"/>
                <a:gd name="connsiteY27" fmla="*/ 138906 h 165040"/>
                <a:gd name="connsiteX28" fmla="*/ 165040 w 859211"/>
                <a:gd name="connsiteY28" fmla="*/ 95409 h 165040"/>
                <a:gd name="connsiteX29" fmla="*/ 139085 w 859211"/>
                <a:gd name="connsiteY29" fmla="*/ 34190 h 165040"/>
                <a:gd name="connsiteX30" fmla="*/ 139085 w 859211"/>
                <a:gd name="connsiteY30" fmla="*/ 131030 h 165040"/>
                <a:gd name="connsiteX31" fmla="*/ 42245 w 859211"/>
                <a:gd name="connsiteY31" fmla="*/ 82699 h 165040"/>
                <a:gd name="connsiteX32" fmla="*/ 139085 w 859211"/>
                <a:gd name="connsiteY32" fmla="*/ 34190 h 16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9211" h="165040">
                  <a:moveTo>
                    <a:pt x="0" y="82520"/>
                  </a:moveTo>
                  <a:cubicBezTo>
                    <a:pt x="0" y="87532"/>
                    <a:pt x="2864" y="92007"/>
                    <a:pt x="7160" y="94155"/>
                  </a:cubicBezTo>
                  <a:lnTo>
                    <a:pt x="146245" y="163608"/>
                  </a:lnTo>
                  <a:cubicBezTo>
                    <a:pt x="148035" y="164503"/>
                    <a:pt x="150004" y="165040"/>
                    <a:pt x="151973" y="165040"/>
                  </a:cubicBezTo>
                  <a:lnTo>
                    <a:pt x="811418" y="165040"/>
                  </a:lnTo>
                  <a:cubicBezTo>
                    <a:pt x="837731" y="165040"/>
                    <a:pt x="859211" y="143560"/>
                    <a:pt x="859211" y="117247"/>
                  </a:cubicBezTo>
                  <a:lnTo>
                    <a:pt x="859211" y="47794"/>
                  </a:lnTo>
                  <a:cubicBezTo>
                    <a:pt x="859211" y="21480"/>
                    <a:pt x="837731" y="0"/>
                    <a:pt x="811418" y="0"/>
                  </a:cubicBezTo>
                  <a:lnTo>
                    <a:pt x="151973" y="0"/>
                  </a:lnTo>
                  <a:cubicBezTo>
                    <a:pt x="150004" y="0"/>
                    <a:pt x="148035" y="537"/>
                    <a:pt x="146245" y="1432"/>
                  </a:cubicBezTo>
                  <a:lnTo>
                    <a:pt x="7160" y="70885"/>
                  </a:lnTo>
                  <a:cubicBezTo>
                    <a:pt x="2685" y="73033"/>
                    <a:pt x="0" y="77508"/>
                    <a:pt x="0" y="82520"/>
                  </a:cubicBezTo>
                  <a:close/>
                  <a:moveTo>
                    <a:pt x="767920" y="26134"/>
                  </a:moveTo>
                  <a:lnTo>
                    <a:pt x="811418" y="26134"/>
                  </a:lnTo>
                  <a:cubicBezTo>
                    <a:pt x="823411" y="26134"/>
                    <a:pt x="833077" y="35800"/>
                    <a:pt x="833077" y="47794"/>
                  </a:cubicBezTo>
                  <a:lnTo>
                    <a:pt x="833077" y="117247"/>
                  </a:lnTo>
                  <a:cubicBezTo>
                    <a:pt x="833077" y="129240"/>
                    <a:pt x="823411" y="138906"/>
                    <a:pt x="811418" y="138906"/>
                  </a:cubicBezTo>
                  <a:lnTo>
                    <a:pt x="767920" y="138906"/>
                  </a:lnTo>
                  <a:lnTo>
                    <a:pt x="767920" y="26134"/>
                  </a:lnTo>
                  <a:close/>
                  <a:moveTo>
                    <a:pt x="165040" y="26134"/>
                  </a:moveTo>
                  <a:lnTo>
                    <a:pt x="741786" y="26134"/>
                  </a:lnTo>
                  <a:lnTo>
                    <a:pt x="741786" y="69453"/>
                  </a:lnTo>
                  <a:lnTo>
                    <a:pt x="165040" y="69453"/>
                  </a:lnTo>
                  <a:lnTo>
                    <a:pt x="165040" y="26134"/>
                  </a:lnTo>
                  <a:close/>
                  <a:moveTo>
                    <a:pt x="165040" y="95409"/>
                  </a:moveTo>
                  <a:lnTo>
                    <a:pt x="741786" y="95409"/>
                  </a:lnTo>
                  <a:lnTo>
                    <a:pt x="741786" y="138906"/>
                  </a:lnTo>
                  <a:lnTo>
                    <a:pt x="165040" y="138906"/>
                  </a:lnTo>
                  <a:lnTo>
                    <a:pt x="165040" y="95409"/>
                  </a:lnTo>
                  <a:close/>
                  <a:moveTo>
                    <a:pt x="139085" y="34190"/>
                  </a:moveTo>
                  <a:lnTo>
                    <a:pt x="139085" y="131030"/>
                  </a:lnTo>
                  <a:lnTo>
                    <a:pt x="42245" y="82699"/>
                  </a:lnTo>
                  <a:lnTo>
                    <a:pt x="139085" y="34190"/>
                  </a:ln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grpSp>
      <p:sp>
        <p:nvSpPr>
          <p:cNvPr id="118" name="Rectangle: Rounded Corners 117">
            <a:extLst>
              <a:ext uri="{FF2B5EF4-FFF2-40B4-BE49-F238E27FC236}">
                <a16:creationId xmlns:a16="http://schemas.microsoft.com/office/drawing/2014/main" id="{A5EB6F19-38D4-75AC-49EE-EA3AB1978E96}"/>
              </a:ext>
            </a:extLst>
          </p:cNvPr>
          <p:cNvSpPr/>
          <p:nvPr/>
        </p:nvSpPr>
        <p:spPr>
          <a:xfrm>
            <a:off x="9504475" y="2095575"/>
            <a:ext cx="2131526" cy="3992315"/>
          </a:xfrm>
          <a:prstGeom prst="roundRect">
            <a:avLst>
              <a:gd name="adj" fmla="val 2350"/>
            </a:avLst>
          </a:prstGeom>
          <a:solidFill>
            <a:schemeClr val="bg1"/>
          </a:solidFill>
          <a:ln w="7295" cap="flat">
            <a:noFill/>
            <a:prstDash val="solid"/>
            <a:miter/>
          </a:ln>
          <a:effectLst>
            <a:outerShdw blurRad="50800" dist="38100" dir="5400000" algn="t" rotWithShape="0">
              <a:prstClr val="black">
                <a:alpha val="11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9" name="Rectangle: Top Corners Rounded 118">
            <a:extLst>
              <a:ext uri="{FF2B5EF4-FFF2-40B4-BE49-F238E27FC236}">
                <a16:creationId xmlns:a16="http://schemas.microsoft.com/office/drawing/2014/main" id="{9D8BB9B3-DF8C-93B6-650E-0F523BA560BD}"/>
              </a:ext>
            </a:extLst>
          </p:cNvPr>
          <p:cNvSpPr/>
          <p:nvPr/>
        </p:nvSpPr>
        <p:spPr>
          <a:xfrm rot="5400000" flipH="1">
            <a:off x="10324187" y="1428439"/>
            <a:ext cx="406207" cy="2094333"/>
          </a:xfrm>
          <a:prstGeom prst="round2SameRect">
            <a:avLst>
              <a:gd name="adj1" fmla="val 50000"/>
              <a:gd name="adj2" fmla="val 0"/>
            </a:avLst>
          </a:prstGeom>
          <a:solidFill>
            <a:schemeClr val="accent4"/>
          </a:solidFill>
          <a:ln w="72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20" name="TextBox 119">
            <a:extLst>
              <a:ext uri="{FF2B5EF4-FFF2-40B4-BE49-F238E27FC236}">
                <a16:creationId xmlns:a16="http://schemas.microsoft.com/office/drawing/2014/main" id="{6ACEC017-5D0C-DEE8-1CB9-1DE63A19D243}"/>
              </a:ext>
            </a:extLst>
          </p:cNvPr>
          <p:cNvSpPr txBox="1"/>
          <p:nvPr/>
        </p:nvSpPr>
        <p:spPr>
          <a:xfrm flipH="1">
            <a:off x="9587852" y="2273795"/>
            <a:ext cx="1450114" cy="307777"/>
          </a:xfrm>
          <a:prstGeom prst="rect">
            <a:avLst/>
          </a:prstGeom>
        </p:spPr>
        <p:txBody>
          <a:bodyPr vert="horz"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a:ln>
                  <a:noFill/>
                </a:ln>
                <a:solidFill>
                  <a:srgbClr val="FFFFFF"/>
                </a:solidFill>
                <a:effectLst/>
                <a:uLnTx/>
                <a:uFillTx/>
                <a:latin typeface="KPMG Bold"/>
                <a:ea typeface="+mn-ea"/>
                <a:cs typeface="+mn-cs"/>
              </a:rPr>
              <a:t>Week 16</a:t>
            </a:r>
          </a:p>
        </p:txBody>
      </p:sp>
      <p:sp>
        <p:nvSpPr>
          <p:cNvPr id="121" name="TextBox 120">
            <a:extLst>
              <a:ext uri="{FF2B5EF4-FFF2-40B4-BE49-F238E27FC236}">
                <a16:creationId xmlns:a16="http://schemas.microsoft.com/office/drawing/2014/main" id="{5B09C279-38C8-3462-FB44-6EDE3F0B1DE8}"/>
              </a:ext>
            </a:extLst>
          </p:cNvPr>
          <p:cNvSpPr txBox="1"/>
          <p:nvPr/>
        </p:nvSpPr>
        <p:spPr>
          <a:xfrm>
            <a:off x="9581481" y="2862229"/>
            <a:ext cx="2231825" cy="193899"/>
          </a:xfrm>
          <a:prstGeom prst="rect">
            <a:avLst/>
          </a:prstGeom>
        </p:spPr>
        <p:txBody>
          <a:bodyPr vert="horz" wrap="square" lIns="0" tIns="0" rIns="0" bIns="0" rtlCol="0" anchor="t" anchorCtr="0">
            <a:spAutoFit/>
          </a:bodyPr>
          <a:lstStyle/>
          <a:p>
            <a:pPr marL="0" marR="0" lvl="0" indent="0" algn="l" defTabSz="914400" rtl="0" eaLnBrk="1" fontAlgn="auto" latinLnBrk="0" hangingPunct="1">
              <a:lnSpc>
                <a:spcPct val="70000"/>
              </a:lnSpc>
              <a:spcBef>
                <a:spcPts val="0"/>
              </a:spcBef>
              <a:spcAft>
                <a:spcPts val="600"/>
              </a:spcAft>
              <a:buClrTx/>
              <a:buSzTx/>
              <a:buFontTx/>
              <a:buNone/>
              <a:tabLst/>
              <a:defRPr/>
            </a:pPr>
            <a:r>
              <a:rPr kumimoji="0" lang="en-US" sz="1800" b="1" i="0" u="none" strike="noStrike" kern="1200" cap="none" spc="0" normalizeH="0" baseline="0" noProof="0">
                <a:ln>
                  <a:noFill/>
                </a:ln>
                <a:solidFill>
                  <a:srgbClr val="000000"/>
                </a:solidFill>
                <a:effectLst/>
                <a:uLnTx/>
                <a:uFillTx/>
                <a:latin typeface="KPMG Bold"/>
                <a:ea typeface="+mn-ea"/>
                <a:cs typeface="+mn-cs"/>
              </a:rPr>
              <a:t>Agent Deployment</a:t>
            </a:r>
          </a:p>
        </p:txBody>
      </p:sp>
      <p:sp>
        <p:nvSpPr>
          <p:cNvPr id="122" name="TextBox 121">
            <a:extLst>
              <a:ext uri="{FF2B5EF4-FFF2-40B4-BE49-F238E27FC236}">
                <a16:creationId xmlns:a16="http://schemas.microsoft.com/office/drawing/2014/main" id="{F91726BA-8C6B-D4F1-86BD-652A1BC20CB5}"/>
              </a:ext>
            </a:extLst>
          </p:cNvPr>
          <p:cNvSpPr txBox="1">
            <a:spLocks/>
          </p:cNvSpPr>
          <p:nvPr/>
        </p:nvSpPr>
        <p:spPr>
          <a:xfrm>
            <a:off x="9598493" y="3225819"/>
            <a:ext cx="1941823" cy="2739211"/>
          </a:xfrm>
          <a:prstGeom prst="rect">
            <a:avLst/>
          </a:prstGeom>
        </p:spPr>
        <p:txBody>
          <a:bodyPr vert="horz" wrap="square" lIns="0" tIns="0" rIns="0" bIns="0" rtlCol="0" anchor="t" anchorCtr="0">
            <a:spAutoFit/>
          </a:bodyPr>
          <a:lstStyle/>
          <a:p>
            <a:pPr lvl="0" eaLnBrk="0" fontAlgn="base" hangingPunct="0">
              <a:spcBef>
                <a:spcPct val="0"/>
              </a:spcBef>
              <a:spcAft>
                <a:spcPts val="600"/>
              </a:spcAft>
              <a:defRPr/>
            </a:pPr>
            <a:r>
              <a:rPr lang="en-US" altLang="en-US" sz="900" b="1">
                <a:solidFill>
                  <a:srgbClr val="000000"/>
                </a:solidFill>
                <a:latin typeface="Arial" panose="020B0604020202020204" pitchFamily="34" charset="0"/>
              </a:rPr>
              <a:t>User Access Review </a:t>
            </a:r>
            <a:r>
              <a:rPr lang="en-US" altLang="en-US" sz="900" b="1" err="1">
                <a:solidFill>
                  <a:srgbClr val="000000"/>
                </a:solidFill>
                <a:latin typeface="Arial" panose="020B0604020202020204" pitchFamily="34" charset="0"/>
              </a:rPr>
              <a:t>Anaylyzer</a:t>
            </a:r>
            <a:r>
              <a:rPr lang="en-US" altLang="en-US" sz="900" b="1">
                <a:solidFill>
                  <a:srgbClr val="000000"/>
                </a:solidFill>
                <a:latin typeface="Arial" panose="020B0604020202020204" pitchFamily="34" charset="0"/>
              </a:rPr>
              <a:t> Agent </a:t>
            </a:r>
          </a:p>
          <a:p>
            <a:pPr marL="171450" lvl="0" indent="-171450" eaLnBrk="0" fontAlgn="base" hangingPunct="0">
              <a:spcBef>
                <a:spcPct val="0"/>
              </a:spcBef>
              <a:spcAft>
                <a:spcPts val="600"/>
              </a:spcAft>
              <a:buFont typeface="Arial" panose="020B0604020202020204" pitchFamily="34" charset="0"/>
              <a:buChar char="–"/>
              <a:defRPr/>
            </a:pPr>
            <a:r>
              <a:rPr lang="en-US" altLang="en-US" sz="900">
                <a:solidFill>
                  <a:srgbClr val="000000"/>
                </a:solidFill>
                <a:latin typeface="Arial" panose="020B0604020202020204" pitchFamily="34" charset="0"/>
              </a:rPr>
              <a:t>Train and deploy the model using historical access review data to automate the detection and correction of permission discrepancies, streamlining the review process.</a:t>
            </a:r>
          </a:p>
          <a:p>
            <a:pPr lvl="0" eaLnBrk="0" fontAlgn="base" hangingPunct="0">
              <a:spcBef>
                <a:spcPct val="0"/>
              </a:spcBef>
              <a:spcAft>
                <a:spcPts val="600"/>
              </a:spcAft>
              <a:defRPr/>
            </a:pPr>
            <a:r>
              <a:rPr lang="en-US" altLang="en-US" sz="900" b="1">
                <a:solidFill>
                  <a:srgbClr val="000000"/>
                </a:solidFill>
                <a:latin typeface="Arial" panose="020B0604020202020204" pitchFamily="34" charset="0"/>
              </a:rPr>
              <a:t>Non-Human Ownership Agent</a:t>
            </a:r>
          </a:p>
          <a:p>
            <a:pPr marL="171450" lvl="0" indent="-171450" eaLnBrk="0" fontAlgn="base" hangingPunct="0">
              <a:spcBef>
                <a:spcPct val="0"/>
              </a:spcBef>
              <a:spcAft>
                <a:spcPts val="600"/>
              </a:spcAft>
              <a:buFont typeface="Arial" panose="020B0604020202020204" pitchFamily="34" charset="0"/>
              <a:buChar char="–"/>
              <a:defRPr/>
            </a:pPr>
            <a:r>
              <a:rPr lang="en-US" altLang="en-US" sz="900">
                <a:solidFill>
                  <a:srgbClr val="000000"/>
                </a:solidFill>
                <a:latin typeface="Arial" panose="020B0604020202020204" pitchFamily="34" charset="0"/>
              </a:rPr>
              <a:t>Train and deploy a system using previous data to automatically assign ownership and accountability to non-human identities, mitigating the risk of orphaned accounts.</a:t>
            </a:r>
          </a:p>
          <a:p>
            <a:pPr marL="171450" lvl="0" indent="-171450" eaLnBrk="0" fontAlgn="base" hangingPunct="0">
              <a:spcBef>
                <a:spcPct val="0"/>
              </a:spcBef>
              <a:spcAft>
                <a:spcPts val="600"/>
              </a:spcAft>
              <a:buFont typeface="Arial" panose="020B0604020202020204" pitchFamily="34" charset="0"/>
              <a:buChar char="•"/>
              <a:defRPr/>
            </a:pPr>
            <a:endParaRPr lang="en-US" altLang="en-US" sz="900">
              <a:solidFill>
                <a:srgbClr val="000000"/>
              </a:solidFill>
              <a:latin typeface="Arial" panose="020B0604020202020204" pitchFamily="34" charset="0"/>
            </a:endParaRP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lang="en-US" altLang="en-US" sz="900">
                <a:solidFill>
                  <a:srgbClr val="000000"/>
                </a:solidFill>
                <a:latin typeface="Arial" panose="020B0604020202020204" pitchFamily="34" charset="0"/>
              </a:rPr>
              <a:t> </a:t>
            </a:r>
            <a:endParaRPr kumimoji="0" lang="en-US" alt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nvGrpSpPr>
          <p:cNvPr id="126" name="Graphic 3">
            <a:extLst>
              <a:ext uri="{FF2B5EF4-FFF2-40B4-BE49-F238E27FC236}">
                <a16:creationId xmlns:a16="http://schemas.microsoft.com/office/drawing/2014/main" id="{DD53579E-94C5-4026-8F21-7401FFCCE69E}"/>
              </a:ext>
            </a:extLst>
          </p:cNvPr>
          <p:cNvGrpSpPr>
            <a:grpSpLocks/>
          </p:cNvGrpSpPr>
          <p:nvPr/>
        </p:nvGrpSpPr>
        <p:grpSpPr>
          <a:xfrm flipH="1">
            <a:off x="11066019" y="2326336"/>
            <a:ext cx="329979" cy="275635"/>
            <a:chOff x="4382666" y="6147925"/>
            <a:chExt cx="859390" cy="859390"/>
          </a:xfrm>
          <a:solidFill>
            <a:schemeClr val="bg1"/>
          </a:solidFill>
        </p:grpSpPr>
        <p:sp>
          <p:nvSpPr>
            <p:cNvPr id="127" name="Freeform: Shape 126">
              <a:extLst>
                <a:ext uri="{FF2B5EF4-FFF2-40B4-BE49-F238E27FC236}">
                  <a16:creationId xmlns:a16="http://schemas.microsoft.com/office/drawing/2014/main" id="{A9C7342B-E3CC-9341-38D3-3340341DE657}"/>
                </a:ext>
              </a:extLst>
            </p:cNvPr>
            <p:cNvSpPr>
              <a:spLocks/>
            </p:cNvSpPr>
            <p:nvPr/>
          </p:nvSpPr>
          <p:spPr>
            <a:xfrm>
              <a:off x="4469482" y="6755458"/>
              <a:ext cx="251677" cy="165040"/>
            </a:xfrm>
            <a:custGeom>
              <a:avLst/>
              <a:gdLst>
                <a:gd name="connsiteX0" fmla="*/ 13067 w 251677"/>
                <a:gd name="connsiteY0" fmla="*/ 0 h 165040"/>
                <a:gd name="connsiteX1" fmla="*/ 0 w 251677"/>
                <a:gd name="connsiteY1" fmla="*/ 13067 h 165040"/>
                <a:gd name="connsiteX2" fmla="*/ 0 w 251677"/>
                <a:gd name="connsiteY2" fmla="*/ 151973 h 165040"/>
                <a:gd name="connsiteX3" fmla="*/ 13067 w 251677"/>
                <a:gd name="connsiteY3" fmla="*/ 165040 h 165040"/>
                <a:gd name="connsiteX4" fmla="*/ 238610 w 251677"/>
                <a:gd name="connsiteY4" fmla="*/ 165040 h 165040"/>
                <a:gd name="connsiteX5" fmla="*/ 251677 w 251677"/>
                <a:gd name="connsiteY5" fmla="*/ 151973 h 165040"/>
                <a:gd name="connsiteX6" fmla="*/ 251677 w 251677"/>
                <a:gd name="connsiteY6" fmla="*/ 13067 h 165040"/>
                <a:gd name="connsiteX7" fmla="*/ 238610 w 251677"/>
                <a:gd name="connsiteY7" fmla="*/ 0 h 165040"/>
                <a:gd name="connsiteX8" fmla="*/ 225543 w 251677"/>
                <a:gd name="connsiteY8" fmla="*/ 13067 h 165040"/>
                <a:gd name="connsiteX9" fmla="*/ 225543 w 251677"/>
                <a:gd name="connsiteY9" fmla="*/ 138905 h 165040"/>
                <a:gd name="connsiteX10" fmla="*/ 25955 w 251677"/>
                <a:gd name="connsiteY10" fmla="*/ 138905 h 165040"/>
                <a:gd name="connsiteX11" fmla="*/ 25955 w 251677"/>
                <a:gd name="connsiteY11" fmla="*/ 13067 h 165040"/>
                <a:gd name="connsiteX12" fmla="*/ 13067 w 251677"/>
                <a:gd name="connsiteY12" fmla="*/ 0 h 16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677" h="165040">
                  <a:moveTo>
                    <a:pt x="13067" y="0"/>
                  </a:moveTo>
                  <a:cubicBezTo>
                    <a:pt x="5907" y="0"/>
                    <a:pt x="0" y="5907"/>
                    <a:pt x="0" y="13067"/>
                  </a:cubicBezTo>
                  <a:lnTo>
                    <a:pt x="0" y="151973"/>
                  </a:lnTo>
                  <a:cubicBezTo>
                    <a:pt x="0" y="159133"/>
                    <a:pt x="5907" y="165040"/>
                    <a:pt x="13067" y="165040"/>
                  </a:cubicBezTo>
                  <a:lnTo>
                    <a:pt x="238610" y="165040"/>
                  </a:lnTo>
                  <a:cubicBezTo>
                    <a:pt x="245770" y="165040"/>
                    <a:pt x="251677" y="159133"/>
                    <a:pt x="251677" y="151973"/>
                  </a:cubicBezTo>
                  <a:lnTo>
                    <a:pt x="251677" y="13067"/>
                  </a:lnTo>
                  <a:cubicBezTo>
                    <a:pt x="251677" y="5907"/>
                    <a:pt x="245770" y="0"/>
                    <a:pt x="238610" y="0"/>
                  </a:cubicBezTo>
                  <a:cubicBezTo>
                    <a:pt x="231450" y="0"/>
                    <a:pt x="225543" y="5907"/>
                    <a:pt x="225543" y="13067"/>
                  </a:cubicBezTo>
                  <a:lnTo>
                    <a:pt x="225543" y="138905"/>
                  </a:lnTo>
                  <a:lnTo>
                    <a:pt x="25955" y="138905"/>
                  </a:lnTo>
                  <a:lnTo>
                    <a:pt x="25955" y="13067"/>
                  </a:lnTo>
                  <a:cubicBezTo>
                    <a:pt x="26134" y="5728"/>
                    <a:pt x="20406" y="0"/>
                    <a:pt x="13067" y="0"/>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28" name="Freeform: Shape 127">
              <a:extLst>
                <a:ext uri="{FF2B5EF4-FFF2-40B4-BE49-F238E27FC236}">
                  <a16:creationId xmlns:a16="http://schemas.microsoft.com/office/drawing/2014/main" id="{05FB3CC6-33A0-EE47-673A-0263C2F6F854}"/>
                </a:ext>
              </a:extLst>
            </p:cNvPr>
            <p:cNvSpPr>
              <a:spLocks/>
            </p:cNvSpPr>
            <p:nvPr/>
          </p:nvSpPr>
          <p:spPr>
            <a:xfrm>
              <a:off x="4469661" y="6373468"/>
              <a:ext cx="251677" cy="165040"/>
            </a:xfrm>
            <a:custGeom>
              <a:avLst/>
              <a:gdLst>
                <a:gd name="connsiteX0" fmla="*/ 238610 w 251677"/>
                <a:gd name="connsiteY0" fmla="*/ 165040 h 165040"/>
                <a:gd name="connsiteX1" fmla="*/ 251677 w 251677"/>
                <a:gd name="connsiteY1" fmla="*/ 151973 h 165040"/>
                <a:gd name="connsiteX2" fmla="*/ 251677 w 251677"/>
                <a:gd name="connsiteY2" fmla="*/ 13067 h 165040"/>
                <a:gd name="connsiteX3" fmla="*/ 238610 w 251677"/>
                <a:gd name="connsiteY3" fmla="*/ 0 h 165040"/>
                <a:gd name="connsiteX4" fmla="*/ 13067 w 251677"/>
                <a:gd name="connsiteY4" fmla="*/ 0 h 165040"/>
                <a:gd name="connsiteX5" fmla="*/ 0 w 251677"/>
                <a:gd name="connsiteY5" fmla="*/ 13067 h 165040"/>
                <a:gd name="connsiteX6" fmla="*/ 0 w 251677"/>
                <a:gd name="connsiteY6" fmla="*/ 151973 h 165040"/>
                <a:gd name="connsiteX7" fmla="*/ 13067 w 251677"/>
                <a:gd name="connsiteY7" fmla="*/ 165040 h 165040"/>
                <a:gd name="connsiteX8" fmla="*/ 26134 w 251677"/>
                <a:gd name="connsiteY8" fmla="*/ 151973 h 165040"/>
                <a:gd name="connsiteX9" fmla="*/ 26134 w 251677"/>
                <a:gd name="connsiteY9" fmla="*/ 26134 h 165040"/>
                <a:gd name="connsiteX10" fmla="*/ 225722 w 251677"/>
                <a:gd name="connsiteY10" fmla="*/ 26134 h 165040"/>
                <a:gd name="connsiteX11" fmla="*/ 225722 w 251677"/>
                <a:gd name="connsiteY11" fmla="*/ 151973 h 165040"/>
                <a:gd name="connsiteX12" fmla="*/ 238610 w 251677"/>
                <a:gd name="connsiteY12" fmla="*/ 165040 h 16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677" h="165040">
                  <a:moveTo>
                    <a:pt x="238610" y="165040"/>
                  </a:moveTo>
                  <a:cubicBezTo>
                    <a:pt x="245770" y="165040"/>
                    <a:pt x="251677" y="159133"/>
                    <a:pt x="251677" y="151973"/>
                  </a:cubicBezTo>
                  <a:lnTo>
                    <a:pt x="251677" y="13067"/>
                  </a:lnTo>
                  <a:cubicBezTo>
                    <a:pt x="251677" y="5907"/>
                    <a:pt x="245770" y="0"/>
                    <a:pt x="238610" y="0"/>
                  </a:cubicBezTo>
                  <a:lnTo>
                    <a:pt x="13067" y="0"/>
                  </a:lnTo>
                  <a:cubicBezTo>
                    <a:pt x="5907" y="0"/>
                    <a:pt x="0" y="5907"/>
                    <a:pt x="0" y="13067"/>
                  </a:cubicBezTo>
                  <a:lnTo>
                    <a:pt x="0" y="151973"/>
                  </a:lnTo>
                  <a:cubicBezTo>
                    <a:pt x="0" y="159133"/>
                    <a:pt x="5907" y="165040"/>
                    <a:pt x="13067" y="165040"/>
                  </a:cubicBezTo>
                  <a:cubicBezTo>
                    <a:pt x="20227" y="165040"/>
                    <a:pt x="26134" y="159133"/>
                    <a:pt x="26134" y="151973"/>
                  </a:cubicBezTo>
                  <a:lnTo>
                    <a:pt x="26134" y="26134"/>
                  </a:lnTo>
                  <a:lnTo>
                    <a:pt x="225722" y="26134"/>
                  </a:lnTo>
                  <a:lnTo>
                    <a:pt x="225722" y="151973"/>
                  </a:lnTo>
                  <a:cubicBezTo>
                    <a:pt x="225543" y="159133"/>
                    <a:pt x="231450" y="165040"/>
                    <a:pt x="238610" y="165040"/>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29" name="Freeform: Shape 128">
              <a:extLst>
                <a:ext uri="{FF2B5EF4-FFF2-40B4-BE49-F238E27FC236}">
                  <a16:creationId xmlns:a16="http://schemas.microsoft.com/office/drawing/2014/main" id="{BF7D0230-C9C5-DBBB-A8B1-A835E4918D0B}"/>
                </a:ext>
              </a:extLst>
            </p:cNvPr>
            <p:cNvSpPr>
              <a:spLocks/>
            </p:cNvSpPr>
            <p:nvPr/>
          </p:nvSpPr>
          <p:spPr>
            <a:xfrm>
              <a:off x="4382666" y="6703369"/>
              <a:ext cx="859389" cy="303946"/>
            </a:xfrm>
            <a:custGeom>
              <a:avLst/>
              <a:gdLst>
                <a:gd name="connsiteX0" fmla="*/ 846323 w 859389"/>
                <a:gd name="connsiteY0" fmla="*/ 52090 h 303946"/>
                <a:gd name="connsiteX1" fmla="*/ 833256 w 859389"/>
                <a:gd name="connsiteY1" fmla="*/ 65157 h 303946"/>
                <a:gd name="connsiteX2" fmla="*/ 833256 w 859389"/>
                <a:gd name="connsiteY2" fmla="*/ 277811 h 303946"/>
                <a:gd name="connsiteX3" fmla="*/ 26134 w 859389"/>
                <a:gd name="connsiteY3" fmla="*/ 277811 h 303946"/>
                <a:gd name="connsiteX4" fmla="*/ 26134 w 859389"/>
                <a:gd name="connsiteY4" fmla="*/ 13067 h 303946"/>
                <a:gd name="connsiteX5" fmla="*/ 13067 w 859389"/>
                <a:gd name="connsiteY5" fmla="*/ 0 h 303946"/>
                <a:gd name="connsiteX6" fmla="*/ 0 w 859389"/>
                <a:gd name="connsiteY6" fmla="*/ 13067 h 303946"/>
                <a:gd name="connsiteX7" fmla="*/ 0 w 859389"/>
                <a:gd name="connsiteY7" fmla="*/ 290879 h 303946"/>
                <a:gd name="connsiteX8" fmla="*/ 13067 w 859389"/>
                <a:gd name="connsiteY8" fmla="*/ 303946 h 303946"/>
                <a:gd name="connsiteX9" fmla="*/ 846323 w 859389"/>
                <a:gd name="connsiteY9" fmla="*/ 303946 h 303946"/>
                <a:gd name="connsiteX10" fmla="*/ 859390 w 859389"/>
                <a:gd name="connsiteY10" fmla="*/ 290879 h 303946"/>
                <a:gd name="connsiteX11" fmla="*/ 859390 w 859389"/>
                <a:gd name="connsiteY11" fmla="*/ 65157 h 303946"/>
                <a:gd name="connsiteX12" fmla="*/ 846323 w 859389"/>
                <a:gd name="connsiteY12" fmla="*/ 52090 h 30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9389" h="303946">
                  <a:moveTo>
                    <a:pt x="846323" y="52090"/>
                  </a:moveTo>
                  <a:cubicBezTo>
                    <a:pt x="839163" y="52090"/>
                    <a:pt x="833256" y="57997"/>
                    <a:pt x="833256" y="65157"/>
                  </a:cubicBezTo>
                  <a:lnTo>
                    <a:pt x="833256" y="277811"/>
                  </a:lnTo>
                  <a:lnTo>
                    <a:pt x="26134" y="277811"/>
                  </a:lnTo>
                  <a:lnTo>
                    <a:pt x="26134" y="13067"/>
                  </a:lnTo>
                  <a:cubicBezTo>
                    <a:pt x="26134" y="5907"/>
                    <a:pt x="20227" y="0"/>
                    <a:pt x="13067" y="0"/>
                  </a:cubicBezTo>
                  <a:cubicBezTo>
                    <a:pt x="5907" y="0"/>
                    <a:pt x="0" y="5907"/>
                    <a:pt x="0" y="13067"/>
                  </a:cubicBezTo>
                  <a:lnTo>
                    <a:pt x="0" y="290879"/>
                  </a:lnTo>
                  <a:cubicBezTo>
                    <a:pt x="0" y="298039"/>
                    <a:pt x="5907" y="303946"/>
                    <a:pt x="13067" y="303946"/>
                  </a:cubicBezTo>
                  <a:lnTo>
                    <a:pt x="846323" y="303946"/>
                  </a:lnTo>
                  <a:cubicBezTo>
                    <a:pt x="853483" y="303946"/>
                    <a:pt x="859390" y="298039"/>
                    <a:pt x="859390" y="290879"/>
                  </a:cubicBezTo>
                  <a:lnTo>
                    <a:pt x="859390" y="65157"/>
                  </a:lnTo>
                  <a:cubicBezTo>
                    <a:pt x="859390" y="57818"/>
                    <a:pt x="853483" y="52090"/>
                    <a:pt x="846323" y="52090"/>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30" name="Freeform: Shape 129">
              <a:extLst>
                <a:ext uri="{FF2B5EF4-FFF2-40B4-BE49-F238E27FC236}">
                  <a16:creationId xmlns:a16="http://schemas.microsoft.com/office/drawing/2014/main" id="{9B6E0922-959F-2431-5453-2B9E70774AD5}"/>
                </a:ext>
              </a:extLst>
            </p:cNvPr>
            <p:cNvSpPr>
              <a:spLocks/>
            </p:cNvSpPr>
            <p:nvPr/>
          </p:nvSpPr>
          <p:spPr>
            <a:xfrm>
              <a:off x="4382666" y="6147925"/>
              <a:ext cx="859389" cy="442672"/>
            </a:xfrm>
            <a:custGeom>
              <a:avLst/>
              <a:gdLst>
                <a:gd name="connsiteX0" fmla="*/ 846323 w 859389"/>
                <a:gd name="connsiteY0" fmla="*/ 0 h 442672"/>
                <a:gd name="connsiteX1" fmla="*/ 13067 w 859389"/>
                <a:gd name="connsiteY1" fmla="*/ 0 h 442672"/>
                <a:gd name="connsiteX2" fmla="*/ 0 w 859389"/>
                <a:gd name="connsiteY2" fmla="*/ 13067 h 442672"/>
                <a:gd name="connsiteX3" fmla="*/ 0 w 859389"/>
                <a:gd name="connsiteY3" fmla="*/ 429606 h 442672"/>
                <a:gd name="connsiteX4" fmla="*/ 13067 w 859389"/>
                <a:gd name="connsiteY4" fmla="*/ 442672 h 442672"/>
                <a:gd name="connsiteX5" fmla="*/ 26134 w 859389"/>
                <a:gd name="connsiteY5" fmla="*/ 429606 h 442672"/>
                <a:gd name="connsiteX6" fmla="*/ 26134 w 859389"/>
                <a:gd name="connsiteY6" fmla="*/ 164861 h 442672"/>
                <a:gd name="connsiteX7" fmla="*/ 833256 w 859389"/>
                <a:gd name="connsiteY7" fmla="*/ 164861 h 442672"/>
                <a:gd name="connsiteX8" fmla="*/ 833256 w 859389"/>
                <a:gd name="connsiteY8" fmla="*/ 377516 h 442672"/>
                <a:gd name="connsiteX9" fmla="*/ 846323 w 859389"/>
                <a:gd name="connsiteY9" fmla="*/ 390583 h 442672"/>
                <a:gd name="connsiteX10" fmla="*/ 859390 w 859389"/>
                <a:gd name="connsiteY10" fmla="*/ 377516 h 442672"/>
                <a:gd name="connsiteX11" fmla="*/ 859390 w 859389"/>
                <a:gd name="connsiteY11" fmla="*/ 13067 h 442672"/>
                <a:gd name="connsiteX12" fmla="*/ 846323 w 859389"/>
                <a:gd name="connsiteY12" fmla="*/ 0 h 442672"/>
                <a:gd name="connsiteX13" fmla="*/ 833256 w 859389"/>
                <a:gd name="connsiteY13" fmla="*/ 138906 h 442672"/>
                <a:gd name="connsiteX14" fmla="*/ 26134 w 859389"/>
                <a:gd name="connsiteY14" fmla="*/ 138906 h 442672"/>
                <a:gd name="connsiteX15" fmla="*/ 26134 w 859389"/>
                <a:gd name="connsiteY15" fmla="*/ 26134 h 442672"/>
                <a:gd name="connsiteX16" fmla="*/ 833256 w 859389"/>
                <a:gd name="connsiteY16" fmla="*/ 26134 h 442672"/>
                <a:gd name="connsiteX17" fmla="*/ 833256 w 859389"/>
                <a:gd name="connsiteY17" fmla="*/ 138906 h 44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9389" h="442672">
                  <a:moveTo>
                    <a:pt x="846323" y="0"/>
                  </a:moveTo>
                  <a:lnTo>
                    <a:pt x="13067" y="0"/>
                  </a:lnTo>
                  <a:cubicBezTo>
                    <a:pt x="5907" y="0"/>
                    <a:pt x="0" y="5907"/>
                    <a:pt x="0" y="13067"/>
                  </a:cubicBezTo>
                  <a:lnTo>
                    <a:pt x="0" y="429606"/>
                  </a:lnTo>
                  <a:cubicBezTo>
                    <a:pt x="0" y="436765"/>
                    <a:pt x="5907" y="442672"/>
                    <a:pt x="13067" y="442672"/>
                  </a:cubicBezTo>
                  <a:cubicBezTo>
                    <a:pt x="20227" y="442672"/>
                    <a:pt x="26134" y="436765"/>
                    <a:pt x="26134" y="429606"/>
                  </a:cubicBezTo>
                  <a:lnTo>
                    <a:pt x="26134" y="164861"/>
                  </a:lnTo>
                  <a:lnTo>
                    <a:pt x="833256" y="164861"/>
                  </a:lnTo>
                  <a:lnTo>
                    <a:pt x="833256" y="377516"/>
                  </a:lnTo>
                  <a:cubicBezTo>
                    <a:pt x="833256" y="384676"/>
                    <a:pt x="839163" y="390583"/>
                    <a:pt x="846323" y="390583"/>
                  </a:cubicBezTo>
                  <a:cubicBezTo>
                    <a:pt x="853483" y="390583"/>
                    <a:pt x="859390" y="384676"/>
                    <a:pt x="859390" y="377516"/>
                  </a:cubicBezTo>
                  <a:lnTo>
                    <a:pt x="859390" y="13067"/>
                  </a:lnTo>
                  <a:cubicBezTo>
                    <a:pt x="859390" y="5907"/>
                    <a:pt x="853483" y="0"/>
                    <a:pt x="846323" y="0"/>
                  </a:cubicBezTo>
                  <a:close/>
                  <a:moveTo>
                    <a:pt x="833256" y="138906"/>
                  </a:moveTo>
                  <a:lnTo>
                    <a:pt x="26134" y="138906"/>
                  </a:lnTo>
                  <a:lnTo>
                    <a:pt x="26134" y="26134"/>
                  </a:lnTo>
                  <a:lnTo>
                    <a:pt x="833256" y="26134"/>
                  </a:lnTo>
                  <a:lnTo>
                    <a:pt x="833256" y="138906"/>
                  </a:ln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31" name="Freeform: Shape 130">
              <a:extLst>
                <a:ext uri="{FF2B5EF4-FFF2-40B4-BE49-F238E27FC236}">
                  <a16:creationId xmlns:a16="http://schemas.microsoft.com/office/drawing/2014/main" id="{D90BD489-72F3-65D1-9176-4CB167BA7706}"/>
                </a:ext>
              </a:extLst>
            </p:cNvPr>
            <p:cNvSpPr>
              <a:spLocks/>
            </p:cNvSpPr>
            <p:nvPr/>
          </p:nvSpPr>
          <p:spPr>
            <a:xfrm>
              <a:off x="5146469" y="6217870"/>
              <a:ext cx="25955" cy="25642"/>
            </a:xfrm>
            <a:custGeom>
              <a:avLst/>
              <a:gdLst>
                <a:gd name="connsiteX0" fmla="*/ 13067 w 25955"/>
                <a:gd name="connsiteY0" fmla="*/ 25642 h 25642"/>
                <a:gd name="connsiteX1" fmla="*/ 22196 w 25955"/>
                <a:gd name="connsiteY1" fmla="*/ 21883 h 25642"/>
                <a:gd name="connsiteX2" fmla="*/ 25955 w 25955"/>
                <a:gd name="connsiteY2" fmla="*/ 12754 h 25642"/>
                <a:gd name="connsiteX3" fmla="*/ 22196 w 25955"/>
                <a:gd name="connsiteY3" fmla="*/ 3625 h 25642"/>
                <a:gd name="connsiteX4" fmla="*/ 3759 w 25955"/>
                <a:gd name="connsiteY4" fmla="*/ 3625 h 25642"/>
                <a:gd name="connsiteX5" fmla="*/ 0 w 25955"/>
                <a:gd name="connsiteY5" fmla="*/ 12754 h 25642"/>
                <a:gd name="connsiteX6" fmla="*/ 3759 w 25955"/>
                <a:gd name="connsiteY6" fmla="*/ 21883 h 25642"/>
                <a:gd name="connsiteX7" fmla="*/ 13067 w 25955"/>
                <a:gd name="connsiteY7" fmla="*/ 25642 h 2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55" h="25642">
                  <a:moveTo>
                    <a:pt x="13067" y="25642"/>
                  </a:moveTo>
                  <a:cubicBezTo>
                    <a:pt x="16289" y="25642"/>
                    <a:pt x="19690" y="24210"/>
                    <a:pt x="22196" y="21883"/>
                  </a:cubicBezTo>
                  <a:cubicBezTo>
                    <a:pt x="24702" y="19556"/>
                    <a:pt x="25955" y="16155"/>
                    <a:pt x="25955" y="12754"/>
                  </a:cubicBezTo>
                  <a:cubicBezTo>
                    <a:pt x="25955" y="9353"/>
                    <a:pt x="24523" y="5952"/>
                    <a:pt x="22196" y="3625"/>
                  </a:cubicBezTo>
                  <a:cubicBezTo>
                    <a:pt x="17184" y="-1208"/>
                    <a:pt x="8771" y="-1208"/>
                    <a:pt x="3759" y="3625"/>
                  </a:cubicBezTo>
                  <a:cubicBezTo>
                    <a:pt x="1432" y="6131"/>
                    <a:pt x="0" y="9353"/>
                    <a:pt x="0" y="12754"/>
                  </a:cubicBezTo>
                  <a:cubicBezTo>
                    <a:pt x="0" y="16334"/>
                    <a:pt x="1432" y="19556"/>
                    <a:pt x="3759" y="21883"/>
                  </a:cubicBezTo>
                  <a:cubicBezTo>
                    <a:pt x="6444" y="24210"/>
                    <a:pt x="9666" y="25642"/>
                    <a:pt x="13067" y="25642"/>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32" name="Freeform: Shape 131">
              <a:extLst>
                <a:ext uri="{FF2B5EF4-FFF2-40B4-BE49-F238E27FC236}">
                  <a16:creationId xmlns:a16="http://schemas.microsoft.com/office/drawing/2014/main" id="{22F1556F-6315-C7FB-EC34-803B14FE63D4}"/>
                </a:ext>
              </a:extLst>
            </p:cNvPr>
            <p:cNvSpPr>
              <a:spLocks/>
            </p:cNvSpPr>
            <p:nvPr/>
          </p:nvSpPr>
          <p:spPr>
            <a:xfrm>
              <a:off x="5056789" y="6217378"/>
              <a:ext cx="26134" cy="26134"/>
            </a:xfrm>
            <a:custGeom>
              <a:avLst/>
              <a:gdLst>
                <a:gd name="connsiteX0" fmla="*/ 13067 w 26134"/>
                <a:gd name="connsiteY0" fmla="*/ 26134 h 26134"/>
                <a:gd name="connsiteX1" fmla="*/ 26134 w 26134"/>
                <a:gd name="connsiteY1" fmla="*/ 13067 h 26134"/>
                <a:gd name="connsiteX2" fmla="*/ 13067 w 26134"/>
                <a:gd name="connsiteY2" fmla="*/ 0 h 26134"/>
                <a:gd name="connsiteX3" fmla="*/ 0 w 26134"/>
                <a:gd name="connsiteY3" fmla="*/ 13067 h 26134"/>
                <a:gd name="connsiteX4" fmla="*/ 13067 w 26134"/>
                <a:gd name="connsiteY4" fmla="*/ 26134 h 26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 h="26134">
                  <a:moveTo>
                    <a:pt x="13067" y="26134"/>
                  </a:moveTo>
                  <a:cubicBezTo>
                    <a:pt x="20406" y="26134"/>
                    <a:pt x="26134" y="20227"/>
                    <a:pt x="26134" y="13067"/>
                  </a:cubicBezTo>
                  <a:cubicBezTo>
                    <a:pt x="26134" y="5728"/>
                    <a:pt x="20406" y="0"/>
                    <a:pt x="13067" y="0"/>
                  </a:cubicBezTo>
                  <a:cubicBezTo>
                    <a:pt x="5907" y="0"/>
                    <a:pt x="0" y="5728"/>
                    <a:pt x="0" y="13067"/>
                  </a:cubicBezTo>
                  <a:cubicBezTo>
                    <a:pt x="0" y="20227"/>
                    <a:pt x="5907" y="26134"/>
                    <a:pt x="13067" y="26134"/>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33" name="Freeform: Shape 132">
              <a:extLst>
                <a:ext uri="{FF2B5EF4-FFF2-40B4-BE49-F238E27FC236}">
                  <a16:creationId xmlns:a16="http://schemas.microsoft.com/office/drawing/2014/main" id="{DB3328BD-6295-00E3-B58F-5A8F38142B2A}"/>
                </a:ext>
              </a:extLst>
            </p:cNvPr>
            <p:cNvSpPr>
              <a:spLocks/>
            </p:cNvSpPr>
            <p:nvPr/>
          </p:nvSpPr>
          <p:spPr>
            <a:xfrm>
              <a:off x="4967287" y="6217870"/>
              <a:ext cx="25955" cy="25642"/>
            </a:xfrm>
            <a:custGeom>
              <a:avLst/>
              <a:gdLst>
                <a:gd name="connsiteX0" fmla="*/ 13067 w 25955"/>
                <a:gd name="connsiteY0" fmla="*/ 25642 h 25642"/>
                <a:gd name="connsiteX1" fmla="*/ 22196 w 25955"/>
                <a:gd name="connsiteY1" fmla="*/ 21883 h 25642"/>
                <a:gd name="connsiteX2" fmla="*/ 25955 w 25955"/>
                <a:gd name="connsiteY2" fmla="*/ 12754 h 25642"/>
                <a:gd name="connsiteX3" fmla="*/ 22196 w 25955"/>
                <a:gd name="connsiteY3" fmla="*/ 3625 h 25642"/>
                <a:gd name="connsiteX4" fmla="*/ 3580 w 25955"/>
                <a:gd name="connsiteY4" fmla="*/ 3625 h 25642"/>
                <a:gd name="connsiteX5" fmla="*/ 0 w 25955"/>
                <a:gd name="connsiteY5" fmla="*/ 12754 h 25642"/>
                <a:gd name="connsiteX6" fmla="*/ 3759 w 25955"/>
                <a:gd name="connsiteY6" fmla="*/ 21883 h 25642"/>
                <a:gd name="connsiteX7" fmla="*/ 13067 w 25955"/>
                <a:gd name="connsiteY7" fmla="*/ 25642 h 2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55" h="25642">
                  <a:moveTo>
                    <a:pt x="13067" y="25642"/>
                  </a:moveTo>
                  <a:cubicBezTo>
                    <a:pt x="16289" y="25642"/>
                    <a:pt x="19869" y="24210"/>
                    <a:pt x="22196" y="21883"/>
                  </a:cubicBezTo>
                  <a:cubicBezTo>
                    <a:pt x="24702" y="19556"/>
                    <a:pt x="25955" y="15976"/>
                    <a:pt x="25955" y="12754"/>
                  </a:cubicBezTo>
                  <a:cubicBezTo>
                    <a:pt x="25955" y="9353"/>
                    <a:pt x="24523" y="5952"/>
                    <a:pt x="22196" y="3625"/>
                  </a:cubicBezTo>
                  <a:cubicBezTo>
                    <a:pt x="17363" y="-1208"/>
                    <a:pt x="8592" y="-1208"/>
                    <a:pt x="3580" y="3625"/>
                  </a:cubicBezTo>
                  <a:cubicBezTo>
                    <a:pt x="1253" y="6131"/>
                    <a:pt x="0" y="9353"/>
                    <a:pt x="0" y="12754"/>
                  </a:cubicBezTo>
                  <a:cubicBezTo>
                    <a:pt x="0" y="16334"/>
                    <a:pt x="1432" y="19556"/>
                    <a:pt x="3759" y="21883"/>
                  </a:cubicBezTo>
                  <a:cubicBezTo>
                    <a:pt x="6265" y="24210"/>
                    <a:pt x="9487" y="25642"/>
                    <a:pt x="13067" y="25642"/>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34" name="Freeform: Shape 133">
              <a:extLst>
                <a:ext uri="{FF2B5EF4-FFF2-40B4-BE49-F238E27FC236}">
                  <a16:creationId xmlns:a16="http://schemas.microsoft.com/office/drawing/2014/main" id="{5A22A9EA-1CC1-0F85-413A-5DE7D8F176B9}"/>
                </a:ext>
              </a:extLst>
            </p:cNvPr>
            <p:cNvSpPr>
              <a:spLocks/>
            </p:cNvSpPr>
            <p:nvPr/>
          </p:nvSpPr>
          <p:spPr>
            <a:xfrm>
              <a:off x="5050523" y="6373468"/>
              <a:ext cx="104716" cy="26134"/>
            </a:xfrm>
            <a:custGeom>
              <a:avLst/>
              <a:gdLst>
                <a:gd name="connsiteX0" fmla="*/ 91649 w 104716"/>
                <a:gd name="connsiteY0" fmla="*/ 26134 h 26134"/>
                <a:gd name="connsiteX1" fmla="*/ 104716 w 104716"/>
                <a:gd name="connsiteY1" fmla="*/ 13067 h 26134"/>
                <a:gd name="connsiteX2" fmla="*/ 91649 w 104716"/>
                <a:gd name="connsiteY2" fmla="*/ 0 h 26134"/>
                <a:gd name="connsiteX3" fmla="*/ 13067 w 104716"/>
                <a:gd name="connsiteY3" fmla="*/ 0 h 26134"/>
                <a:gd name="connsiteX4" fmla="*/ 0 w 104716"/>
                <a:gd name="connsiteY4" fmla="*/ 13067 h 26134"/>
                <a:gd name="connsiteX5" fmla="*/ 13067 w 104716"/>
                <a:gd name="connsiteY5" fmla="*/ 26134 h 26134"/>
                <a:gd name="connsiteX6" fmla="*/ 91649 w 104716"/>
                <a:gd name="connsiteY6" fmla="*/ 26134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16" h="26134">
                  <a:moveTo>
                    <a:pt x="91649" y="26134"/>
                  </a:moveTo>
                  <a:cubicBezTo>
                    <a:pt x="98809" y="26134"/>
                    <a:pt x="104716" y="20227"/>
                    <a:pt x="104716" y="13067"/>
                  </a:cubicBezTo>
                  <a:cubicBezTo>
                    <a:pt x="104716" y="5907"/>
                    <a:pt x="98809" y="0"/>
                    <a:pt x="91649" y="0"/>
                  </a:cubicBezTo>
                  <a:lnTo>
                    <a:pt x="13067" y="0"/>
                  </a:lnTo>
                  <a:cubicBezTo>
                    <a:pt x="5907" y="0"/>
                    <a:pt x="0" y="5907"/>
                    <a:pt x="0" y="13067"/>
                  </a:cubicBezTo>
                  <a:cubicBezTo>
                    <a:pt x="0" y="20227"/>
                    <a:pt x="5907" y="26134"/>
                    <a:pt x="13067" y="26134"/>
                  </a:cubicBezTo>
                  <a:lnTo>
                    <a:pt x="91649" y="26134"/>
                  </a:ln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35" name="Freeform: Shape 134">
              <a:extLst>
                <a:ext uri="{FF2B5EF4-FFF2-40B4-BE49-F238E27FC236}">
                  <a16:creationId xmlns:a16="http://schemas.microsoft.com/office/drawing/2014/main" id="{C9C2D083-53DD-36CC-0E35-31CD82727B72}"/>
                </a:ext>
              </a:extLst>
            </p:cNvPr>
            <p:cNvSpPr>
              <a:spLocks/>
            </p:cNvSpPr>
            <p:nvPr/>
          </p:nvSpPr>
          <p:spPr>
            <a:xfrm>
              <a:off x="4782020" y="6373468"/>
              <a:ext cx="225184" cy="26134"/>
            </a:xfrm>
            <a:custGeom>
              <a:avLst/>
              <a:gdLst>
                <a:gd name="connsiteX0" fmla="*/ 212118 w 225184"/>
                <a:gd name="connsiteY0" fmla="*/ 0 h 26134"/>
                <a:gd name="connsiteX1" fmla="*/ 13067 w 225184"/>
                <a:gd name="connsiteY1" fmla="*/ 0 h 26134"/>
                <a:gd name="connsiteX2" fmla="*/ 0 w 225184"/>
                <a:gd name="connsiteY2" fmla="*/ 13067 h 26134"/>
                <a:gd name="connsiteX3" fmla="*/ 13067 w 225184"/>
                <a:gd name="connsiteY3" fmla="*/ 26134 h 26134"/>
                <a:gd name="connsiteX4" fmla="*/ 212118 w 225184"/>
                <a:gd name="connsiteY4" fmla="*/ 26134 h 26134"/>
                <a:gd name="connsiteX5" fmla="*/ 225185 w 225184"/>
                <a:gd name="connsiteY5" fmla="*/ 13067 h 26134"/>
                <a:gd name="connsiteX6" fmla="*/ 212118 w 225184"/>
                <a:gd name="connsiteY6" fmla="*/ 0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184" h="26134">
                  <a:moveTo>
                    <a:pt x="212118" y="0"/>
                  </a:moveTo>
                  <a:lnTo>
                    <a:pt x="13067" y="0"/>
                  </a:lnTo>
                  <a:cubicBezTo>
                    <a:pt x="5907" y="0"/>
                    <a:pt x="0" y="5907"/>
                    <a:pt x="0" y="13067"/>
                  </a:cubicBezTo>
                  <a:cubicBezTo>
                    <a:pt x="0" y="20227"/>
                    <a:pt x="5907" y="26134"/>
                    <a:pt x="13067" y="26134"/>
                  </a:cubicBezTo>
                  <a:lnTo>
                    <a:pt x="212118" y="26134"/>
                  </a:lnTo>
                  <a:cubicBezTo>
                    <a:pt x="219278" y="26134"/>
                    <a:pt x="225185" y="20227"/>
                    <a:pt x="225185" y="13067"/>
                  </a:cubicBezTo>
                  <a:cubicBezTo>
                    <a:pt x="225185" y="5907"/>
                    <a:pt x="219278" y="0"/>
                    <a:pt x="212118" y="0"/>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36" name="Freeform: Shape 135">
              <a:extLst>
                <a:ext uri="{FF2B5EF4-FFF2-40B4-BE49-F238E27FC236}">
                  <a16:creationId xmlns:a16="http://schemas.microsoft.com/office/drawing/2014/main" id="{6D21E62D-D382-BD55-83CF-4E3FB5955267}"/>
                </a:ext>
              </a:extLst>
            </p:cNvPr>
            <p:cNvSpPr>
              <a:spLocks/>
            </p:cNvSpPr>
            <p:nvPr/>
          </p:nvSpPr>
          <p:spPr>
            <a:xfrm>
              <a:off x="4949208" y="6460283"/>
              <a:ext cx="206031" cy="26134"/>
            </a:xfrm>
            <a:custGeom>
              <a:avLst/>
              <a:gdLst>
                <a:gd name="connsiteX0" fmla="*/ 0 w 206031"/>
                <a:gd name="connsiteY0" fmla="*/ 13067 h 26134"/>
                <a:gd name="connsiteX1" fmla="*/ 13067 w 206031"/>
                <a:gd name="connsiteY1" fmla="*/ 26135 h 26134"/>
                <a:gd name="connsiteX2" fmla="*/ 192964 w 206031"/>
                <a:gd name="connsiteY2" fmla="*/ 26135 h 26134"/>
                <a:gd name="connsiteX3" fmla="*/ 206032 w 206031"/>
                <a:gd name="connsiteY3" fmla="*/ 13067 h 26134"/>
                <a:gd name="connsiteX4" fmla="*/ 192964 w 206031"/>
                <a:gd name="connsiteY4" fmla="*/ 0 h 26134"/>
                <a:gd name="connsiteX5" fmla="*/ 13067 w 206031"/>
                <a:gd name="connsiteY5" fmla="*/ 0 h 26134"/>
                <a:gd name="connsiteX6" fmla="*/ 0 w 206031"/>
                <a:gd name="connsiteY6" fmla="*/ 13067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031" h="26134">
                  <a:moveTo>
                    <a:pt x="0" y="13067"/>
                  </a:moveTo>
                  <a:cubicBezTo>
                    <a:pt x="0" y="20227"/>
                    <a:pt x="5907" y="26135"/>
                    <a:pt x="13067" y="26135"/>
                  </a:cubicBezTo>
                  <a:lnTo>
                    <a:pt x="192964" y="26135"/>
                  </a:lnTo>
                  <a:cubicBezTo>
                    <a:pt x="200125" y="26135"/>
                    <a:pt x="206032" y="20227"/>
                    <a:pt x="206032" y="13067"/>
                  </a:cubicBezTo>
                  <a:cubicBezTo>
                    <a:pt x="206032" y="5907"/>
                    <a:pt x="200125" y="0"/>
                    <a:pt x="192964" y="0"/>
                  </a:cubicBezTo>
                  <a:lnTo>
                    <a:pt x="13067" y="0"/>
                  </a:lnTo>
                  <a:cubicBezTo>
                    <a:pt x="5907" y="0"/>
                    <a:pt x="0" y="5907"/>
                    <a:pt x="0" y="13067"/>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37" name="Freeform: Shape 136">
              <a:extLst>
                <a:ext uri="{FF2B5EF4-FFF2-40B4-BE49-F238E27FC236}">
                  <a16:creationId xmlns:a16="http://schemas.microsoft.com/office/drawing/2014/main" id="{1BA821A2-0F4C-B8D8-31BE-474F1805E97C}"/>
                </a:ext>
              </a:extLst>
            </p:cNvPr>
            <p:cNvSpPr>
              <a:spLocks/>
            </p:cNvSpPr>
            <p:nvPr/>
          </p:nvSpPr>
          <p:spPr>
            <a:xfrm>
              <a:off x="4782020" y="6460283"/>
              <a:ext cx="123869" cy="26134"/>
            </a:xfrm>
            <a:custGeom>
              <a:avLst/>
              <a:gdLst>
                <a:gd name="connsiteX0" fmla="*/ 13067 w 123869"/>
                <a:gd name="connsiteY0" fmla="*/ 26135 h 26134"/>
                <a:gd name="connsiteX1" fmla="*/ 110802 w 123869"/>
                <a:gd name="connsiteY1" fmla="*/ 26135 h 26134"/>
                <a:gd name="connsiteX2" fmla="*/ 123870 w 123869"/>
                <a:gd name="connsiteY2" fmla="*/ 13067 h 26134"/>
                <a:gd name="connsiteX3" fmla="*/ 110802 w 123869"/>
                <a:gd name="connsiteY3" fmla="*/ 0 h 26134"/>
                <a:gd name="connsiteX4" fmla="*/ 13067 w 123869"/>
                <a:gd name="connsiteY4" fmla="*/ 0 h 26134"/>
                <a:gd name="connsiteX5" fmla="*/ 0 w 123869"/>
                <a:gd name="connsiteY5" fmla="*/ 13067 h 26134"/>
                <a:gd name="connsiteX6" fmla="*/ 13067 w 123869"/>
                <a:gd name="connsiteY6" fmla="*/ 26135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69" h="26134">
                  <a:moveTo>
                    <a:pt x="13067" y="26135"/>
                  </a:moveTo>
                  <a:lnTo>
                    <a:pt x="110802" y="26135"/>
                  </a:lnTo>
                  <a:cubicBezTo>
                    <a:pt x="117962" y="26135"/>
                    <a:pt x="123870" y="20227"/>
                    <a:pt x="123870" y="13067"/>
                  </a:cubicBezTo>
                  <a:cubicBezTo>
                    <a:pt x="123870" y="5907"/>
                    <a:pt x="117962" y="0"/>
                    <a:pt x="110802" y="0"/>
                  </a:cubicBezTo>
                  <a:lnTo>
                    <a:pt x="13067" y="0"/>
                  </a:lnTo>
                  <a:cubicBezTo>
                    <a:pt x="5907" y="0"/>
                    <a:pt x="0" y="5907"/>
                    <a:pt x="0" y="13067"/>
                  </a:cubicBezTo>
                  <a:cubicBezTo>
                    <a:pt x="0" y="20227"/>
                    <a:pt x="5907" y="26135"/>
                    <a:pt x="13067" y="26135"/>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38" name="Freeform: Shape 137">
              <a:extLst>
                <a:ext uri="{FF2B5EF4-FFF2-40B4-BE49-F238E27FC236}">
                  <a16:creationId xmlns:a16="http://schemas.microsoft.com/office/drawing/2014/main" id="{3A84774C-0B4F-A549-7813-49AADF6847F0}"/>
                </a:ext>
              </a:extLst>
            </p:cNvPr>
            <p:cNvSpPr>
              <a:spLocks/>
            </p:cNvSpPr>
            <p:nvPr/>
          </p:nvSpPr>
          <p:spPr>
            <a:xfrm>
              <a:off x="5008458" y="6807548"/>
              <a:ext cx="146781" cy="26134"/>
            </a:xfrm>
            <a:custGeom>
              <a:avLst/>
              <a:gdLst>
                <a:gd name="connsiteX0" fmla="*/ 146782 w 146781"/>
                <a:gd name="connsiteY0" fmla="*/ 13067 h 26134"/>
                <a:gd name="connsiteX1" fmla="*/ 133714 w 146781"/>
                <a:gd name="connsiteY1" fmla="*/ 0 h 26134"/>
                <a:gd name="connsiteX2" fmla="*/ 13067 w 146781"/>
                <a:gd name="connsiteY2" fmla="*/ 0 h 26134"/>
                <a:gd name="connsiteX3" fmla="*/ 0 w 146781"/>
                <a:gd name="connsiteY3" fmla="*/ 13067 h 26134"/>
                <a:gd name="connsiteX4" fmla="*/ 13067 w 146781"/>
                <a:gd name="connsiteY4" fmla="*/ 26134 h 26134"/>
                <a:gd name="connsiteX5" fmla="*/ 133714 w 146781"/>
                <a:gd name="connsiteY5" fmla="*/ 26134 h 26134"/>
                <a:gd name="connsiteX6" fmla="*/ 146782 w 146781"/>
                <a:gd name="connsiteY6" fmla="*/ 13067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781" h="26134">
                  <a:moveTo>
                    <a:pt x="146782" y="13067"/>
                  </a:moveTo>
                  <a:cubicBezTo>
                    <a:pt x="146782" y="5907"/>
                    <a:pt x="140875" y="0"/>
                    <a:pt x="133714" y="0"/>
                  </a:cubicBezTo>
                  <a:lnTo>
                    <a:pt x="13067" y="0"/>
                  </a:lnTo>
                  <a:cubicBezTo>
                    <a:pt x="5907" y="0"/>
                    <a:pt x="0" y="5728"/>
                    <a:pt x="0" y="13067"/>
                  </a:cubicBezTo>
                  <a:cubicBezTo>
                    <a:pt x="0" y="20227"/>
                    <a:pt x="5907" y="26134"/>
                    <a:pt x="13067" y="26134"/>
                  </a:cubicBezTo>
                  <a:lnTo>
                    <a:pt x="133714" y="26134"/>
                  </a:lnTo>
                  <a:cubicBezTo>
                    <a:pt x="140875" y="25955"/>
                    <a:pt x="146782" y="20227"/>
                    <a:pt x="146782" y="13067"/>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39" name="Freeform: Shape 138">
              <a:extLst>
                <a:ext uri="{FF2B5EF4-FFF2-40B4-BE49-F238E27FC236}">
                  <a16:creationId xmlns:a16="http://schemas.microsoft.com/office/drawing/2014/main" id="{29F6044F-77BD-1D2C-648F-4F8CD933D575}"/>
                </a:ext>
              </a:extLst>
            </p:cNvPr>
            <p:cNvSpPr>
              <a:spLocks/>
            </p:cNvSpPr>
            <p:nvPr/>
          </p:nvSpPr>
          <p:spPr>
            <a:xfrm>
              <a:off x="4780946" y="6807548"/>
              <a:ext cx="184193" cy="26134"/>
            </a:xfrm>
            <a:custGeom>
              <a:avLst/>
              <a:gdLst>
                <a:gd name="connsiteX0" fmla="*/ 184193 w 184193"/>
                <a:gd name="connsiteY0" fmla="*/ 13067 h 26134"/>
                <a:gd name="connsiteX1" fmla="*/ 171126 w 184193"/>
                <a:gd name="connsiteY1" fmla="*/ 0 h 26134"/>
                <a:gd name="connsiteX2" fmla="*/ 13067 w 184193"/>
                <a:gd name="connsiteY2" fmla="*/ 0 h 26134"/>
                <a:gd name="connsiteX3" fmla="*/ 0 w 184193"/>
                <a:gd name="connsiteY3" fmla="*/ 13067 h 26134"/>
                <a:gd name="connsiteX4" fmla="*/ 13067 w 184193"/>
                <a:gd name="connsiteY4" fmla="*/ 26134 h 26134"/>
                <a:gd name="connsiteX5" fmla="*/ 171126 w 184193"/>
                <a:gd name="connsiteY5" fmla="*/ 26134 h 26134"/>
                <a:gd name="connsiteX6" fmla="*/ 184193 w 184193"/>
                <a:gd name="connsiteY6" fmla="*/ 13067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193" h="26134">
                  <a:moveTo>
                    <a:pt x="184193" y="13067"/>
                  </a:moveTo>
                  <a:cubicBezTo>
                    <a:pt x="184193" y="5907"/>
                    <a:pt x="178286" y="0"/>
                    <a:pt x="171126" y="0"/>
                  </a:cubicBezTo>
                  <a:lnTo>
                    <a:pt x="13067" y="0"/>
                  </a:lnTo>
                  <a:cubicBezTo>
                    <a:pt x="5907" y="0"/>
                    <a:pt x="0" y="5728"/>
                    <a:pt x="0" y="13067"/>
                  </a:cubicBezTo>
                  <a:cubicBezTo>
                    <a:pt x="0" y="20227"/>
                    <a:pt x="5907" y="26134"/>
                    <a:pt x="13067" y="26134"/>
                  </a:cubicBezTo>
                  <a:lnTo>
                    <a:pt x="171126" y="26134"/>
                  </a:lnTo>
                  <a:cubicBezTo>
                    <a:pt x="178465" y="25955"/>
                    <a:pt x="184193" y="20227"/>
                    <a:pt x="184193" y="13067"/>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42" name="Freeform: Shape 141">
              <a:extLst>
                <a:ext uri="{FF2B5EF4-FFF2-40B4-BE49-F238E27FC236}">
                  <a16:creationId xmlns:a16="http://schemas.microsoft.com/office/drawing/2014/main" id="{6528C079-8CE8-9587-851D-6914C0F2440F}"/>
                </a:ext>
              </a:extLst>
            </p:cNvPr>
            <p:cNvSpPr>
              <a:spLocks/>
            </p:cNvSpPr>
            <p:nvPr/>
          </p:nvSpPr>
          <p:spPr>
            <a:xfrm>
              <a:off x="4931845" y="6894185"/>
              <a:ext cx="136578" cy="26134"/>
            </a:xfrm>
            <a:custGeom>
              <a:avLst/>
              <a:gdLst>
                <a:gd name="connsiteX0" fmla="*/ 13067 w 136578"/>
                <a:gd name="connsiteY0" fmla="*/ 26134 h 26134"/>
                <a:gd name="connsiteX1" fmla="*/ 123512 w 136578"/>
                <a:gd name="connsiteY1" fmla="*/ 26134 h 26134"/>
                <a:gd name="connsiteX2" fmla="*/ 136579 w 136578"/>
                <a:gd name="connsiteY2" fmla="*/ 13067 h 26134"/>
                <a:gd name="connsiteX3" fmla="*/ 123512 w 136578"/>
                <a:gd name="connsiteY3" fmla="*/ 0 h 26134"/>
                <a:gd name="connsiteX4" fmla="*/ 13067 w 136578"/>
                <a:gd name="connsiteY4" fmla="*/ 0 h 26134"/>
                <a:gd name="connsiteX5" fmla="*/ 0 w 136578"/>
                <a:gd name="connsiteY5" fmla="*/ 13067 h 26134"/>
                <a:gd name="connsiteX6" fmla="*/ 13067 w 136578"/>
                <a:gd name="connsiteY6" fmla="*/ 26134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78" h="26134">
                  <a:moveTo>
                    <a:pt x="13067" y="26134"/>
                  </a:moveTo>
                  <a:lnTo>
                    <a:pt x="123512" y="26134"/>
                  </a:lnTo>
                  <a:cubicBezTo>
                    <a:pt x="130672" y="26134"/>
                    <a:pt x="136579" y="20227"/>
                    <a:pt x="136579" y="13067"/>
                  </a:cubicBezTo>
                  <a:cubicBezTo>
                    <a:pt x="136579" y="5907"/>
                    <a:pt x="130672" y="0"/>
                    <a:pt x="123512" y="0"/>
                  </a:cubicBezTo>
                  <a:lnTo>
                    <a:pt x="13067" y="0"/>
                  </a:lnTo>
                  <a:cubicBezTo>
                    <a:pt x="5907" y="0"/>
                    <a:pt x="0" y="5907"/>
                    <a:pt x="0" y="13067"/>
                  </a:cubicBezTo>
                  <a:cubicBezTo>
                    <a:pt x="0" y="20406"/>
                    <a:pt x="5907" y="26134"/>
                    <a:pt x="13067" y="26134"/>
                  </a:cubicBez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45" name="Freeform: Shape 144">
              <a:extLst>
                <a:ext uri="{FF2B5EF4-FFF2-40B4-BE49-F238E27FC236}">
                  <a16:creationId xmlns:a16="http://schemas.microsoft.com/office/drawing/2014/main" id="{C3CAFC5C-B5CD-2DCE-8EB0-7A1B7FD65C81}"/>
                </a:ext>
              </a:extLst>
            </p:cNvPr>
            <p:cNvSpPr>
              <a:spLocks/>
            </p:cNvSpPr>
            <p:nvPr/>
          </p:nvSpPr>
          <p:spPr>
            <a:xfrm>
              <a:off x="4782020" y="6894364"/>
              <a:ext cx="106506" cy="26134"/>
            </a:xfrm>
            <a:custGeom>
              <a:avLst/>
              <a:gdLst>
                <a:gd name="connsiteX0" fmla="*/ 13067 w 106506"/>
                <a:gd name="connsiteY0" fmla="*/ 0 h 26134"/>
                <a:gd name="connsiteX1" fmla="*/ 0 w 106506"/>
                <a:gd name="connsiteY1" fmla="*/ 13067 h 26134"/>
                <a:gd name="connsiteX2" fmla="*/ 13067 w 106506"/>
                <a:gd name="connsiteY2" fmla="*/ 26135 h 26134"/>
                <a:gd name="connsiteX3" fmla="*/ 93439 w 106506"/>
                <a:gd name="connsiteY3" fmla="*/ 26135 h 26134"/>
                <a:gd name="connsiteX4" fmla="*/ 106506 w 106506"/>
                <a:gd name="connsiteY4" fmla="*/ 13067 h 26134"/>
                <a:gd name="connsiteX5" fmla="*/ 93439 w 106506"/>
                <a:gd name="connsiteY5" fmla="*/ 0 h 26134"/>
                <a:gd name="connsiteX6" fmla="*/ 13067 w 106506"/>
                <a:gd name="connsiteY6" fmla="*/ 0 h 2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506" h="26134">
                  <a:moveTo>
                    <a:pt x="13067" y="0"/>
                  </a:moveTo>
                  <a:cubicBezTo>
                    <a:pt x="5907" y="0"/>
                    <a:pt x="0" y="5907"/>
                    <a:pt x="0" y="13067"/>
                  </a:cubicBezTo>
                  <a:cubicBezTo>
                    <a:pt x="0" y="20227"/>
                    <a:pt x="5907" y="26135"/>
                    <a:pt x="13067" y="26135"/>
                  </a:cubicBezTo>
                  <a:lnTo>
                    <a:pt x="93439" y="26135"/>
                  </a:lnTo>
                  <a:cubicBezTo>
                    <a:pt x="100599" y="26135"/>
                    <a:pt x="106506" y="20227"/>
                    <a:pt x="106506" y="13067"/>
                  </a:cubicBezTo>
                  <a:cubicBezTo>
                    <a:pt x="106506" y="5907"/>
                    <a:pt x="100599" y="0"/>
                    <a:pt x="93439" y="0"/>
                  </a:cubicBezTo>
                  <a:lnTo>
                    <a:pt x="13067" y="0"/>
                  </a:ln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sp>
          <p:nvSpPr>
            <p:cNvPr id="148" name="Freeform: Shape 147">
              <a:extLst>
                <a:ext uri="{FF2B5EF4-FFF2-40B4-BE49-F238E27FC236}">
                  <a16:creationId xmlns:a16="http://schemas.microsoft.com/office/drawing/2014/main" id="{0234CFAA-D1BB-EB26-3AD0-E46C67B575D7}"/>
                </a:ext>
              </a:extLst>
            </p:cNvPr>
            <p:cNvSpPr>
              <a:spLocks/>
            </p:cNvSpPr>
            <p:nvPr/>
          </p:nvSpPr>
          <p:spPr>
            <a:xfrm>
              <a:off x="4382845" y="6564463"/>
              <a:ext cx="859211" cy="165040"/>
            </a:xfrm>
            <a:custGeom>
              <a:avLst/>
              <a:gdLst>
                <a:gd name="connsiteX0" fmla="*/ 0 w 859211"/>
                <a:gd name="connsiteY0" fmla="*/ 82520 h 165040"/>
                <a:gd name="connsiteX1" fmla="*/ 7160 w 859211"/>
                <a:gd name="connsiteY1" fmla="*/ 94155 h 165040"/>
                <a:gd name="connsiteX2" fmla="*/ 146245 w 859211"/>
                <a:gd name="connsiteY2" fmla="*/ 163608 h 165040"/>
                <a:gd name="connsiteX3" fmla="*/ 151973 w 859211"/>
                <a:gd name="connsiteY3" fmla="*/ 165040 h 165040"/>
                <a:gd name="connsiteX4" fmla="*/ 811418 w 859211"/>
                <a:gd name="connsiteY4" fmla="*/ 165040 h 165040"/>
                <a:gd name="connsiteX5" fmla="*/ 859211 w 859211"/>
                <a:gd name="connsiteY5" fmla="*/ 117247 h 165040"/>
                <a:gd name="connsiteX6" fmla="*/ 859211 w 859211"/>
                <a:gd name="connsiteY6" fmla="*/ 47794 h 165040"/>
                <a:gd name="connsiteX7" fmla="*/ 811418 w 859211"/>
                <a:gd name="connsiteY7" fmla="*/ 0 h 165040"/>
                <a:gd name="connsiteX8" fmla="*/ 151973 w 859211"/>
                <a:gd name="connsiteY8" fmla="*/ 0 h 165040"/>
                <a:gd name="connsiteX9" fmla="*/ 146245 w 859211"/>
                <a:gd name="connsiteY9" fmla="*/ 1432 h 165040"/>
                <a:gd name="connsiteX10" fmla="*/ 7160 w 859211"/>
                <a:gd name="connsiteY10" fmla="*/ 70885 h 165040"/>
                <a:gd name="connsiteX11" fmla="*/ 0 w 859211"/>
                <a:gd name="connsiteY11" fmla="*/ 82520 h 165040"/>
                <a:gd name="connsiteX12" fmla="*/ 767920 w 859211"/>
                <a:gd name="connsiteY12" fmla="*/ 26134 h 165040"/>
                <a:gd name="connsiteX13" fmla="*/ 811418 w 859211"/>
                <a:gd name="connsiteY13" fmla="*/ 26134 h 165040"/>
                <a:gd name="connsiteX14" fmla="*/ 833077 w 859211"/>
                <a:gd name="connsiteY14" fmla="*/ 47794 h 165040"/>
                <a:gd name="connsiteX15" fmla="*/ 833077 w 859211"/>
                <a:gd name="connsiteY15" fmla="*/ 117247 h 165040"/>
                <a:gd name="connsiteX16" fmla="*/ 811418 w 859211"/>
                <a:gd name="connsiteY16" fmla="*/ 138906 h 165040"/>
                <a:gd name="connsiteX17" fmla="*/ 767920 w 859211"/>
                <a:gd name="connsiteY17" fmla="*/ 138906 h 165040"/>
                <a:gd name="connsiteX18" fmla="*/ 767920 w 859211"/>
                <a:gd name="connsiteY18" fmla="*/ 26134 h 165040"/>
                <a:gd name="connsiteX19" fmla="*/ 165040 w 859211"/>
                <a:gd name="connsiteY19" fmla="*/ 26134 h 165040"/>
                <a:gd name="connsiteX20" fmla="*/ 741786 w 859211"/>
                <a:gd name="connsiteY20" fmla="*/ 26134 h 165040"/>
                <a:gd name="connsiteX21" fmla="*/ 741786 w 859211"/>
                <a:gd name="connsiteY21" fmla="*/ 69453 h 165040"/>
                <a:gd name="connsiteX22" fmla="*/ 165040 w 859211"/>
                <a:gd name="connsiteY22" fmla="*/ 69453 h 165040"/>
                <a:gd name="connsiteX23" fmla="*/ 165040 w 859211"/>
                <a:gd name="connsiteY23" fmla="*/ 26134 h 165040"/>
                <a:gd name="connsiteX24" fmla="*/ 165040 w 859211"/>
                <a:gd name="connsiteY24" fmla="*/ 95409 h 165040"/>
                <a:gd name="connsiteX25" fmla="*/ 741786 w 859211"/>
                <a:gd name="connsiteY25" fmla="*/ 95409 h 165040"/>
                <a:gd name="connsiteX26" fmla="*/ 741786 w 859211"/>
                <a:gd name="connsiteY26" fmla="*/ 138906 h 165040"/>
                <a:gd name="connsiteX27" fmla="*/ 165040 w 859211"/>
                <a:gd name="connsiteY27" fmla="*/ 138906 h 165040"/>
                <a:gd name="connsiteX28" fmla="*/ 165040 w 859211"/>
                <a:gd name="connsiteY28" fmla="*/ 95409 h 165040"/>
                <a:gd name="connsiteX29" fmla="*/ 139085 w 859211"/>
                <a:gd name="connsiteY29" fmla="*/ 34190 h 165040"/>
                <a:gd name="connsiteX30" fmla="*/ 139085 w 859211"/>
                <a:gd name="connsiteY30" fmla="*/ 131030 h 165040"/>
                <a:gd name="connsiteX31" fmla="*/ 42245 w 859211"/>
                <a:gd name="connsiteY31" fmla="*/ 82699 h 165040"/>
                <a:gd name="connsiteX32" fmla="*/ 139085 w 859211"/>
                <a:gd name="connsiteY32" fmla="*/ 34190 h 16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9211" h="165040">
                  <a:moveTo>
                    <a:pt x="0" y="82520"/>
                  </a:moveTo>
                  <a:cubicBezTo>
                    <a:pt x="0" y="87532"/>
                    <a:pt x="2864" y="92007"/>
                    <a:pt x="7160" y="94155"/>
                  </a:cubicBezTo>
                  <a:lnTo>
                    <a:pt x="146245" y="163608"/>
                  </a:lnTo>
                  <a:cubicBezTo>
                    <a:pt x="148035" y="164503"/>
                    <a:pt x="150004" y="165040"/>
                    <a:pt x="151973" y="165040"/>
                  </a:cubicBezTo>
                  <a:lnTo>
                    <a:pt x="811418" y="165040"/>
                  </a:lnTo>
                  <a:cubicBezTo>
                    <a:pt x="837731" y="165040"/>
                    <a:pt x="859211" y="143560"/>
                    <a:pt x="859211" y="117247"/>
                  </a:cubicBezTo>
                  <a:lnTo>
                    <a:pt x="859211" y="47794"/>
                  </a:lnTo>
                  <a:cubicBezTo>
                    <a:pt x="859211" y="21480"/>
                    <a:pt x="837731" y="0"/>
                    <a:pt x="811418" y="0"/>
                  </a:cubicBezTo>
                  <a:lnTo>
                    <a:pt x="151973" y="0"/>
                  </a:lnTo>
                  <a:cubicBezTo>
                    <a:pt x="150004" y="0"/>
                    <a:pt x="148035" y="537"/>
                    <a:pt x="146245" y="1432"/>
                  </a:cubicBezTo>
                  <a:lnTo>
                    <a:pt x="7160" y="70885"/>
                  </a:lnTo>
                  <a:cubicBezTo>
                    <a:pt x="2685" y="73033"/>
                    <a:pt x="0" y="77508"/>
                    <a:pt x="0" y="82520"/>
                  </a:cubicBezTo>
                  <a:close/>
                  <a:moveTo>
                    <a:pt x="767920" y="26134"/>
                  </a:moveTo>
                  <a:lnTo>
                    <a:pt x="811418" y="26134"/>
                  </a:lnTo>
                  <a:cubicBezTo>
                    <a:pt x="823411" y="26134"/>
                    <a:pt x="833077" y="35800"/>
                    <a:pt x="833077" y="47794"/>
                  </a:cubicBezTo>
                  <a:lnTo>
                    <a:pt x="833077" y="117247"/>
                  </a:lnTo>
                  <a:cubicBezTo>
                    <a:pt x="833077" y="129240"/>
                    <a:pt x="823411" y="138906"/>
                    <a:pt x="811418" y="138906"/>
                  </a:cubicBezTo>
                  <a:lnTo>
                    <a:pt x="767920" y="138906"/>
                  </a:lnTo>
                  <a:lnTo>
                    <a:pt x="767920" y="26134"/>
                  </a:lnTo>
                  <a:close/>
                  <a:moveTo>
                    <a:pt x="165040" y="26134"/>
                  </a:moveTo>
                  <a:lnTo>
                    <a:pt x="741786" y="26134"/>
                  </a:lnTo>
                  <a:lnTo>
                    <a:pt x="741786" y="69453"/>
                  </a:lnTo>
                  <a:lnTo>
                    <a:pt x="165040" y="69453"/>
                  </a:lnTo>
                  <a:lnTo>
                    <a:pt x="165040" y="26134"/>
                  </a:lnTo>
                  <a:close/>
                  <a:moveTo>
                    <a:pt x="165040" y="95409"/>
                  </a:moveTo>
                  <a:lnTo>
                    <a:pt x="741786" y="95409"/>
                  </a:lnTo>
                  <a:lnTo>
                    <a:pt x="741786" y="138906"/>
                  </a:lnTo>
                  <a:lnTo>
                    <a:pt x="165040" y="138906"/>
                  </a:lnTo>
                  <a:lnTo>
                    <a:pt x="165040" y="95409"/>
                  </a:lnTo>
                  <a:close/>
                  <a:moveTo>
                    <a:pt x="139085" y="34190"/>
                  </a:moveTo>
                  <a:lnTo>
                    <a:pt x="139085" y="131030"/>
                  </a:lnTo>
                  <a:lnTo>
                    <a:pt x="42245" y="82699"/>
                  </a:lnTo>
                  <a:lnTo>
                    <a:pt x="139085" y="34190"/>
                  </a:lnTo>
                  <a:close/>
                </a:path>
              </a:pathLst>
            </a:custGeom>
            <a:grpFill/>
            <a:ln w="17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iro" pitchFamily="2" charset="-78"/>
                <a:ea typeface="+mn-ea"/>
                <a:cs typeface="Cairo" pitchFamily="2" charset="-78"/>
              </a:endParaRPr>
            </a:p>
          </p:txBody>
        </p:sp>
      </p:grpSp>
    </p:spTree>
    <p:extLst>
      <p:ext uri="{BB962C8B-B14F-4D97-AF65-F5344CB8AC3E}">
        <p14:creationId xmlns:p14="http://schemas.microsoft.com/office/powerpoint/2010/main" val="3074683643"/>
      </p:ext>
    </p:extLst>
  </p:cSld>
  <p:clrMapOvr>
    <a:masterClrMapping/>
  </p:clrMapOvr>
  <p:extLst>
    <p:ext uri="{6950BFC3-D8DA-4A85-94F7-54DA5524770B}">
      <p188:commentRel xmlns:p188="http://schemas.microsoft.com/office/powerpoint/2018/8/main" r:id="rId4"/>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A2BDA9-F69F-8D22-A1E0-63033610BD4D}"/>
            </a:ext>
          </a:extLst>
        </p:cNvPr>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824A8B09-DFE1-4E29-9D14-BEAD307C9D26}"/>
              </a:ext>
            </a:extLst>
          </p:cNvPr>
          <p:cNvGraphicFramePr>
            <a:graphicFrameLocks noChangeAspect="1"/>
          </p:cNvGraphicFramePr>
          <p:nvPr>
            <p:custDataLst>
              <p:tags r:id="rId1"/>
            </p:custDataLst>
            <p:extLst>
              <p:ext uri="{D42A27DB-BD31-4B8C-83A1-F6EECF244321}">
                <p14:modId xmlns:p14="http://schemas.microsoft.com/office/powerpoint/2010/main" val="295492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7" name="think-cell data - do not delete" hidden="1">
                        <a:extLst>
                          <a:ext uri="{FF2B5EF4-FFF2-40B4-BE49-F238E27FC236}">
                            <a16:creationId xmlns:a16="http://schemas.microsoft.com/office/drawing/2014/main" id="{824A8B09-DFE1-4E29-9D14-BEAD307C9D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A856A7D6-54A0-6C35-0D10-C1D351047249}"/>
              </a:ext>
            </a:extLst>
          </p:cNvPr>
          <p:cNvSpPr/>
          <p:nvPr/>
        </p:nvSpPr>
        <p:spPr>
          <a:xfrm flipH="1">
            <a:off x="457535" y="0"/>
            <a:ext cx="3284210" cy="6142015"/>
          </a:xfrm>
          <a:prstGeom prst="rect">
            <a:avLst/>
          </a:prstGeom>
          <a:gradFill flip="none" rotWithShape="1">
            <a:gsLst>
              <a:gs pos="5000">
                <a:schemeClr val="accent1"/>
              </a:gs>
              <a:gs pos="82000">
                <a:srgbClr val="00C0AE"/>
              </a:gs>
              <a:gs pos="58000">
                <a:schemeClr val="accent4">
                  <a:alpha val="84000"/>
                </a:schemeClr>
              </a:gs>
            </a:gsLst>
            <a:lin ang="1200000" scaled="0"/>
            <a:tileRect/>
          </a:gra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pic>
        <p:nvPicPr>
          <p:cNvPr id="33" name="Picture 32">
            <a:extLst>
              <a:ext uri="{FF2B5EF4-FFF2-40B4-BE49-F238E27FC236}">
                <a16:creationId xmlns:a16="http://schemas.microsoft.com/office/drawing/2014/main" id="{FE4E31F4-3D73-DD24-E33F-B0C07F664612}"/>
              </a:ext>
            </a:extLst>
          </p:cNvPr>
          <p:cNvPicPr>
            <a:picLocks noChangeAspect="1"/>
          </p:cNvPicPr>
          <p:nvPr/>
        </p:nvPicPr>
        <p:blipFill>
          <a:blip r:embed="rId6">
            <a:alphaModFix amt="20000"/>
            <a:extLst>
              <a:ext uri="{28A0092B-C50C-407E-A947-70E740481C1C}">
                <a14:useLocalDpi xmlns:a14="http://schemas.microsoft.com/office/drawing/2010/main" val="0"/>
              </a:ext>
            </a:extLst>
          </a:blip>
          <a:srcRect l="35010" r="35010"/>
          <a:stretch/>
        </p:blipFill>
        <p:spPr>
          <a:xfrm>
            <a:off x="450414" y="17499"/>
            <a:ext cx="3285632" cy="6142015"/>
          </a:xfrm>
          <a:prstGeom prst="rect">
            <a:avLst/>
          </a:prstGeom>
        </p:spPr>
      </p:pic>
      <p:sp>
        <p:nvSpPr>
          <p:cNvPr id="12" name="Rectangle 11">
            <a:extLst>
              <a:ext uri="{FF2B5EF4-FFF2-40B4-BE49-F238E27FC236}">
                <a16:creationId xmlns:a16="http://schemas.microsoft.com/office/drawing/2014/main" id="{E56F9F21-F569-500A-5C33-0E4D57753E1D}"/>
              </a:ext>
            </a:extLst>
          </p:cNvPr>
          <p:cNvSpPr/>
          <p:nvPr/>
        </p:nvSpPr>
        <p:spPr>
          <a:xfrm>
            <a:off x="5402458" y="494727"/>
            <a:ext cx="4619708" cy="80213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63" name="Rectangle: Single Corner Rounded 62">
            <a:extLst>
              <a:ext uri="{FF2B5EF4-FFF2-40B4-BE49-F238E27FC236}">
                <a16:creationId xmlns:a16="http://schemas.microsoft.com/office/drawing/2014/main" id="{8168BEB4-56A8-545E-D3F8-C7332D0D0ACD}"/>
              </a:ext>
            </a:extLst>
          </p:cNvPr>
          <p:cNvSpPr/>
          <p:nvPr/>
        </p:nvSpPr>
        <p:spPr>
          <a:xfrm>
            <a:off x="995363" y="2114298"/>
            <a:ext cx="2607646" cy="3500118"/>
          </a:xfrm>
          <a:prstGeom prst="round1Rect">
            <a:avLst>
              <a:gd name="adj" fmla="val 1352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2" name="Title 1">
            <a:extLst>
              <a:ext uri="{FF2B5EF4-FFF2-40B4-BE49-F238E27FC236}">
                <a16:creationId xmlns:a16="http://schemas.microsoft.com/office/drawing/2014/main" id="{D58DFB3A-8615-36BA-F681-5C34F8F3255D}"/>
              </a:ext>
            </a:extLst>
          </p:cNvPr>
          <p:cNvSpPr>
            <a:spLocks noGrp="1"/>
          </p:cNvSpPr>
          <p:nvPr>
            <p:ph type="title"/>
          </p:nvPr>
        </p:nvSpPr>
        <p:spPr>
          <a:xfrm>
            <a:off x="998400" y="431800"/>
            <a:ext cx="2604609" cy="533400"/>
          </a:xfrm>
        </p:spPr>
        <p:txBody>
          <a:bodyPr vert="horz"/>
          <a:lstStyle/>
          <a:p>
            <a:r>
              <a:rPr lang="en-US">
                <a:solidFill>
                  <a:schemeClr val="bg1"/>
                </a:solidFill>
              </a:rPr>
              <a:t>Secure by</a:t>
            </a:r>
            <a:br>
              <a:rPr lang="en-US">
                <a:solidFill>
                  <a:schemeClr val="bg1"/>
                </a:solidFill>
              </a:rPr>
            </a:br>
            <a:r>
              <a:rPr lang="en-US">
                <a:solidFill>
                  <a:schemeClr val="bg1"/>
                </a:solidFill>
              </a:rPr>
              <a:t>Design for Agentic AI</a:t>
            </a:r>
          </a:p>
        </p:txBody>
      </p:sp>
      <p:sp>
        <p:nvSpPr>
          <p:cNvPr id="44" name="object 44">
            <a:extLst>
              <a:ext uri="{FF2B5EF4-FFF2-40B4-BE49-F238E27FC236}">
                <a16:creationId xmlns:a16="http://schemas.microsoft.com/office/drawing/2014/main" id="{0A13390F-9E99-3F98-CE20-05E18A23CD25}"/>
              </a:ext>
            </a:extLst>
          </p:cNvPr>
          <p:cNvSpPr txBox="1"/>
          <p:nvPr/>
        </p:nvSpPr>
        <p:spPr>
          <a:xfrm>
            <a:off x="1201052" y="2225304"/>
            <a:ext cx="2101706" cy="3049553"/>
          </a:xfrm>
          <a:prstGeom prst="rect">
            <a:avLst/>
          </a:prstGeom>
        </p:spPr>
        <p:txBody>
          <a:bodyPr vert="horz" wrap="square" lIns="0" tIns="12700" rIns="0" bIns="0" rtlCol="0">
            <a:spAutoFit/>
          </a:bodyPr>
          <a:lstStyle/>
          <a:p>
            <a:pPr marL="12700" marR="5080">
              <a:lnSpc>
                <a:spcPct val="100000"/>
              </a:lnSpc>
              <a:spcBef>
                <a:spcPts val="100"/>
              </a:spcBef>
            </a:pPr>
            <a:r>
              <a:rPr lang="en-US" sz="1400" b="1">
                <a:solidFill>
                  <a:srgbClr val="3B63E4"/>
                </a:solidFill>
                <a:cs typeface="Arial"/>
              </a:rPr>
              <a:t>Secure AI Adoption: From Pilot to Enterprise</a:t>
            </a:r>
          </a:p>
          <a:p>
            <a:pPr marL="12700" marR="5080">
              <a:lnSpc>
                <a:spcPct val="100000"/>
              </a:lnSpc>
              <a:spcBef>
                <a:spcPts val="100"/>
              </a:spcBef>
            </a:pPr>
            <a:endParaRPr lang="en-US" sz="1200">
              <a:cs typeface="Arial"/>
            </a:endParaRPr>
          </a:p>
          <a:p>
            <a:pPr marL="12700" marR="5080">
              <a:lnSpc>
                <a:spcPct val="100000"/>
              </a:lnSpc>
              <a:spcBef>
                <a:spcPts val="100"/>
              </a:spcBef>
            </a:pPr>
            <a:r>
              <a:rPr lang="en-US" sz="1100">
                <a:cs typeface="Arial"/>
              </a:rPr>
              <a:t>KPMG applies our </a:t>
            </a:r>
            <a:r>
              <a:rPr lang="en-US" sz="1100" b="1" i="1">
                <a:cs typeface="Arial"/>
              </a:rPr>
              <a:t>Trusted AI Framework</a:t>
            </a:r>
            <a:r>
              <a:rPr lang="en-US" sz="1100">
                <a:cs typeface="Arial"/>
              </a:rPr>
              <a:t> and </a:t>
            </a:r>
            <a:r>
              <a:rPr lang="en-US" sz="1100" b="1">
                <a:cs typeface="Arial"/>
              </a:rPr>
              <a:t>Agentic AI Security Methodology</a:t>
            </a:r>
            <a:r>
              <a:rPr lang="en-US" sz="1100">
                <a:cs typeface="Arial"/>
              </a:rPr>
              <a:t> to embed validated guardrails from day one. This secure-by-design approach supports risk mitigation, accelerating the safe adoption of your AI agents.</a:t>
            </a:r>
          </a:p>
          <a:p>
            <a:pPr marL="12700" marR="5080">
              <a:lnSpc>
                <a:spcPct val="100000"/>
              </a:lnSpc>
              <a:spcBef>
                <a:spcPts val="100"/>
              </a:spcBef>
            </a:pPr>
            <a:endParaRPr lang="en-US" sz="1100">
              <a:cs typeface="Arial"/>
            </a:endParaRPr>
          </a:p>
          <a:p>
            <a:pPr marL="12700" marR="5080">
              <a:lnSpc>
                <a:spcPct val="100000"/>
              </a:lnSpc>
              <a:spcBef>
                <a:spcPts val="100"/>
              </a:spcBef>
            </a:pPr>
            <a:r>
              <a:rPr lang="en-US" sz="1100">
                <a:cs typeface="Arial"/>
              </a:rPr>
              <a:t>Building on this foundation, we deliver a strategic Governance Roadmap to mature and scale security across Cigna's entire AI ecosystem.</a:t>
            </a:r>
          </a:p>
        </p:txBody>
      </p:sp>
      <p:sp>
        <p:nvSpPr>
          <p:cNvPr id="5" name="object 5">
            <a:extLst>
              <a:ext uri="{FF2B5EF4-FFF2-40B4-BE49-F238E27FC236}">
                <a16:creationId xmlns:a16="http://schemas.microsoft.com/office/drawing/2014/main" id="{789076E7-59C9-5F6B-0A1E-F66B7E8DD945}"/>
              </a:ext>
            </a:extLst>
          </p:cNvPr>
          <p:cNvSpPr txBox="1"/>
          <p:nvPr/>
        </p:nvSpPr>
        <p:spPr>
          <a:xfrm>
            <a:off x="6024436" y="1346442"/>
            <a:ext cx="3368160" cy="443070"/>
          </a:xfrm>
          <a:prstGeom prst="rect">
            <a:avLst/>
          </a:prstGeom>
        </p:spPr>
        <p:txBody>
          <a:bodyPr vert="horz" wrap="square" lIns="0" tIns="12065" rIns="0" bIns="0" rtlCol="0">
            <a:spAutoFit/>
          </a:bodyPr>
          <a:lstStyle/>
          <a:p>
            <a:pPr marL="12700">
              <a:lnSpc>
                <a:spcPct val="100000"/>
              </a:lnSpc>
              <a:spcBef>
                <a:spcPts val="95"/>
              </a:spcBef>
            </a:pPr>
            <a:r>
              <a:rPr lang="en-US" sz="2800" b="1">
                <a:solidFill>
                  <a:srgbClr val="00338D"/>
                </a:solidFill>
                <a:latin typeface="KPMG Bold"/>
                <a:cs typeface="KPMG Bold"/>
              </a:rPr>
              <a:t>Agentic AI Security</a:t>
            </a:r>
            <a:r>
              <a:rPr lang="en-US" sz="2800" b="1" spc="-40">
                <a:solidFill>
                  <a:srgbClr val="00338D"/>
                </a:solidFill>
                <a:latin typeface="KPMG Bold"/>
                <a:cs typeface="KPMG Bold"/>
              </a:rPr>
              <a:t> </a:t>
            </a:r>
            <a:r>
              <a:rPr lang="en-US" sz="2800" b="1" spc="-10">
                <a:solidFill>
                  <a:srgbClr val="00338D"/>
                </a:solidFill>
                <a:latin typeface="KPMG Bold"/>
                <a:cs typeface="KPMG Bold"/>
              </a:rPr>
              <a:t>Methodology</a:t>
            </a:r>
            <a:endParaRPr lang="en-US" sz="2800">
              <a:latin typeface="KPMG Bold"/>
              <a:cs typeface="KPMG Bold"/>
            </a:endParaRPr>
          </a:p>
        </p:txBody>
      </p:sp>
      <p:sp>
        <p:nvSpPr>
          <p:cNvPr id="3" name="object 3">
            <a:extLst>
              <a:ext uri="{FF2B5EF4-FFF2-40B4-BE49-F238E27FC236}">
                <a16:creationId xmlns:a16="http://schemas.microsoft.com/office/drawing/2014/main" id="{6398717D-E6DE-DF49-D73F-0F15BE8D0104}"/>
              </a:ext>
            </a:extLst>
          </p:cNvPr>
          <p:cNvSpPr/>
          <p:nvPr/>
        </p:nvSpPr>
        <p:spPr>
          <a:xfrm flipV="1">
            <a:off x="4011469" y="1612149"/>
            <a:ext cx="1799308" cy="40648"/>
          </a:xfrm>
          <a:custGeom>
            <a:avLst/>
            <a:gdLst/>
            <a:ahLst/>
            <a:cxnLst/>
            <a:rect l="l" t="t" r="r" b="b"/>
            <a:pathLst>
              <a:path w="2778760">
                <a:moveTo>
                  <a:pt x="0" y="0"/>
                </a:moveTo>
                <a:lnTo>
                  <a:pt x="2778633" y="0"/>
                </a:lnTo>
              </a:path>
            </a:pathLst>
          </a:custGeom>
          <a:ln w="12700">
            <a:solidFill>
              <a:srgbClr val="00338D"/>
            </a:solidFill>
          </a:ln>
        </p:spPr>
        <p:txBody>
          <a:bodyPr wrap="square" lIns="0" tIns="0" rIns="0" bIns="0" rtlCol="0"/>
          <a:lstStyle/>
          <a:p>
            <a:endParaRPr sz="1200"/>
          </a:p>
        </p:txBody>
      </p:sp>
      <p:sp>
        <p:nvSpPr>
          <p:cNvPr id="4" name="object 4">
            <a:extLst>
              <a:ext uri="{FF2B5EF4-FFF2-40B4-BE49-F238E27FC236}">
                <a16:creationId xmlns:a16="http://schemas.microsoft.com/office/drawing/2014/main" id="{CBDB68DF-39CC-4C25-1550-7673DE1FAC2A}"/>
              </a:ext>
            </a:extLst>
          </p:cNvPr>
          <p:cNvSpPr/>
          <p:nvPr/>
        </p:nvSpPr>
        <p:spPr>
          <a:xfrm flipV="1">
            <a:off x="9649895" y="1612150"/>
            <a:ext cx="1512578" cy="40648"/>
          </a:xfrm>
          <a:custGeom>
            <a:avLst/>
            <a:gdLst/>
            <a:ahLst/>
            <a:cxnLst/>
            <a:rect l="l" t="t" r="r" b="b"/>
            <a:pathLst>
              <a:path w="2521584">
                <a:moveTo>
                  <a:pt x="0" y="0"/>
                </a:moveTo>
                <a:lnTo>
                  <a:pt x="2521457" y="0"/>
                </a:lnTo>
              </a:path>
            </a:pathLst>
          </a:custGeom>
          <a:ln w="12700">
            <a:solidFill>
              <a:srgbClr val="00338D"/>
            </a:solidFill>
          </a:ln>
        </p:spPr>
        <p:txBody>
          <a:bodyPr wrap="square" lIns="0" tIns="0" rIns="0" bIns="0" rtlCol="0"/>
          <a:lstStyle/>
          <a:p>
            <a:endParaRPr sz="1200"/>
          </a:p>
        </p:txBody>
      </p:sp>
      <p:sp>
        <p:nvSpPr>
          <p:cNvPr id="9" name="object 9">
            <a:extLst>
              <a:ext uri="{FF2B5EF4-FFF2-40B4-BE49-F238E27FC236}">
                <a16:creationId xmlns:a16="http://schemas.microsoft.com/office/drawing/2014/main" id="{171F1952-7D6A-8490-A272-5F63B48B055C}"/>
              </a:ext>
            </a:extLst>
          </p:cNvPr>
          <p:cNvSpPr txBox="1"/>
          <p:nvPr/>
        </p:nvSpPr>
        <p:spPr>
          <a:xfrm>
            <a:off x="5045181" y="2708096"/>
            <a:ext cx="957552" cy="1120820"/>
          </a:xfrm>
          <a:prstGeom prst="rect">
            <a:avLst/>
          </a:prstGeom>
        </p:spPr>
        <p:txBody>
          <a:bodyPr vert="horz" wrap="square" lIns="91440" tIns="12700" rIns="0" bIns="0" rtlCol="0">
            <a:spAutoFit/>
          </a:bodyPr>
          <a:lstStyle/>
          <a:p>
            <a:pPr marR="130175" indent="1905">
              <a:lnSpc>
                <a:spcPct val="100000"/>
              </a:lnSpc>
              <a:spcBef>
                <a:spcPts val="100"/>
              </a:spcBef>
            </a:pPr>
            <a:r>
              <a:rPr lang="en-US" sz="900">
                <a:latin typeface="Arial"/>
                <a:cs typeface="Arial"/>
              </a:rPr>
              <a:t>Manage AI asset inventory and provenance, including the vetting of AI supply chain components</a:t>
            </a:r>
          </a:p>
        </p:txBody>
      </p:sp>
      <p:sp>
        <p:nvSpPr>
          <p:cNvPr id="11" name="object 11">
            <a:extLst>
              <a:ext uri="{FF2B5EF4-FFF2-40B4-BE49-F238E27FC236}">
                <a16:creationId xmlns:a16="http://schemas.microsoft.com/office/drawing/2014/main" id="{0E3C236E-ECF7-18CD-FF08-7DD692858A25}"/>
              </a:ext>
            </a:extLst>
          </p:cNvPr>
          <p:cNvSpPr txBox="1"/>
          <p:nvPr/>
        </p:nvSpPr>
        <p:spPr>
          <a:xfrm>
            <a:off x="6076665" y="2712829"/>
            <a:ext cx="1044950" cy="1259319"/>
          </a:xfrm>
          <a:prstGeom prst="rect">
            <a:avLst/>
          </a:prstGeom>
        </p:spPr>
        <p:txBody>
          <a:bodyPr vert="horz" wrap="square" lIns="91440" tIns="12700" rIns="0" bIns="0" rtlCol="0">
            <a:spAutoFit/>
          </a:bodyPr>
          <a:lstStyle/>
          <a:p>
            <a:pPr marR="149860">
              <a:lnSpc>
                <a:spcPct val="100000"/>
              </a:lnSpc>
              <a:spcBef>
                <a:spcPts val="100"/>
              </a:spcBef>
            </a:pPr>
            <a:r>
              <a:rPr lang="en-US" sz="900">
                <a:latin typeface="Arial"/>
                <a:cs typeface="Arial"/>
              </a:rPr>
              <a:t>Standardize zero‑trust access, privacy by design, and model hardening controls across agentic lifecycle</a:t>
            </a:r>
          </a:p>
        </p:txBody>
      </p:sp>
      <p:sp>
        <p:nvSpPr>
          <p:cNvPr id="13" name="object 13">
            <a:extLst>
              <a:ext uri="{FF2B5EF4-FFF2-40B4-BE49-F238E27FC236}">
                <a16:creationId xmlns:a16="http://schemas.microsoft.com/office/drawing/2014/main" id="{321A0715-DA3E-5D2C-D613-13500F5438E3}"/>
              </a:ext>
            </a:extLst>
          </p:cNvPr>
          <p:cNvSpPr txBox="1"/>
          <p:nvPr/>
        </p:nvSpPr>
        <p:spPr>
          <a:xfrm>
            <a:off x="7117161" y="2727399"/>
            <a:ext cx="957552" cy="982320"/>
          </a:xfrm>
          <a:prstGeom prst="rect">
            <a:avLst/>
          </a:prstGeom>
        </p:spPr>
        <p:txBody>
          <a:bodyPr vert="horz" wrap="square" lIns="91440" tIns="12700" rIns="0" bIns="0" rtlCol="0">
            <a:spAutoFit/>
          </a:bodyPr>
          <a:lstStyle/>
          <a:p>
            <a:pPr marR="41910" indent="1270">
              <a:lnSpc>
                <a:spcPct val="100000"/>
              </a:lnSpc>
              <a:spcBef>
                <a:spcPts val="100"/>
              </a:spcBef>
            </a:pPr>
            <a:r>
              <a:rPr lang="en-US" sz="900">
                <a:latin typeface="Arial"/>
                <a:cs typeface="Arial"/>
              </a:rPr>
              <a:t>Define risk baselines for monitoring and conduct adversarial testing (AI Red Teaming)</a:t>
            </a:r>
          </a:p>
        </p:txBody>
      </p:sp>
      <p:sp>
        <p:nvSpPr>
          <p:cNvPr id="15" name="object 15">
            <a:extLst>
              <a:ext uri="{FF2B5EF4-FFF2-40B4-BE49-F238E27FC236}">
                <a16:creationId xmlns:a16="http://schemas.microsoft.com/office/drawing/2014/main" id="{FE2F1454-3647-DF03-3148-A73C2513D903}"/>
              </a:ext>
            </a:extLst>
          </p:cNvPr>
          <p:cNvSpPr txBox="1"/>
          <p:nvPr/>
        </p:nvSpPr>
        <p:spPr>
          <a:xfrm>
            <a:off x="9171118" y="2775862"/>
            <a:ext cx="1122489" cy="1259319"/>
          </a:xfrm>
          <a:prstGeom prst="rect">
            <a:avLst/>
          </a:prstGeom>
        </p:spPr>
        <p:txBody>
          <a:bodyPr vert="horz" wrap="square" lIns="91440" tIns="12700" rIns="0" bIns="0" rtlCol="0">
            <a:spAutoFit/>
          </a:bodyPr>
          <a:lstStyle/>
          <a:p>
            <a:pPr marR="103505" indent="3175">
              <a:lnSpc>
                <a:spcPct val="100000"/>
              </a:lnSpc>
              <a:spcBef>
                <a:spcPts val="100"/>
              </a:spcBef>
            </a:pPr>
            <a:r>
              <a:rPr lang="en-US" sz="900">
                <a:latin typeface="Arial"/>
                <a:cs typeface="Arial"/>
              </a:rPr>
              <a:t>Establish and enforce retention/deletion policies for data assets and a decommissioning / sunsetting lifecycle for agents</a:t>
            </a:r>
          </a:p>
        </p:txBody>
      </p:sp>
      <p:sp>
        <p:nvSpPr>
          <p:cNvPr id="17" name="object 17">
            <a:extLst>
              <a:ext uri="{FF2B5EF4-FFF2-40B4-BE49-F238E27FC236}">
                <a16:creationId xmlns:a16="http://schemas.microsoft.com/office/drawing/2014/main" id="{DBE71730-2EC1-503B-C492-E569CAC31B43}"/>
              </a:ext>
            </a:extLst>
          </p:cNvPr>
          <p:cNvSpPr txBox="1"/>
          <p:nvPr/>
        </p:nvSpPr>
        <p:spPr>
          <a:xfrm>
            <a:off x="10202604" y="2775862"/>
            <a:ext cx="1018263" cy="1259319"/>
          </a:xfrm>
          <a:prstGeom prst="rect">
            <a:avLst/>
          </a:prstGeom>
        </p:spPr>
        <p:txBody>
          <a:bodyPr vert="horz" wrap="square" lIns="91440" tIns="12700" rIns="0" bIns="0" rtlCol="0">
            <a:spAutoFit/>
          </a:bodyPr>
          <a:lstStyle/>
          <a:p>
            <a:pPr marR="138430" indent="-635">
              <a:lnSpc>
                <a:spcPct val="100000"/>
              </a:lnSpc>
              <a:spcBef>
                <a:spcPts val="100"/>
              </a:spcBef>
            </a:pPr>
            <a:r>
              <a:rPr lang="en-US" sz="900" spc="-10">
                <a:latin typeface="Arial"/>
                <a:cs typeface="Arial"/>
              </a:rPr>
              <a:t>Establish role-based security training and continuous awareness programs for all stakeholders interacting with agentic AI</a:t>
            </a:r>
            <a:endParaRPr lang="en-US" sz="900">
              <a:latin typeface="Arial"/>
              <a:cs typeface="Arial"/>
            </a:endParaRPr>
          </a:p>
        </p:txBody>
      </p:sp>
      <p:sp>
        <p:nvSpPr>
          <p:cNvPr id="19" name="object 19">
            <a:extLst>
              <a:ext uri="{FF2B5EF4-FFF2-40B4-BE49-F238E27FC236}">
                <a16:creationId xmlns:a16="http://schemas.microsoft.com/office/drawing/2014/main" id="{6641DE1C-1879-ED4E-8BE7-943AAB42D57F}"/>
              </a:ext>
            </a:extLst>
          </p:cNvPr>
          <p:cNvSpPr txBox="1"/>
          <p:nvPr/>
        </p:nvSpPr>
        <p:spPr>
          <a:xfrm>
            <a:off x="8139633" y="2775862"/>
            <a:ext cx="1027031" cy="843821"/>
          </a:xfrm>
          <a:prstGeom prst="rect">
            <a:avLst/>
          </a:prstGeom>
        </p:spPr>
        <p:txBody>
          <a:bodyPr vert="horz" wrap="square" lIns="91440" tIns="12700" rIns="0" bIns="0" rtlCol="0">
            <a:spAutoFit/>
          </a:bodyPr>
          <a:lstStyle/>
          <a:p>
            <a:pPr marR="111760" indent="-1905">
              <a:lnSpc>
                <a:spcPct val="100000"/>
              </a:lnSpc>
              <a:spcBef>
                <a:spcPts val="100"/>
              </a:spcBef>
            </a:pPr>
            <a:r>
              <a:rPr lang="en-US" sz="900">
                <a:latin typeface="Arial"/>
                <a:cs typeface="Arial"/>
              </a:rPr>
              <a:t>Establish agentic response plan and implement recovery procedures</a:t>
            </a:r>
          </a:p>
        </p:txBody>
      </p:sp>
      <p:sp>
        <p:nvSpPr>
          <p:cNvPr id="34" name="object 34">
            <a:extLst>
              <a:ext uri="{FF2B5EF4-FFF2-40B4-BE49-F238E27FC236}">
                <a16:creationId xmlns:a16="http://schemas.microsoft.com/office/drawing/2014/main" id="{2C5F03C7-D99A-8A20-70D6-DFDC08EC75C0}"/>
              </a:ext>
            </a:extLst>
          </p:cNvPr>
          <p:cNvSpPr/>
          <p:nvPr/>
        </p:nvSpPr>
        <p:spPr>
          <a:xfrm>
            <a:off x="4011469" y="1888163"/>
            <a:ext cx="7150915" cy="227186"/>
          </a:xfrm>
          <a:custGeom>
            <a:avLst/>
            <a:gdLst/>
            <a:ahLst/>
            <a:cxnLst/>
            <a:rect l="l" t="t" r="r" b="b"/>
            <a:pathLst>
              <a:path w="10195560" h="329564">
                <a:moveTo>
                  <a:pt x="0" y="329184"/>
                </a:moveTo>
                <a:lnTo>
                  <a:pt x="10195560" y="329184"/>
                </a:lnTo>
                <a:lnTo>
                  <a:pt x="10195560" y="0"/>
                </a:lnTo>
                <a:lnTo>
                  <a:pt x="0" y="0"/>
                </a:lnTo>
                <a:lnTo>
                  <a:pt x="0" y="329184"/>
                </a:lnTo>
                <a:close/>
              </a:path>
            </a:pathLst>
          </a:custGeom>
          <a:solidFill>
            <a:schemeClr val="accent3"/>
          </a:solidFill>
          <a:ln w="6349">
            <a:solidFill>
              <a:srgbClr val="0C223B"/>
            </a:solidFill>
          </a:ln>
        </p:spPr>
        <p:txBody>
          <a:bodyPr wrap="square" lIns="0" tIns="0" rIns="0" bIns="0" rtlCol="0"/>
          <a:lstStyle/>
          <a:p>
            <a:endParaRPr sz="1200">
              <a:solidFill>
                <a:schemeClr val="bg1"/>
              </a:solidFill>
            </a:endParaRPr>
          </a:p>
        </p:txBody>
      </p:sp>
      <p:sp>
        <p:nvSpPr>
          <p:cNvPr id="35" name="object 35">
            <a:extLst>
              <a:ext uri="{FF2B5EF4-FFF2-40B4-BE49-F238E27FC236}">
                <a16:creationId xmlns:a16="http://schemas.microsoft.com/office/drawing/2014/main" id="{55B39D8D-B0C8-851B-4FBB-5225EE6303B9}"/>
              </a:ext>
            </a:extLst>
          </p:cNvPr>
          <p:cNvSpPr txBox="1"/>
          <p:nvPr/>
        </p:nvSpPr>
        <p:spPr>
          <a:xfrm>
            <a:off x="4009242" y="1885974"/>
            <a:ext cx="7153142" cy="436828"/>
          </a:xfrm>
          <a:prstGeom prst="rect">
            <a:avLst/>
          </a:prstGeom>
          <a:solidFill>
            <a:schemeClr val="accent3"/>
          </a:solidFill>
        </p:spPr>
        <p:txBody>
          <a:bodyPr vert="horz" wrap="square" lIns="0" tIns="72390" rIns="0" bIns="0" rtlCol="0">
            <a:noAutofit/>
          </a:bodyPr>
          <a:lstStyle/>
          <a:p>
            <a:pPr marL="3175" algn="ctr">
              <a:lnSpc>
                <a:spcPct val="100000"/>
              </a:lnSpc>
              <a:spcBef>
                <a:spcPts val="200"/>
              </a:spcBef>
            </a:pPr>
            <a:endParaRPr sz="1000">
              <a:solidFill>
                <a:schemeClr val="bg1"/>
              </a:solidFill>
              <a:latin typeface="Arial"/>
              <a:cs typeface="Arial"/>
            </a:endParaRPr>
          </a:p>
        </p:txBody>
      </p:sp>
      <p:sp>
        <p:nvSpPr>
          <p:cNvPr id="36" name="object 36">
            <a:extLst>
              <a:ext uri="{FF2B5EF4-FFF2-40B4-BE49-F238E27FC236}">
                <a16:creationId xmlns:a16="http://schemas.microsoft.com/office/drawing/2014/main" id="{A9E9ECA9-55C9-6AE0-CA1E-EC90633C2591}"/>
              </a:ext>
            </a:extLst>
          </p:cNvPr>
          <p:cNvSpPr/>
          <p:nvPr/>
        </p:nvSpPr>
        <p:spPr>
          <a:xfrm>
            <a:off x="4009242" y="2114298"/>
            <a:ext cx="7153142" cy="149011"/>
          </a:xfrm>
          <a:custGeom>
            <a:avLst/>
            <a:gdLst/>
            <a:ahLst/>
            <a:cxnLst/>
            <a:rect l="l" t="t" r="r" b="b"/>
            <a:pathLst>
              <a:path w="10195560" h="275589">
                <a:moveTo>
                  <a:pt x="0" y="275463"/>
                </a:moveTo>
                <a:lnTo>
                  <a:pt x="10195560" y="275463"/>
                </a:lnTo>
                <a:lnTo>
                  <a:pt x="10195560" y="0"/>
                </a:lnTo>
                <a:lnTo>
                  <a:pt x="0" y="0"/>
                </a:lnTo>
                <a:lnTo>
                  <a:pt x="0" y="275463"/>
                </a:lnTo>
                <a:close/>
              </a:path>
            </a:pathLst>
          </a:custGeom>
          <a:solidFill>
            <a:schemeClr val="accent3"/>
          </a:solidFill>
          <a:ln w="6350">
            <a:solidFill>
              <a:srgbClr val="0C223B"/>
            </a:solidFill>
          </a:ln>
        </p:spPr>
        <p:txBody>
          <a:bodyPr wrap="square" lIns="0" tIns="0" rIns="0" bIns="0" rtlCol="0"/>
          <a:lstStyle/>
          <a:p>
            <a:endParaRPr sz="1200">
              <a:solidFill>
                <a:schemeClr val="bg1"/>
              </a:solidFill>
            </a:endParaRPr>
          </a:p>
        </p:txBody>
      </p:sp>
      <p:sp>
        <p:nvSpPr>
          <p:cNvPr id="37" name="object 37">
            <a:extLst>
              <a:ext uri="{FF2B5EF4-FFF2-40B4-BE49-F238E27FC236}">
                <a16:creationId xmlns:a16="http://schemas.microsoft.com/office/drawing/2014/main" id="{CE87B56D-D8AF-2376-22C9-167C74452CFB}"/>
              </a:ext>
            </a:extLst>
          </p:cNvPr>
          <p:cNvSpPr txBox="1"/>
          <p:nvPr/>
        </p:nvSpPr>
        <p:spPr>
          <a:xfrm>
            <a:off x="4012582" y="2013908"/>
            <a:ext cx="7146461" cy="166712"/>
          </a:xfrm>
          <a:prstGeom prst="rect">
            <a:avLst/>
          </a:prstGeom>
          <a:solidFill>
            <a:schemeClr val="accent3"/>
          </a:solidFill>
        </p:spPr>
        <p:txBody>
          <a:bodyPr vert="horz" wrap="square" lIns="0" tIns="12700" rIns="0" bIns="0" rtlCol="0">
            <a:spAutoFit/>
          </a:bodyPr>
          <a:lstStyle/>
          <a:p>
            <a:pPr algn="ctr">
              <a:lnSpc>
                <a:spcPct val="100000"/>
              </a:lnSpc>
              <a:spcBef>
                <a:spcPts val="100"/>
              </a:spcBef>
            </a:pPr>
            <a:r>
              <a:rPr lang="en-US" sz="1000">
                <a:solidFill>
                  <a:schemeClr val="bg1"/>
                </a:solidFill>
                <a:latin typeface="Arial"/>
                <a:cs typeface="Arial"/>
              </a:rPr>
              <a:t>Enable secure and confident adoption of agentic AI by managing risk and helping ensure traceability across the full lifecycle</a:t>
            </a:r>
            <a:endParaRPr sz="1000">
              <a:solidFill>
                <a:schemeClr val="bg1"/>
              </a:solidFill>
              <a:latin typeface="Arial"/>
              <a:cs typeface="Arial"/>
            </a:endParaRPr>
          </a:p>
        </p:txBody>
      </p:sp>
      <p:sp>
        <p:nvSpPr>
          <p:cNvPr id="47" name="Rectangle 46">
            <a:extLst>
              <a:ext uri="{FF2B5EF4-FFF2-40B4-BE49-F238E27FC236}">
                <a16:creationId xmlns:a16="http://schemas.microsoft.com/office/drawing/2014/main" id="{9A3F7C42-81E7-66CE-15A2-5F4C0390EA37}"/>
              </a:ext>
            </a:extLst>
          </p:cNvPr>
          <p:cNvSpPr/>
          <p:nvPr/>
        </p:nvSpPr>
        <p:spPr>
          <a:xfrm>
            <a:off x="5973998" y="659157"/>
            <a:ext cx="1395824" cy="515914"/>
          </a:xfrm>
          <a:prstGeom prst="rect">
            <a:avLst/>
          </a:prstGeom>
          <a:ln>
            <a:solidFill>
              <a:schemeClr val="bg1"/>
            </a:solidFill>
          </a:ln>
        </p:spPr>
        <p:style>
          <a:lnRef idx="2">
            <a:schemeClr val="accent2"/>
          </a:lnRef>
          <a:fillRef idx="1">
            <a:schemeClr val="lt1"/>
          </a:fillRef>
          <a:effectRef idx="0">
            <a:schemeClr val="accent2"/>
          </a:effectRef>
          <a:fontRef idx="minor">
            <a:schemeClr val="dk1"/>
          </a:fontRef>
        </p:style>
        <p:txBody>
          <a:bodyPr lIns="54610" tIns="54610" rIns="54610" bIns="54610" rtlCol="0" anchor="ctr"/>
          <a:lstStyle/>
          <a:p>
            <a:pPr marL="91440" lvl="2" algn="ctr"/>
            <a:r>
              <a:rPr lang="en-US" sz="900" b="1"/>
              <a:t>UAR </a:t>
            </a:r>
            <a:br>
              <a:rPr lang="en-US" sz="900" b="1"/>
            </a:br>
            <a:r>
              <a:rPr lang="en-US" sz="900" b="1"/>
              <a:t>Analyzer Agent</a:t>
            </a:r>
          </a:p>
        </p:txBody>
      </p:sp>
      <p:sp>
        <p:nvSpPr>
          <p:cNvPr id="48" name="Rectangle 47">
            <a:extLst>
              <a:ext uri="{FF2B5EF4-FFF2-40B4-BE49-F238E27FC236}">
                <a16:creationId xmlns:a16="http://schemas.microsoft.com/office/drawing/2014/main" id="{9899DC8E-7AE3-568A-1E7E-D58B65A3EDAD}"/>
              </a:ext>
            </a:extLst>
          </p:cNvPr>
          <p:cNvSpPr/>
          <p:nvPr/>
        </p:nvSpPr>
        <p:spPr>
          <a:xfrm>
            <a:off x="8037588" y="671938"/>
            <a:ext cx="1395824" cy="515914"/>
          </a:xfrm>
          <a:prstGeom prst="rect">
            <a:avLst/>
          </a:prstGeom>
          <a:ln>
            <a:solidFill>
              <a:schemeClr val="bg1"/>
            </a:solidFill>
          </a:ln>
        </p:spPr>
        <p:style>
          <a:lnRef idx="2">
            <a:schemeClr val="accent2"/>
          </a:lnRef>
          <a:fillRef idx="1">
            <a:schemeClr val="lt1"/>
          </a:fillRef>
          <a:effectRef idx="0">
            <a:schemeClr val="accent2"/>
          </a:effectRef>
          <a:fontRef idx="minor">
            <a:schemeClr val="dk1"/>
          </a:fontRef>
        </p:style>
        <p:txBody>
          <a:bodyPr lIns="54610" tIns="54610" rIns="54610" bIns="54610" rtlCol="0" anchor="ctr"/>
          <a:lstStyle/>
          <a:p>
            <a:pPr marL="91440" lvl="2" algn="ctr"/>
            <a:r>
              <a:rPr lang="en-US" sz="900" b="1"/>
              <a:t>Non-Human Identity Ownership Agent</a:t>
            </a:r>
          </a:p>
        </p:txBody>
      </p:sp>
      <p:grpSp>
        <p:nvGrpSpPr>
          <p:cNvPr id="62" name="Group 61">
            <a:extLst>
              <a:ext uri="{FF2B5EF4-FFF2-40B4-BE49-F238E27FC236}">
                <a16:creationId xmlns:a16="http://schemas.microsoft.com/office/drawing/2014/main" id="{0600C6B4-7E98-35AA-EA9F-011285B379BC}"/>
              </a:ext>
            </a:extLst>
          </p:cNvPr>
          <p:cNvGrpSpPr/>
          <p:nvPr/>
        </p:nvGrpSpPr>
        <p:grpSpPr>
          <a:xfrm>
            <a:off x="4139081" y="4594430"/>
            <a:ext cx="7146461" cy="1371799"/>
            <a:chOff x="4394764" y="4470201"/>
            <a:chExt cx="5130236" cy="1498798"/>
          </a:xfrm>
          <a:gradFill>
            <a:gsLst>
              <a:gs pos="0">
                <a:schemeClr val="accent1"/>
              </a:gs>
              <a:gs pos="100000">
                <a:schemeClr val="tx2"/>
              </a:gs>
            </a:gsLst>
            <a:lin ang="5400000" scaled="1"/>
          </a:gradFill>
        </p:grpSpPr>
        <p:sp>
          <p:nvSpPr>
            <p:cNvPr id="86" name="object 42">
              <a:extLst>
                <a:ext uri="{FF2B5EF4-FFF2-40B4-BE49-F238E27FC236}">
                  <a16:creationId xmlns:a16="http://schemas.microsoft.com/office/drawing/2014/main" id="{E1B20566-E7D3-8219-400A-3274699157D7}"/>
                </a:ext>
              </a:extLst>
            </p:cNvPr>
            <p:cNvSpPr txBox="1"/>
            <p:nvPr/>
          </p:nvSpPr>
          <p:spPr>
            <a:xfrm>
              <a:off x="7002684" y="4470202"/>
              <a:ext cx="2522316" cy="1498797"/>
            </a:xfrm>
            <a:prstGeom prst="rect">
              <a:avLst/>
            </a:prstGeom>
            <a:solidFill>
              <a:srgbClr val="2AAAF0"/>
            </a:solidFill>
          </p:spPr>
          <p:txBody>
            <a:bodyPr vert="horz" wrap="square" lIns="91440" tIns="91440" rIns="91440" bIns="91440" rtlCol="0">
              <a:noAutofit/>
            </a:bodyPr>
            <a:lstStyle/>
            <a:p>
              <a:pPr>
                <a:lnSpc>
                  <a:spcPct val="100000"/>
                </a:lnSpc>
                <a:spcBef>
                  <a:spcPts val="140"/>
                </a:spcBef>
              </a:pPr>
              <a:r>
                <a:rPr lang="en-US" sz="1400" spc="-10">
                  <a:solidFill>
                    <a:schemeClr val="bg1"/>
                  </a:solidFill>
                  <a:latin typeface="+mj-lt"/>
                  <a:cs typeface="KPMG Bold"/>
                </a:rPr>
                <a:t>Governance Roadmap</a:t>
              </a:r>
            </a:p>
            <a:p>
              <a:pPr>
                <a:lnSpc>
                  <a:spcPct val="100000"/>
                </a:lnSpc>
                <a:spcBef>
                  <a:spcPts val="140"/>
                </a:spcBef>
              </a:pPr>
              <a:endParaRPr lang="en-US" sz="600" spc="-10">
                <a:solidFill>
                  <a:schemeClr val="bg1"/>
                </a:solidFill>
                <a:latin typeface="+mj-lt"/>
                <a:cs typeface="KPMG Bold"/>
              </a:endParaRPr>
            </a:p>
            <a:p>
              <a:pPr>
                <a:lnSpc>
                  <a:spcPct val="100000"/>
                </a:lnSpc>
                <a:spcBef>
                  <a:spcPts val="140"/>
                </a:spcBef>
              </a:pPr>
              <a:endParaRPr lang="en-US" sz="100" spc="-10">
                <a:solidFill>
                  <a:schemeClr val="bg1"/>
                </a:solidFill>
                <a:latin typeface="+mj-lt"/>
                <a:cs typeface="KPMG Bold"/>
              </a:endParaRPr>
            </a:p>
            <a:p>
              <a:pPr>
                <a:lnSpc>
                  <a:spcPct val="100000"/>
                </a:lnSpc>
                <a:spcBef>
                  <a:spcPts val="140"/>
                </a:spcBef>
              </a:pPr>
              <a:r>
                <a:rPr lang="en-US" sz="900">
                  <a:solidFill>
                    <a:schemeClr val="bg1"/>
                  </a:solidFill>
                  <a:cs typeface="KPMG Bold"/>
                </a:rPr>
                <a:t>Building on the foundational guardrails, the Governance Roadmap provides a strategic plan to support the scaling and maturing of AI security capabilities across the enterprise. Aligned with the NIST AI RMF, this roadmap outlines a clear path for enhancing Cigna's AI governance, risk, and compliance (GRC) posture, ensuring sustainable, long-term resilience.</a:t>
              </a:r>
            </a:p>
          </p:txBody>
        </p:sp>
        <p:sp>
          <p:nvSpPr>
            <p:cNvPr id="87" name="object 42">
              <a:extLst>
                <a:ext uri="{FF2B5EF4-FFF2-40B4-BE49-F238E27FC236}">
                  <a16:creationId xmlns:a16="http://schemas.microsoft.com/office/drawing/2014/main" id="{06750229-6F4C-9609-32F4-162F317B31A4}"/>
                </a:ext>
              </a:extLst>
            </p:cNvPr>
            <p:cNvSpPr txBox="1"/>
            <p:nvPr/>
          </p:nvSpPr>
          <p:spPr>
            <a:xfrm>
              <a:off x="4394764" y="4470201"/>
              <a:ext cx="2522316" cy="1498797"/>
            </a:xfrm>
            <a:prstGeom prst="rect">
              <a:avLst/>
            </a:prstGeom>
            <a:solidFill>
              <a:srgbClr val="2AAAF0"/>
            </a:solidFill>
          </p:spPr>
          <p:txBody>
            <a:bodyPr vert="horz" wrap="square" lIns="91440" tIns="91440" rIns="91440" bIns="91440" rtlCol="0">
              <a:noAutofit/>
            </a:bodyPr>
            <a:lstStyle/>
            <a:p>
              <a:pPr>
                <a:lnSpc>
                  <a:spcPct val="100000"/>
                </a:lnSpc>
                <a:spcBef>
                  <a:spcPts val="140"/>
                </a:spcBef>
              </a:pPr>
              <a:r>
                <a:rPr lang="en-US" sz="1400" spc="-10">
                  <a:solidFill>
                    <a:schemeClr val="bg1"/>
                  </a:solidFill>
                  <a:latin typeface="+mj-lt"/>
                  <a:cs typeface="KPMG Bold"/>
                </a:rPr>
                <a:t>Foundational Guardrails</a:t>
              </a:r>
            </a:p>
            <a:p>
              <a:pPr>
                <a:lnSpc>
                  <a:spcPct val="100000"/>
                </a:lnSpc>
                <a:spcBef>
                  <a:spcPts val="140"/>
                </a:spcBef>
              </a:pPr>
              <a:endParaRPr lang="en-US" sz="600" spc="-10">
                <a:solidFill>
                  <a:schemeClr val="bg1"/>
                </a:solidFill>
                <a:latin typeface="+mj-lt"/>
                <a:cs typeface="KPMG Bold"/>
              </a:endParaRPr>
            </a:p>
            <a:p>
              <a:pPr>
                <a:lnSpc>
                  <a:spcPct val="100000"/>
                </a:lnSpc>
                <a:spcBef>
                  <a:spcPts val="140"/>
                </a:spcBef>
              </a:pPr>
              <a:endParaRPr lang="en-US" sz="100" spc="-10">
                <a:solidFill>
                  <a:schemeClr val="bg1"/>
                </a:solidFill>
                <a:latin typeface="+mj-lt"/>
                <a:cs typeface="KPMG Bold"/>
              </a:endParaRPr>
            </a:p>
            <a:p>
              <a:pPr>
                <a:spcBef>
                  <a:spcPts val="140"/>
                </a:spcBef>
              </a:pPr>
              <a:r>
                <a:rPr lang="en-US" sz="900">
                  <a:solidFill>
                    <a:schemeClr val="bg1"/>
                  </a:solidFill>
                </a:rPr>
                <a:t>KPMG implements foundational guardrails by applying the Agentic AI Security Methodology to designated AI agents, beginning in the design phase. These safeguards ensure Cigna’s AI systems are built to be secure, resilient, and auditable, establishing a true "secure by design" posture from day one.</a:t>
              </a:r>
            </a:p>
          </p:txBody>
        </p:sp>
      </p:grpSp>
      <p:sp>
        <p:nvSpPr>
          <p:cNvPr id="39" name="object 21">
            <a:extLst>
              <a:ext uri="{FF2B5EF4-FFF2-40B4-BE49-F238E27FC236}">
                <a16:creationId xmlns:a16="http://schemas.microsoft.com/office/drawing/2014/main" id="{12EC63A1-42BD-CDBE-2E48-42195690FB57}"/>
              </a:ext>
            </a:extLst>
          </p:cNvPr>
          <p:cNvSpPr txBox="1"/>
          <p:nvPr/>
        </p:nvSpPr>
        <p:spPr>
          <a:xfrm>
            <a:off x="4009241" y="2361520"/>
            <a:ext cx="966460" cy="352863"/>
          </a:xfrm>
          <a:prstGeom prst="rect">
            <a:avLst/>
          </a:prstGeom>
          <a:solidFill>
            <a:srgbClr val="00338D"/>
          </a:solidFill>
        </p:spPr>
        <p:txBody>
          <a:bodyPr vert="horz" wrap="square" lIns="91440" tIns="0" rIns="0" bIns="0" rtlCol="0" anchor="ctr">
            <a:noAutofit/>
          </a:bodyPr>
          <a:lstStyle/>
          <a:p>
            <a:pPr>
              <a:lnSpc>
                <a:spcPct val="100000"/>
              </a:lnSpc>
              <a:spcBef>
                <a:spcPts val="200"/>
              </a:spcBef>
            </a:pPr>
            <a:r>
              <a:rPr lang="en-US" sz="800" b="1" spc="-10">
                <a:solidFill>
                  <a:srgbClr val="FFFFFF"/>
                </a:solidFill>
                <a:latin typeface="Arial"/>
                <a:cs typeface="Arial"/>
              </a:rPr>
              <a:t>Gove</a:t>
            </a:r>
            <a:r>
              <a:rPr sz="800" b="1" spc="-10">
                <a:solidFill>
                  <a:srgbClr val="FFFFFF"/>
                </a:solidFill>
                <a:latin typeface="Arial"/>
                <a:cs typeface="Arial"/>
              </a:rPr>
              <a:t>rnance</a:t>
            </a:r>
            <a:endParaRPr sz="800">
              <a:latin typeface="Arial"/>
              <a:cs typeface="Arial"/>
            </a:endParaRPr>
          </a:p>
        </p:txBody>
      </p:sp>
      <p:sp>
        <p:nvSpPr>
          <p:cNvPr id="40" name="object 23">
            <a:extLst>
              <a:ext uri="{FF2B5EF4-FFF2-40B4-BE49-F238E27FC236}">
                <a16:creationId xmlns:a16="http://schemas.microsoft.com/office/drawing/2014/main" id="{A56E56FB-C694-CD00-6F12-3C1D80DF1670}"/>
              </a:ext>
            </a:extLst>
          </p:cNvPr>
          <p:cNvSpPr txBox="1"/>
          <p:nvPr/>
        </p:nvSpPr>
        <p:spPr>
          <a:xfrm>
            <a:off x="5040727" y="2361520"/>
            <a:ext cx="966460" cy="352863"/>
          </a:xfrm>
          <a:prstGeom prst="rect">
            <a:avLst/>
          </a:prstGeom>
          <a:solidFill>
            <a:srgbClr val="1E48E1"/>
          </a:solidFill>
        </p:spPr>
        <p:txBody>
          <a:bodyPr vert="horz" wrap="square" lIns="91440" tIns="45085" rIns="0" bIns="0" rtlCol="0" anchor="ctr">
            <a:noAutofit/>
          </a:bodyPr>
          <a:lstStyle/>
          <a:p>
            <a:pPr marR="197485">
              <a:lnSpc>
                <a:spcPct val="100000"/>
              </a:lnSpc>
              <a:spcBef>
                <a:spcPts val="355"/>
              </a:spcBef>
            </a:pPr>
            <a:r>
              <a:rPr sz="800" b="1">
                <a:solidFill>
                  <a:srgbClr val="FFFFFF"/>
                </a:solidFill>
                <a:latin typeface="Arial"/>
                <a:cs typeface="Arial"/>
              </a:rPr>
              <a:t>Discovery</a:t>
            </a:r>
            <a:r>
              <a:rPr sz="800" b="1" spc="-65">
                <a:solidFill>
                  <a:srgbClr val="FFFFFF"/>
                </a:solidFill>
                <a:latin typeface="Arial"/>
                <a:cs typeface="Arial"/>
              </a:rPr>
              <a:t> </a:t>
            </a:r>
            <a:r>
              <a:rPr sz="800" b="1" spc="-50">
                <a:solidFill>
                  <a:srgbClr val="FFFFFF"/>
                </a:solidFill>
                <a:latin typeface="Arial"/>
                <a:cs typeface="Arial"/>
              </a:rPr>
              <a:t>&amp; </a:t>
            </a:r>
            <a:r>
              <a:rPr lang="en-US" sz="800" b="1" spc="-10">
                <a:solidFill>
                  <a:srgbClr val="FFFFFF"/>
                </a:solidFill>
                <a:latin typeface="Arial"/>
                <a:cs typeface="Arial"/>
              </a:rPr>
              <a:t>C</a:t>
            </a:r>
            <a:r>
              <a:rPr sz="800" b="1" spc="-10">
                <a:solidFill>
                  <a:srgbClr val="FFFFFF"/>
                </a:solidFill>
                <a:latin typeface="Arial"/>
                <a:cs typeface="Arial"/>
              </a:rPr>
              <a:t>lassification</a:t>
            </a:r>
            <a:endParaRPr sz="800">
              <a:latin typeface="Arial"/>
              <a:cs typeface="Arial"/>
            </a:endParaRPr>
          </a:p>
        </p:txBody>
      </p:sp>
      <p:sp>
        <p:nvSpPr>
          <p:cNvPr id="41" name="object 25">
            <a:extLst>
              <a:ext uri="{FF2B5EF4-FFF2-40B4-BE49-F238E27FC236}">
                <a16:creationId xmlns:a16="http://schemas.microsoft.com/office/drawing/2014/main" id="{B587D4E6-9224-6DA5-C08D-ACCEC10BDAA5}"/>
              </a:ext>
            </a:extLst>
          </p:cNvPr>
          <p:cNvSpPr txBox="1"/>
          <p:nvPr/>
        </p:nvSpPr>
        <p:spPr>
          <a:xfrm>
            <a:off x="6080976" y="2361520"/>
            <a:ext cx="966460" cy="352863"/>
          </a:xfrm>
          <a:prstGeom prst="rect">
            <a:avLst/>
          </a:prstGeom>
          <a:solidFill>
            <a:srgbClr val="00B8F5"/>
          </a:solidFill>
        </p:spPr>
        <p:txBody>
          <a:bodyPr vert="horz" wrap="square" lIns="91440" tIns="0" rIns="0" bIns="0" rtlCol="0" anchor="ctr" anchorCtr="0">
            <a:noAutofit/>
          </a:bodyPr>
          <a:lstStyle/>
          <a:p>
            <a:pPr>
              <a:lnSpc>
                <a:spcPct val="100000"/>
              </a:lnSpc>
            </a:pPr>
            <a:r>
              <a:rPr sz="800" b="1" spc="-10">
                <a:solidFill>
                  <a:srgbClr val="FFFFFF"/>
                </a:solidFill>
                <a:latin typeface="Arial"/>
                <a:cs typeface="Arial"/>
              </a:rPr>
              <a:t>Protection</a:t>
            </a:r>
            <a:endParaRPr sz="800">
              <a:latin typeface="Arial"/>
              <a:cs typeface="Arial"/>
            </a:endParaRPr>
          </a:p>
        </p:txBody>
      </p:sp>
      <p:sp>
        <p:nvSpPr>
          <p:cNvPr id="42" name="object 27">
            <a:extLst>
              <a:ext uri="{FF2B5EF4-FFF2-40B4-BE49-F238E27FC236}">
                <a16:creationId xmlns:a16="http://schemas.microsoft.com/office/drawing/2014/main" id="{5604F45E-D9F4-650F-5660-5CEF36D0BD4D}"/>
              </a:ext>
            </a:extLst>
          </p:cNvPr>
          <p:cNvSpPr txBox="1"/>
          <p:nvPr/>
        </p:nvSpPr>
        <p:spPr>
          <a:xfrm>
            <a:off x="7103697" y="2361520"/>
            <a:ext cx="966460" cy="352863"/>
          </a:xfrm>
          <a:prstGeom prst="rect">
            <a:avLst/>
          </a:prstGeom>
          <a:solidFill>
            <a:srgbClr val="7112EA"/>
          </a:solidFill>
        </p:spPr>
        <p:txBody>
          <a:bodyPr vert="horz" wrap="square" lIns="91440" tIns="0" rIns="0" bIns="0" rtlCol="0" anchor="ctr">
            <a:noAutofit/>
          </a:bodyPr>
          <a:lstStyle/>
          <a:p>
            <a:pPr>
              <a:lnSpc>
                <a:spcPct val="100000"/>
              </a:lnSpc>
              <a:spcBef>
                <a:spcPts val="1075"/>
              </a:spcBef>
            </a:pPr>
            <a:r>
              <a:rPr sz="800" b="1" spc="-10">
                <a:solidFill>
                  <a:srgbClr val="FFFFFF"/>
                </a:solidFill>
                <a:latin typeface="Arial"/>
                <a:cs typeface="Arial"/>
              </a:rPr>
              <a:t>Monitoring</a:t>
            </a:r>
            <a:r>
              <a:rPr lang="en-US" sz="800" b="1" spc="-10">
                <a:solidFill>
                  <a:srgbClr val="FFFFFF"/>
                </a:solidFill>
                <a:latin typeface="Arial"/>
                <a:cs typeface="Arial"/>
              </a:rPr>
              <a:t> &amp; Testing</a:t>
            </a:r>
            <a:endParaRPr lang="en-US" sz="800">
              <a:latin typeface="Arial"/>
              <a:cs typeface="Arial"/>
            </a:endParaRPr>
          </a:p>
        </p:txBody>
      </p:sp>
      <p:sp>
        <p:nvSpPr>
          <p:cNvPr id="43" name="object 29">
            <a:extLst>
              <a:ext uri="{FF2B5EF4-FFF2-40B4-BE49-F238E27FC236}">
                <a16:creationId xmlns:a16="http://schemas.microsoft.com/office/drawing/2014/main" id="{767B28FB-AFA1-F3E8-E7D4-0DF6B247E8EB}"/>
              </a:ext>
            </a:extLst>
          </p:cNvPr>
          <p:cNvSpPr txBox="1"/>
          <p:nvPr/>
        </p:nvSpPr>
        <p:spPr>
          <a:xfrm>
            <a:off x="8135181" y="2361520"/>
            <a:ext cx="966460" cy="352863"/>
          </a:xfrm>
          <a:prstGeom prst="rect">
            <a:avLst/>
          </a:prstGeom>
          <a:solidFill>
            <a:srgbClr val="76D2FF"/>
          </a:solidFill>
        </p:spPr>
        <p:txBody>
          <a:bodyPr vert="horz" wrap="square" lIns="91440" tIns="45085" rIns="0" bIns="0" rtlCol="0" anchor="ctr">
            <a:noAutofit/>
          </a:bodyPr>
          <a:lstStyle/>
          <a:p>
            <a:pPr marR="239395">
              <a:lnSpc>
                <a:spcPct val="100000"/>
              </a:lnSpc>
              <a:spcBef>
                <a:spcPts val="355"/>
              </a:spcBef>
            </a:pPr>
            <a:r>
              <a:rPr sz="800" b="1">
                <a:solidFill>
                  <a:srgbClr val="FFFFFF"/>
                </a:solidFill>
                <a:latin typeface="Arial"/>
                <a:cs typeface="Arial"/>
              </a:rPr>
              <a:t>Response</a:t>
            </a:r>
            <a:r>
              <a:rPr sz="800" b="1" spc="-35">
                <a:solidFill>
                  <a:srgbClr val="FFFFFF"/>
                </a:solidFill>
                <a:latin typeface="Arial"/>
                <a:cs typeface="Arial"/>
              </a:rPr>
              <a:t> </a:t>
            </a:r>
            <a:r>
              <a:rPr sz="800" b="1" spc="-60">
                <a:solidFill>
                  <a:srgbClr val="FFFFFF"/>
                </a:solidFill>
                <a:latin typeface="Arial"/>
                <a:cs typeface="Arial"/>
              </a:rPr>
              <a:t>&amp; </a:t>
            </a:r>
            <a:r>
              <a:rPr sz="800" b="1" spc="-10">
                <a:solidFill>
                  <a:srgbClr val="FFFFFF"/>
                </a:solidFill>
                <a:latin typeface="Arial"/>
                <a:cs typeface="Arial"/>
              </a:rPr>
              <a:t>Recovery</a:t>
            </a:r>
            <a:endParaRPr sz="800">
              <a:latin typeface="Arial"/>
              <a:cs typeface="Arial"/>
            </a:endParaRPr>
          </a:p>
        </p:txBody>
      </p:sp>
      <p:sp>
        <p:nvSpPr>
          <p:cNvPr id="46" name="object 31">
            <a:extLst>
              <a:ext uri="{FF2B5EF4-FFF2-40B4-BE49-F238E27FC236}">
                <a16:creationId xmlns:a16="http://schemas.microsoft.com/office/drawing/2014/main" id="{A8FA3429-0643-6342-C504-1595AF68E79F}"/>
              </a:ext>
            </a:extLst>
          </p:cNvPr>
          <p:cNvSpPr txBox="1"/>
          <p:nvPr/>
        </p:nvSpPr>
        <p:spPr>
          <a:xfrm>
            <a:off x="9166665" y="2361520"/>
            <a:ext cx="966460" cy="352863"/>
          </a:xfrm>
          <a:prstGeom prst="rect">
            <a:avLst/>
          </a:prstGeom>
          <a:solidFill>
            <a:srgbClr val="098E7D"/>
          </a:solidFill>
        </p:spPr>
        <p:txBody>
          <a:bodyPr vert="horz" wrap="square" lIns="91440" tIns="45085" rIns="0" bIns="0" rtlCol="0" anchor="ctr">
            <a:noAutofit/>
          </a:bodyPr>
          <a:lstStyle/>
          <a:p>
            <a:pPr marR="303530">
              <a:lnSpc>
                <a:spcPct val="100000"/>
              </a:lnSpc>
              <a:spcBef>
                <a:spcPts val="355"/>
              </a:spcBef>
            </a:pPr>
            <a:r>
              <a:rPr sz="800" b="1">
                <a:solidFill>
                  <a:srgbClr val="FFFFFF"/>
                </a:solidFill>
                <a:latin typeface="Arial"/>
                <a:cs typeface="Arial"/>
              </a:rPr>
              <a:t>Archival</a:t>
            </a:r>
            <a:r>
              <a:rPr sz="800" b="1" spc="-60">
                <a:solidFill>
                  <a:srgbClr val="FFFFFF"/>
                </a:solidFill>
                <a:latin typeface="Arial"/>
                <a:cs typeface="Arial"/>
              </a:rPr>
              <a:t> </a:t>
            </a:r>
            <a:r>
              <a:rPr sz="800" b="1" spc="-50">
                <a:solidFill>
                  <a:srgbClr val="FFFFFF"/>
                </a:solidFill>
                <a:latin typeface="Arial"/>
                <a:cs typeface="Arial"/>
              </a:rPr>
              <a:t>&amp; </a:t>
            </a:r>
            <a:r>
              <a:rPr lang="en-US" sz="800" b="1" spc="-10">
                <a:solidFill>
                  <a:srgbClr val="FFFFFF"/>
                </a:solidFill>
                <a:latin typeface="Arial"/>
                <a:cs typeface="Arial"/>
              </a:rPr>
              <a:t>D</a:t>
            </a:r>
            <a:r>
              <a:rPr sz="800" b="1" spc="-10">
                <a:solidFill>
                  <a:srgbClr val="FFFFFF"/>
                </a:solidFill>
                <a:latin typeface="Arial"/>
                <a:cs typeface="Arial"/>
              </a:rPr>
              <a:t>eletion</a:t>
            </a:r>
            <a:endParaRPr sz="800">
              <a:latin typeface="Arial"/>
              <a:cs typeface="Arial"/>
            </a:endParaRPr>
          </a:p>
        </p:txBody>
      </p:sp>
      <p:sp>
        <p:nvSpPr>
          <p:cNvPr id="52" name="object 33">
            <a:extLst>
              <a:ext uri="{FF2B5EF4-FFF2-40B4-BE49-F238E27FC236}">
                <a16:creationId xmlns:a16="http://schemas.microsoft.com/office/drawing/2014/main" id="{FAF21107-9271-FB56-DD0A-8C1E0472F03D}"/>
              </a:ext>
            </a:extLst>
          </p:cNvPr>
          <p:cNvSpPr txBox="1"/>
          <p:nvPr/>
        </p:nvSpPr>
        <p:spPr>
          <a:xfrm>
            <a:off x="10198151" y="2361520"/>
            <a:ext cx="966460" cy="352863"/>
          </a:xfrm>
          <a:prstGeom prst="rect">
            <a:avLst/>
          </a:prstGeom>
          <a:solidFill>
            <a:srgbClr val="00C0AD"/>
          </a:solidFill>
        </p:spPr>
        <p:txBody>
          <a:bodyPr vert="horz" wrap="square" lIns="91440" tIns="45085" rIns="0" bIns="0" rtlCol="0" anchor="ctr">
            <a:noAutofit/>
          </a:bodyPr>
          <a:lstStyle/>
          <a:p>
            <a:pPr marR="288925">
              <a:lnSpc>
                <a:spcPct val="100000"/>
              </a:lnSpc>
              <a:spcBef>
                <a:spcPts val="355"/>
              </a:spcBef>
            </a:pPr>
            <a:r>
              <a:rPr sz="800" b="1" spc="-10">
                <a:solidFill>
                  <a:srgbClr val="FFFFFF"/>
                </a:solidFill>
                <a:latin typeface="Arial"/>
                <a:cs typeface="Arial"/>
              </a:rPr>
              <a:t>Training</a:t>
            </a:r>
            <a:r>
              <a:rPr sz="800" b="1" spc="-30">
                <a:solidFill>
                  <a:srgbClr val="FFFFFF"/>
                </a:solidFill>
                <a:latin typeface="Arial"/>
                <a:cs typeface="Arial"/>
              </a:rPr>
              <a:t> </a:t>
            </a:r>
            <a:r>
              <a:rPr sz="800" b="1" spc="-50">
                <a:solidFill>
                  <a:srgbClr val="FFFFFF"/>
                </a:solidFill>
                <a:latin typeface="Arial"/>
                <a:cs typeface="Arial"/>
              </a:rPr>
              <a:t>&amp; </a:t>
            </a:r>
            <a:r>
              <a:rPr lang="en-US" sz="800" b="1" spc="-10">
                <a:solidFill>
                  <a:srgbClr val="FFFFFF"/>
                </a:solidFill>
                <a:latin typeface="Arial"/>
                <a:cs typeface="Arial"/>
              </a:rPr>
              <a:t>A</a:t>
            </a:r>
            <a:r>
              <a:rPr sz="800" b="1" spc="-10">
                <a:solidFill>
                  <a:srgbClr val="FFFFFF"/>
                </a:solidFill>
                <a:latin typeface="Arial"/>
                <a:cs typeface="Arial"/>
              </a:rPr>
              <a:t>wareness</a:t>
            </a:r>
            <a:endParaRPr sz="800">
              <a:latin typeface="Arial"/>
              <a:cs typeface="Arial"/>
            </a:endParaRPr>
          </a:p>
        </p:txBody>
      </p:sp>
      <p:pic>
        <p:nvPicPr>
          <p:cNvPr id="10" name="Graphic 9" descr="Robot outline">
            <a:extLst>
              <a:ext uri="{FF2B5EF4-FFF2-40B4-BE49-F238E27FC236}">
                <a16:creationId xmlns:a16="http://schemas.microsoft.com/office/drawing/2014/main" id="{EDACDCD2-68BB-845D-C4AF-CABA9527D8D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54707" y="730865"/>
            <a:ext cx="365760" cy="365760"/>
          </a:xfrm>
          <a:prstGeom prst="rect">
            <a:avLst/>
          </a:prstGeom>
        </p:spPr>
      </p:pic>
      <p:sp>
        <p:nvSpPr>
          <p:cNvPr id="14" name="TextBox 13">
            <a:extLst>
              <a:ext uri="{FF2B5EF4-FFF2-40B4-BE49-F238E27FC236}">
                <a16:creationId xmlns:a16="http://schemas.microsoft.com/office/drawing/2014/main" id="{13F32AAD-D004-EF3A-D53A-3354A1F88157}"/>
              </a:ext>
            </a:extLst>
          </p:cNvPr>
          <p:cNvSpPr txBox="1"/>
          <p:nvPr/>
        </p:nvSpPr>
        <p:spPr>
          <a:xfrm>
            <a:off x="6781966" y="384317"/>
            <a:ext cx="1661556" cy="238061"/>
          </a:xfrm>
          <a:prstGeom prst="rect">
            <a:avLst/>
          </a:prstGeom>
          <a:solidFill>
            <a:schemeClr val="bg1"/>
          </a:solidFill>
        </p:spPr>
        <p:txBody>
          <a:bodyPr vert="horz" wrap="square" lIns="0" tIns="0" rIns="0" bIns="0" rtlCol="0" anchor="t" anchorCtr="0">
            <a:noAutofit/>
          </a:bodyPr>
          <a:lstStyle/>
          <a:p>
            <a:pPr algn="ctr">
              <a:spcAft>
                <a:spcPts val="600"/>
              </a:spcAft>
            </a:pPr>
            <a:r>
              <a:rPr lang="en-US" sz="1200" b="1">
                <a:solidFill>
                  <a:schemeClr val="accent1"/>
                </a:solidFill>
              </a:rPr>
              <a:t>Proposed Agents</a:t>
            </a:r>
          </a:p>
        </p:txBody>
      </p:sp>
      <p:sp>
        <p:nvSpPr>
          <p:cNvPr id="6" name="object 9">
            <a:extLst>
              <a:ext uri="{FF2B5EF4-FFF2-40B4-BE49-F238E27FC236}">
                <a16:creationId xmlns:a16="http://schemas.microsoft.com/office/drawing/2014/main" id="{20EC1ECD-B0F4-21D0-86EF-809919BB3EDD}"/>
              </a:ext>
            </a:extLst>
          </p:cNvPr>
          <p:cNvSpPr txBox="1"/>
          <p:nvPr/>
        </p:nvSpPr>
        <p:spPr>
          <a:xfrm>
            <a:off x="4017262" y="2708096"/>
            <a:ext cx="957552" cy="995144"/>
          </a:xfrm>
          <a:prstGeom prst="rect">
            <a:avLst/>
          </a:prstGeom>
        </p:spPr>
        <p:txBody>
          <a:bodyPr vert="horz" wrap="square" lIns="91440" tIns="12700" rIns="0" bIns="0" rtlCol="0">
            <a:spAutoFit/>
          </a:bodyPr>
          <a:lstStyle/>
          <a:p>
            <a:pPr marR="130175" indent="1905">
              <a:lnSpc>
                <a:spcPct val="100000"/>
              </a:lnSpc>
              <a:spcBef>
                <a:spcPts val="100"/>
              </a:spcBef>
            </a:pPr>
            <a:r>
              <a:rPr lang="en-US" sz="900">
                <a:latin typeface="Arial"/>
                <a:cs typeface="Arial"/>
              </a:rPr>
              <a:t>Establish enterprise agentic AI governance </a:t>
            </a:r>
          </a:p>
          <a:p>
            <a:pPr marR="130175" indent="1905">
              <a:lnSpc>
                <a:spcPct val="100000"/>
              </a:lnSpc>
              <a:spcBef>
                <a:spcPts val="100"/>
              </a:spcBef>
            </a:pPr>
            <a:r>
              <a:rPr lang="en-US" sz="900">
                <a:latin typeface="Arial"/>
                <a:cs typeface="Arial"/>
              </a:rPr>
              <a:t>and risk management standards</a:t>
            </a:r>
          </a:p>
        </p:txBody>
      </p:sp>
      <p:cxnSp>
        <p:nvCxnSpPr>
          <p:cNvPr id="24" name="Connector: Curved 23">
            <a:extLst>
              <a:ext uri="{FF2B5EF4-FFF2-40B4-BE49-F238E27FC236}">
                <a16:creationId xmlns:a16="http://schemas.microsoft.com/office/drawing/2014/main" id="{2D12FA7E-467C-A864-A7F0-BF4F2FEB42E0}"/>
              </a:ext>
            </a:extLst>
          </p:cNvPr>
          <p:cNvCxnSpPr>
            <a:cxnSpLocks/>
            <a:stCxn id="12" idx="1"/>
          </p:cNvCxnSpPr>
          <p:nvPr/>
        </p:nvCxnSpPr>
        <p:spPr>
          <a:xfrm rot="10800000" flipV="1">
            <a:off x="4934240" y="895795"/>
            <a:ext cx="468219" cy="676704"/>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Connector: Curved 27">
            <a:extLst>
              <a:ext uri="{FF2B5EF4-FFF2-40B4-BE49-F238E27FC236}">
                <a16:creationId xmlns:a16="http://schemas.microsoft.com/office/drawing/2014/main" id="{B83D79C5-8E57-0D96-C7FA-C56C64BFD8D3}"/>
              </a:ext>
            </a:extLst>
          </p:cNvPr>
          <p:cNvCxnSpPr>
            <a:cxnSpLocks/>
            <a:stCxn id="12" idx="3"/>
          </p:cNvCxnSpPr>
          <p:nvPr/>
        </p:nvCxnSpPr>
        <p:spPr>
          <a:xfrm>
            <a:off x="10022166" y="895795"/>
            <a:ext cx="457653" cy="680342"/>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object 3">
            <a:extLst>
              <a:ext uri="{FF2B5EF4-FFF2-40B4-BE49-F238E27FC236}">
                <a16:creationId xmlns:a16="http://schemas.microsoft.com/office/drawing/2014/main" id="{C1B42D39-8669-3AE3-89B8-C4C12AC17D55}"/>
              </a:ext>
            </a:extLst>
          </p:cNvPr>
          <p:cNvSpPr/>
          <p:nvPr/>
        </p:nvSpPr>
        <p:spPr>
          <a:xfrm>
            <a:off x="4069786" y="4165861"/>
            <a:ext cx="7085916" cy="83039"/>
          </a:xfrm>
          <a:custGeom>
            <a:avLst/>
            <a:gdLst/>
            <a:ahLst/>
            <a:cxnLst/>
            <a:rect l="l" t="t" r="r" b="b"/>
            <a:pathLst>
              <a:path w="2778760">
                <a:moveTo>
                  <a:pt x="0" y="0"/>
                </a:moveTo>
                <a:lnTo>
                  <a:pt x="2778633" y="0"/>
                </a:lnTo>
              </a:path>
            </a:pathLst>
          </a:custGeom>
          <a:ln w="12700">
            <a:solidFill>
              <a:srgbClr val="00338D"/>
            </a:solidFill>
          </a:ln>
        </p:spPr>
        <p:txBody>
          <a:bodyPr wrap="square" lIns="0" tIns="0" rIns="0" bIns="0" rtlCol="0"/>
          <a:lstStyle/>
          <a:p>
            <a:endParaRPr sz="1200"/>
          </a:p>
        </p:txBody>
      </p:sp>
      <p:pic>
        <p:nvPicPr>
          <p:cNvPr id="23" name="Graphic 22" descr="Caret Right with solid fill">
            <a:extLst>
              <a:ext uri="{FF2B5EF4-FFF2-40B4-BE49-F238E27FC236}">
                <a16:creationId xmlns:a16="http://schemas.microsoft.com/office/drawing/2014/main" id="{FAD068D9-BB0B-1F81-346C-A13B7AB5C04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4962636" y="3943904"/>
            <a:ext cx="914400" cy="914400"/>
          </a:xfrm>
          <a:prstGeom prst="rect">
            <a:avLst/>
          </a:prstGeom>
        </p:spPr>
      </p:pic>
      <p:pic>
        <p:nvPicPr>
          <p:cNvPr id="25" name="Graphic 24" descr="Caret Right with solid fill">
            <a:extLst>
              <a:ext uri="{FF2B5EF4-FFF2-40B4-BE49-F238E27FC236}">
                <a16:creationId xmlns:a16="http://schemas.microsoft.com/office/drawing/2014/main" id="{F35FE24F-7FD1-EE42-1756-78D6443EE19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9520920" y="3937476"/>
            <a:ext cx="914400" cy="914400"/>
          </a:xfrm>
          <a:prstGeom prst="rect">
            <a:avLst/>
          </a:prstGeom>
        </p:spPr>
      </p:pic>
      <p:pic>
        <p:nvPicPr>
          <p:cNvPr id="26" name="Graphic 25" descr="Caret Right with solid fill">
            <a:extLst>
              <a:ext uri="{FF2B5EF4-FFF2-40B4-BE49-F238E27FC236}">
                <a16:creationId xmlns:a16="http://schemas.microsoft.com/office/drawing/2014/main" id="{3373AFC9-92AC-50A6-0BA4-6538C239ADB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7251316" y="3949459"/>
            <a:ext cx="914400" cy="914400"/>
          </a:xfrm>
          <a:prstGeom prst="rect">
            <a:avLst/>
          </a:prstGeom>
        </p:spPr>
      </p:pic>
      <p:pic>
        <p:nvPicPr>
          <p:cNvPr id="29" name="Graphic 28" descr="Head with gears outline">
            <a:extLst>
              <a:ext uri="{FF2B5EF4-FFF2-40B4-BE49-F238E27FC236}">
                <a16:creationId xmlns:a16="http://schemas.microsoft.com/office/drawing/2014/main" id="{7A96E6FF-21CA-EBA9-B30F-9D4CB47974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13120" y="747607"/>
            <a:ext cx="365760" cy="365760"/>
          </a:xfrm>
          <a:prstGeom prst="rect">
            <a:avLst/>
          </a:prstGeom>
        </p:spPr>
      </p:pic>
      <p:sp>
        <p:nvSpPr>
          <p:cNvPr id="84" name="Text Placeholder 6">
            <a:extLst>
              <a:ext uri="{FF2B5EF4-FFF2-40B4-BE49-F238E27FC236}">
                <a16:creationId xmlns:a16="http://schemas.microsoft.com/office/drawing/2014/main" id="{094B7D66-4A48-AB2A-74C6-D5B9846A6549}"/>
              </a:ext>
            </a:extLst>
          </p:cNvPr>
          <p:cNvSpPr txBox="1">
            <a:spLocks/>
          </p:cNvSpPr>
          <p:nvPr/>
        </p:nvSpPr>
        <p:spPr>
          <a:xfrm>
            <a:off x="598476" y="158175"/>
            <a:ext cx="5334288" cy="169200"/>
          </a:xfrm>
          <a:prstGeom prst="rect">
            <a:avLst/>
          </a:prstGeom>
        </p:spPr>
        <p:txBody>
          <a:bodyPr/>
          <a:lstStyle>
            <a:lvl1pPr marL="0" indent="0" algn="l" defTabSz="914400" rtl="0" eaLnBrk="1" latinLnBrk="0" hangingPunct="1">
              <a:lnSpc>
                <a:spcPct val="100000"/>
              </a:lnSpc>
              <a:spcBef>
                <a:spcPts val="0"/>
              </a:spcBef>
              <a:spcAft>
                <a:spcPts val="600"/>
              </a:spcAft>
              <a:buFontTx/>
              <a:buNone/>
              <a:defRPr sz="1600" b="0" kern="1200">
                <a:solidFill>
                  <a:schemeClr val="tx1"/>
                </a:solidFill>
                <a:latin typeface="+mn-lt"/>
                <a:ea typeface="+mn-ea"/>
                <a:cs typeface="+mn-cs"/>
              </a:defRPr>
            </a:lvl1pPr>
            <a:lvl2pPr marL="171450" indent="-17145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2pPr>
            <a:lvl3pPr marL="341313" indent="-1651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3pPr>
            <a:lvl4pPr marL="573088" indent="-2317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4pPr>
            <a:lvl5pPr marL="803275"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defRPr/>
            </a:pPr>
            <a:r>
              <a:rPr lang="en-GB" sz="1000" b="1">
                <a:solidFill>
                  <a:srgbClr val="FFFFFF"/>
                </a:solidFill>
                <a:latin typeface="Arial"/>
              </a:rPr>
              <a:t>02. Our Approach &amp; Methodology </a:t>
            </a:r>
          </a:p>
        </p:txBody>
      </p:sp>
    </p:spTree>
    <p:extLst>
      <p:ext uri="{BB962C8B-B14F-4D97-AF65-F5344CB8AC3E}">
        <p14:creationId xmlns:p14="http://schemas.microsoft.com/office/powerpoint/2010/main" val="34336508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C5DD8-47EB-8B0B-EE84-41924F555F7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F4D4602-B599-CF1F-A8E7-99F90CF6474F}"/>
              </a:ext>
            </a:extLst>
          </p:cNvPr>
          <p:cNvGraphicFramePr>
            <a:graphicFrameLocks noChangeAspect="1"/>
          </p:cNvGraphicFramePr>
          <p:nvPr>
            <p:custDataLst>
              <p:tags r:id="rId1"/>
            </p:custDataLst>
            <p:extLst>
              <p:ext uri="{D42A27DB-BD31-4B8C-83A1-F6EECF244321}">
                <p14:modId xmlns:p14="http://schemas.microsoft.com/office/powerpoint/2010/main" val="913778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8" imgH="349" progId="TCLayout.ActiveDocument.1">
                  <p:embed/>
                </p:oleObj>
              </mc:Choice>
              <mc:Fallback>
                <p:oleObj name="think-cell Slide" r:id="rId4" imgW="348" imgH="349" progId="TCLayout.ActiveDocument.1">
                  <p:embed/>
                  <p:pic>
                    <p:nvPicPr>
                      <p:cNvPr id="4" name="think-cell data - do not delete" hidden="1">
                        <a:extLst>
                          <a:ext uri="{FF2B5EF4-FFF2-40B4-BE49-F238E27FC236}">
                            <a16:creationId xmlns:a16="http://schemas.microsoft.com/office/drawing/2014/main" id="{BF4D4602-B599-CF1F-A8E7-99F90CF647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F15C7546-1138-8D8A-1A87-D5140B5F9E82}"/>
              </a:ext>
            </a:extLst>
          </p:cNvPr>
          <p:cNvSpPr txBox="1"/>
          <p:nvPr/>
        </p:nvSpPr>
        <p:spPr>
          <a:xfrm>
            <a:off x="733225" y="1426516"/>
            <a:ext cx="2618712" cy="20292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a:defRPr sz="15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GB">
              <a:solidFill>
                <a:schemeClr val="tx1"/>
              </a:solidFill>
            </a:endParaRPr>
          </a:p>
        </p:txBody>
      </p:sp>
      <p:sp>
        <p:nvSpPr>
          <p:cNvPr id="25" name="Flowchart: Connector 24">
            <a:extLst>
              <a:ext uri="{FF2B5EF4-FFF2-40B4-BE49-F238E27FC236}">
                <a16:creationId xmlns:a16="http://schemas.microsoft.com/office/drawing/2014/main" id="{3B43884D-1494-94A0-DC99-0A635DFC7DE9}"/>
              </a:ext>
            </a:extLst>
          </p:cNvPr>
          <p:cNvSpPr/>
          <p:nvPr/>
        </p:nvSpPr>
        <p:spPr>
          <a:xfrm>
            <a:off x="1651357" y="1320752"/>
            <a:ext cx="659207" cy="659207"/>
          </a:xfrm>
          <a:prstGeom prst="flowChartConnector">
            <a:avLst/>
          </a:prstGeom>
          <a:solidFill>
            <a:schemeClr val="bg1"/>
          </a:solidFill>
          <a:ln>
            <a:solidFill>
              <a:srgbClr val="2EC8B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3" name="Title 2">
            <a:extLst>
              <a:ext uri="{FF2B5EF4-FFF2-40B4-BE49-F238E27FC236}">
                <a16:creationId xmlns:a16="http://schemas.microsoft.com/office/drawing/2014/main" id="{56CC6476-2377-307E-03A5-E6AEB379A627}"/>
              </a:ext>
            </a:extLst>
          </p:cNvPr>
          <p:cNvSpPr>
            <a:spLocks noGrp="1"/>
          </p:cNvSpPr>
          <p:nvPr>
            <p:ph type="title"/>
          </p:nvPr>
        </p:nvSpPr>
        <p:spPr/>
        <p:txBody>
          <a:bodyPr vert="horz"/>
          <a:lstStyle/>
          <a:p>
            <a:r>
              <a:rPr lang="en-US"/>
              <a:t>Accelerate agentic value realization and adoption</a:t>
            </a:r>
          </a:p>
        </p:txBody>
      </p:sp>
      <p:sp>
        <p:nvSpPr>
          <p:cNvPr id="7" name="Text Placeholder 6">
            <a:extLst>
              <a:ext uri="{FF2B5EF4-FFF2-40B4-BE49-F238E27FC236}">
                <a16:creationId xmlns:a16="http://schemas.microsoft.com/office/drawing/2014/main" id="{F9083B19-BECC-56AC-D0AE-8B2BDBE98073}"/>
              </a:ext>
            </a:extLst>
          </p:cNvPr>
          <p:cNvSpPr>
            <a:spLocks noGrp="1"/>
          </p:cNvSpPr>
          <p:nvPr>
            <p:ph type="body" sz="quarter" idx="11"/>
          </p:nvPr>
        </p:nvSpPr>
        <p:spPr/>
        <p:txBody>
          <a:bodyPr/>
          <a:lstStyle/>
          <a:p>
            <a:pPr>
              <a:defRPr/>
            </a:pPr>
            <a:r>
              <a:rPr lang="en-US" sz="1000" b="1">
                <a:solidFill>
                  <a:srgbClr val="FFFFFF"/>
                </a:solidFill>
                <a:latin typeface="Arial"/>
              </a:rPr>
              <a:t>02. Our Approach &amp; Methodology </a:t>
            </a:r>
          </a:p>
        </p:txBody>
      </p:sp>
      <p:sp>
        <p:nvSpPr>
          <p:cNvPr id="9" name="TextBox 8">
            <a:extLst>
              <a:ext uri="{FF2B5EF4-FFF2-40B4-BE49-F238E27FC236}">
                <a16:creationId xmlns:a16="http://schemas.microsoft.com/office/drawing/2014/main" id="{F6C80C89-DEB3-05BB-0F50-511D1527C742}"/>
              </a:ext>
            </a:extLst>
          </p:cNvPr>
          <p:cNvSpPr txBox="1"/>
          <p:nvPr/>
        </p:nvSpPr>
        <p:spPr>
          <a:xfrm>
            <a:off x="3404577" y="1426516"/>
            <a:ext cx="2618712" cy="2029237"/>
          </a:xfrm>
          <a:prstGeom prst="rect">
            <a:avLst/>
          </a:prstGeom>
          <a:solidFill>
            <a:schemeClr val="bg1"/>
          </a:solidFill>
        </p:spPr>
        <p:txBody>
          <a:bodyPr wrap="square" lIns="180000" tIns="720000" rIns="180000" bIns="180000" rtlCol="0">
            <a:no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GB" sz="1000" i="0" u="none" strike="noStrike" kern="1200" cap="none" spc="0" normalizeH="0" baseline="0" noProof="0">
                <a:ln>
                  <a:noFill/>
                </a:ln>
                <a:effectLst/>
                <a:uLnTx/>
                <a:uFillTx/>
                <a:latin typeface="Arial"/>
                <a:ea typeface="+mn-ea"/>
                <a:cs typeface="+mn-cs"/>
              </a:rPr>
              <a:t>.</a:t>
            </a:r>
          </a:p>
          <a:p>
            <a:pPr marL="0" marR="0" lvl="0" indent="0" algn="l" defTabSz="914400" rtl="0" eaLnBrk="1" fontAlgn="auto" latinLnBrk="0" hangingPunct="1">
              <a:lnSpc>
                <a:spcPct val="110000"/>
              </a:lnSpc>
              <a:spcBef>
                <a:spcPts val="0"/>
              </a:spcBef>
              <a:spcAft>
                <a:spcPts val="600"/>
              </a:spcAft>
              <a:buClrTx/>
              <a:buSzTx/>
              <a:buFontTx/>
              <a:buNone/>
              <a:tabLst/>
              <a:defRPr/>
            </a:pPr>
            <a:endParaRPr kumimoji="0" lang="en-GB" sz="100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430822A1-9B9D-2498-386B-3E1DE1F560BD}"/>
              </a:ext>
            </a:extLst>
          </p:cNvPr>
          <p:cNvSpPr txBox="1"/>
          <p:nvPr/>
        </p:nvSpPr>
        <p:spPr>
          <a:xfrm>
            <a:off x="6075929" y="1426516"/>
            <a:ext cx="2618712" cy="2029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a:defRPr sz="15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GB">
              <a:solidFill>
                <a:schemeClr val="tx1"/>
              </a:solidFill>
            </a:endParaRPr>
          </a:p>
        </p:txBody>
      </p:sp>
      <p:sp>
        <p:nvSpPr>
          <p:cNvPr id="17" name="TextBox 16">
            <a:extLst>
              <a:ext uri="{FF2B5EF4-FFF2-40B4-BE49-F238E27FC236}">
                <a16:creationId xmlns:a16="http://schemas.microsoft.com/office/drawing/2014/main" id="{E0020848-78B5-A818-19D4-928A5B8B6B16}"/>
              </a:ext>
            </a:extLst>
          </p:cNvPr>
          <p:cNvSpPr txBox="1"/>
          <p:nvPr/>
        </p:nvSpPr>
        <p:spPr>
          <a:xfrm>
            <a:off x="8747280" y="1426516"/>
            <a:ext cx="2618712" cy="2029237"/>
          </a:xfrm>
          <a:prstGeom prst="rect">
            <a:avLst/>
          </a:prstGeom>
          <a:solidFill>
            <a:schemeClr val="bg1"/>
          </a:solidFill>
        </p:spPr>
        <p:txBody>
          <a:bodyPr wrap="square" lIns="180000" tIns="720000" rIns="180000" bIns="180000" rtlCol="0">
            <a:no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endParaRPr kumimoji="0" lang="en-GB" sz="1000" i="0" u="none" strike="noStrike" kern="1200" cap="none" spc="0" normalizeH="0" baseline="0" noProof="0">
              <a:ln>
                <a:noFill/>
              </a:ln>
              <a:effectLst/>
              <a:uLnTx/>
              <a:uFillTx/>
              <a:latin typeface="Arial"/>
              <a:ea typeface="+mn-ea"/>
              <a:cs typeface="+mn-cs"/>
            </a:endParaRPr>
          </a:p>
        </p:txBody>
      </p:sp>
      <p:sp>
        <p:nvSpPr>
          <p:cNvPr id="23" name="TextBox 22">
            <a:extLst>
              <a:ext uri="{FF2B5EF4-FFF2-40B4-BE49-F238E27FC236}">
                <a16:creationId xmlns:a16="http://schemas.microsoft.com/office/drawing/2014/main" id="{D0CE1439-7289-A28A-7A66-0A9BA2D98593}"/>
              </a:ext>
            </a:extLst>
          </p:cNvPr>
          <p:cNvSpPr txBox="1"/>
          <p:nvPr/>
        </p:nvSpPr>
        <p:spPr>
          <a:xfrm>
            <a:off x="685600" y="3618260"/>
            <a:ext cx="2618712" cy="2029237"/>
          </a:xfrm>
          <a:prstGeom prst="rect">
            <a:avLst/>
          </a:prstGeom>
          <a:solidFill>
            <a:schemeClr val="bg1"/>
          </a:solidFill>
        </p:spPr>
        <p:txBody>
          <a:bodyPr wrap="square" lIns="180000" tIns="720000" rIns="180000" bIns="180000" rtlCol="0">
            <a:noAutofit/>
          </a:bodyPr>
          <a:lstStyle/>
          <a:p>
            <a:pPr marL="0" marR="0" lvl="0" indent="0" algn="l" defTabSz="914400" rtl="0" eaLnBrk="1" fontAlgn="auto" latinLnBrk="0" hangingPunct="1">
              <a:lnSpc>
                <a:spcPct val="110000"/>
              </a:lnSpc>
              <a:spcBef>
                <a:spcPts val="0"/>
              </a:spcBef>
              <a:spcAft>
                <a:spcPts val="300"/>
              </a:spcAft>
              <a:buClrTx/>
              <a:buSzTx/>
              <a:buFontTx/>
              <a:buNone/>
              <a:tabLst/>
              <a:defRPr/>
            </a:pPr>
            <a:endParaRPr kumimoji="0" lang="en-GB" sz="1000" i="0" u="none" strike="noStrike" kern="1200" cap="none" spc="0" normalizeH="0" baseline="0" noProof="0">
              <a:ln>
                <a:noFill/>
              </a:ln>
              <a:effectLst/>
              <a:uLnTx/>
              <a:uFillTx/>
              <a:latin typeface="Arial"/>
              <a:ea typeface="+mn-ea"/>
              <a:cs typeface="+mn-cs"/>
            </a:endParaRPr>
          </a:p>
        </p:txBody>
      </p:sp>
      <p:sp>
        <p:nvSpPr>
          <p:cNvPr id="26" name="TextBox 25">
            <a:extLst>
              <a:ext uri="{FF2B5EF4-FFF2-40B4-BE49-F238E27FC236}">
                <a16:creationId xmlns:a16="http://schemas.microsoft.com/office/drawing/2014/main" id="{1826C823-D0E3-4A48-3DF5-C2D849FFF19A}"/>
              </a:ext>
            </a:extLst>
          </p:cNvPr>
          <p:cNvSpPr txBox="1"/>
          <p:nvPr/>
        </p:nvSpPr>
        <p:spPr>
          <a:xfrm>
            <a:off x="3404577" y="3618260"/>
            <a:ext cx="2618712" cy="2029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a:defRPr sz="15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GB">
              <a:solidFill>
                <a:schemeClr val="tx1"/>
              </a:solidFill>
            </a:endParaRPr>
          </a:p>
        </p:txBody>
      </p:sp>
      <p:sp>
        <p:nvSpPr>
          <p:cNvPr id="29" name="TextBox 28">
            <a:extLst>
              <a:ext uri="{FF2B5EF4-FFF2-40B4-BE49-F238E27FC236}">
                <a16:creationId xmlns:a16="http://schemas.microsoft.com/office/drawing/2014/main" id="{A5632402-BBCF-4B56-E4CE-B93B160A11C0}"/>
              </a:ext>
            </a:extLst>
          </p:cNvPr>
          <p:cNvSpPr txBox="1"/>
          <p:nvPr/>
        </p:nvSpPr>
        <p:spPr>
          <a:xfrm>
            <a:off x="6075929" y="3618260"/>
            <a:ext cx="2618712" cy="2029237"/>
          </a:xfrm>
          <a:prstGeom prst="rect">
            <a:avLst/>
          </a:prstGeom>
          <a:solidFill>
            <a:schemeClr val="bg1"/>
          </a:solidFill>
        </p:spPr>
        <p:txBody>
          <a:bodyPr wrap="square" lIns="180000" tIns="720000" rIns="180000" bIns="180000" rtlCol="0">
            <a:no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endParaRPr kumimoji="0" lang="en-GB" sz="1000" i="0" u="none" strike="noStrike" kern="1200" cap="none" spc="0" normalizeH="0" baseline="0" noProof="0">
              <a:ln>
                <a:noFill/>
              </a:ln>
              <a:effectLst/>
              <a:uLnTx/>
              <a:uFillTx/>
              <a:latin typeface="Arial"/>
              <a:ea typeface="+mn-ea"/>
              <a:cs typeface="+mn-cs"/>
            </a:endParaRPr>
          </a:p>
        </p:txBody>
      </p:sp>
      <p:sp>
        <p:nvSpPr>
          <p:cNvPr id="32" name="TextBox 31">
            <a:extLst>
              <a:ext uri="{FF2B5EF4-FFF2-40B4-BE49-F238E27FC236}">
                <a16:creationId xmlns:a16="http://schemas.microsoft.com/office/drawing/2014/main" id="{62EE6AB7-D12F-75D5-B193-BD28746869E8}"/>
              </a:ext>
            </a:extLst>
          </p:cNvPr>
          <p:cNvSpPr txBox="1"/>
          <p:nvPr/>
        </p:nvSpPr>
        <p:spPr>
          <a:xfrm>
            <a:off x="8747280" y="3618260"/>
            <a:ext cx="2618712" cy="2029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a:defRPr sz="15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GB">
              <a:solidFill>
                <a:schemeClr val="tx1"/>
              </a:solidFill>
            </a:endParaRPr>
          </a:p>
        </p:txBody>
      </p:sp>
      <p:sp>
        <p:nvSpPr>
          <p:cNvPr id="34" name="TextBox 33">
            <a:extLst>
              <a:ext uri="{FF2B5EF4-FFF2-40B4-BE49-F238E27FC236}">
                <a16:creationId xmlns:a16="http://schemas.microsoft.com/office/drawing/2014/main" id="{5A038242-7C5C-ECB0-7B32-8EC0D1B66C58}"/>
              </a:ext>
            </a:extLst>
          </p:cNvPr>
          <p:cNvSpPr txBox="1"/>
          <p:nvPr/>
        </p:nvSpPr>
        <p:spPr>
          <a:xfrm>
            <a:off x="784243" y="2214402"/>
            <a:ext cx="2560320" cy="457200"/>
          </a:xfrm>
          <a:prstGeom prst="rect">
            <a:avLst/>
          </a:prstGeom>
          <a:noFill/>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i="0" u="none" strike="noStrike" kern="1200" cap="none" spc="0" normalizeH="0" baseline="0" noProof="0">
                <a:ln>
                  <a:noFill/>
                </a:ln>
                <a:effectLst/>
                <a:uLnTx/>
                <a:uFillTx/>
                <a:latin typeface="+mj-lt"/>
                <a:ea typeface="+mn-ea"/>
                <a:cs typeface="+mn-cs"/>
              </a:rPr>
              <a:t>Re‑imagine workflows, not just the agent</a:t>
            </a:r>
          </a:p>
        </p:txBody>
      </p:sp>
      <p:sp>
        <p:nvSpPr>
          <p:cNvPr id="35" name="TextBox 34">
            <a:extLst>
              <a:ext uri="{FF2B5EF4-FFF2-40B4-BE49-F238E27FC236}">
                <a16:creationId xmlns:a16="http://schemas.microsoft.com/office/drawing/2014/main" id="{E174CBD3-24BA-A625-12BE-5C63CFE7DCB1}"/>
              </a:ext>
            </a:extLst>
          </p:cNvPr>
          <p:cNvSpPr txBox="1"/>
          <p:nvPr/>
        </p:nvSpPr>
        <p:spPr>
          <a:xfrm>
            <a:off x="3514559" y="2214402"/>
            <a:ext cx="2560320" cy="457200"/>
          </a:xfrm>
          <a:prstGeom prst="rect">
            <a:avLst/>
          </a:prstGeom>
          <a:noFill/>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i="0" u="none" strike="noStrike" kern="1200" cap="none" spc="0" normalizeH="0" baseline="0" noProof="0">
                <a:ln>
                  <a:noFill/>
                </a:ln>
                <a:effectLst/>
                <a:uLnTx/>
                <a:uFillTx/>
                <a:latin typeface="+mj-lt"/>
                <a:ea typeface="+mn-ea"/>
                <a:cs typeface="+mn-cs"/>
              </a:rPr>
              <a:t>Start with High-Impact, Right-Fit Use Cases</a:t>
            </a:r>
          </a:p>
        </p:txBody>
      </p:sp>
      <p:sp>
        <p:nvSpPr>
          <p:cNvPr id="36" name="TextBox 35">
            <a:extLst>
              <a:ext uri="{FF2B5EF4-FFF2-40B4-BE49-F238E27FC236}">
                <a16:creationId xmlns:a16="http://schemas.microsoft.com/office/drawing/2014/main" id="{E49B960F-FF00-D42F-D167-7B5F71F8CBFC}"/>
              </a:ext>
            </a:extLst>
          </p:cNvPr>
          <p:cNvSpPr txBox="1"/>
          <p:nvPr/>
        </p:nvSpPr>
        <p:spPr>
          <a:xfrm>
            <a:off x="6152293" y="2214402"/>
            <a:ext cx="2560320" cy="457200"/>
          </a:xfrm>
          <a:prstGeom prst="rect">
            <a:avLst/>
          </a:prstGeom>
          <a:noFill/>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i="0" u="none" strike="noStrike" kern="1200" cap="none" spc="0" normalizeH="0" baseline="0" noProof="0">
                <a:ln>
                  <a:noFill/>
                </a:ln>
                <a:effectLst/>
                <a:uLnTx/>
                <a:uFillTx/>
                <a:latin typeface="+mj-lt"/>
                <a:ea typeface="+mn-ea"/>
                <a:cs typeface="+mn-cs"/>
              </a:rPr>
              <a:t>Treat agents like employees</a:t>
            </a:r>
          </a:p>
        </p:txBody>
      </p:sp>
      <p:sp>
        <p:nvSpPr>
          <p:cNvPr id="37" name="TextBox 36">
            <a:extLst>
              <a:ext uri="{FF2B5EF4-FFF2-40B4-BE49-F238E27FC236}">
                <a16:creationId xmlns:a16="http://schemas.microsoft.com/office/drawing/2014/main" id="{BDE73C50-9703-2455-EBA8-8FF7BEFC540F}"/>
              </a:ext>
            </a:extLst>
          </p:cNvPr>
          <p:cNvSpPr txBox="1"/>
          <p:nvPr/>
        </p:nvSpPr>
        <p:spPr>
          <a:xfrm>
            <a:off x="8805622" y="2214402"/>
            <a:ext cx="2560320" cy="457200"/>
          </a:xfrm>
          <a:prstGeom prst="rect">
            <a:avLst/>
          </a:prstGeom>
          <a:noFill/>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i="0" u="none" strike="noStrike" kern="1200" cap="none" spc="0" normalizeH="0" baseline="0" noProof="0">
                <a:ln>
                  <a:noFill/>
                </a:ln>
                <a:effectLst/>
                <a:uLnTx/>
                <a:uFillTx/>
                <a:latin typeface="+mj-lt"/>
                <a:ea typeface="+mn-ea"/>
                <a:cs typeface="+mn-cs"/>
              </a:rPr>
              <a:t>Build Evaluation and Monitoring Early</a:t>
            </a:r>
          </a:p>
        </p:txBody>
      </p:sp>
      <p:sp>
        <p:nvSpPr>
          <p:cNvPr id="41" name="TextBox 40">
            <a:extLst>
              <a:ext uri="{FF2B5EF4-FFF2-40B4-BE49-F238E27FC236}">
                <a16:creationId xmlns:a16="http://schemas.microsoft.com/office/drawing/2014/main" id="{47758AC9-8ABC-E942-903D-A484823A1629}"/>
              </a:ext>
            </a:extLst>
          </p:cNvPr>
          <p:cNvSpPr txBox="1"/>
          <p:nvPr/>
        </p:nvSpPr>
        <p:spPr>
          <a:xfrm>
            <a:off x="8805672" y="4578222"/>
            <a:ext cx="2560320" cy="457200"/>
          </a:xfrm>
          <a:prstGeom prst="rect">
            <a:avLst/>
          </a:prstGeom>
          <a:noFill/>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i="0" u="none" strike="noStrike" kern="1200" cap="none" spc="0" normalizeH="0" baseline="0" noProof="0">
                <a:ln>
                  <a:noFill/>
                </a:ln>
                <a:effectLst/>
                <a:uLnTx/>
                <a:uFillTx/>
                <a:latin typeface="+mj-lt"/>
                <a:ea typeface="+mn-ea"/>
                <a:cs typeface="+mn-cs"/>
              </a:rPr>
              <a:t>Drive Adoption and Change Management</a:t>
            </a:r>
          </a:p>
        </p:txBody>
      </p:sp>
      <p:sp>
        <p:nvSpPr>
          <p:cNvPr id="42" name="TextBox 41">
            <a:extLst>
              <a:ext uri="{FF2B5EF4-FFF2-40B4-BE49-F238E27FC236}">
                <a16:creationId xmlns:a16="http://schemas.microsoft.com/office/drawing/2014/main" id="{98E7601F-FBE0-AEDC-61B8-2C91A4268238}"/>
              </a:ext>
            </a:extLst>
          </p:cNvPr>
          <p:cNvSpPr txBox="1"/>
          <p:nvPr/>
        </p:nvSpPr>
        <p:spPr>
          <a:xfrm>
            <a:off x="6314137" y="4578222"/>
            <a:ext cx="2400501" cy="457200"/>
          </a:xfrm>
          <a:prstGeom prst="rect">
            <a:avLst/>
          </a:prstGeom>
          <a:noFill/>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i="0" u="none" strike="noStrike" kern="1200" cap="none" spc="0" normalizeH="0" baseline="0" noProof="0">
                <a:ln>
                  <a:noFill/>
                </a:ln>
                <a:effectLst/>
                <a:uLnTx/>
                <a:uFillTx/>
                <a:latin typeface="+mj-lt"/>
                <a:ea typeface="+mn-ea"/>
                <a:cs typeface="+mn-cs"/>
              </a:rPr>
              <a:t>Embed architecture, compliance and risk</a:t>
            </a:r>
          </a:p>
        </p:txBody>
      </p:sp>
      <p:sp>
        <p:nvSpPr>
          <p:cNvPr id="43" name="TextBox 42">
            <a:extLst>
              <a:ext uri="{FF2B5EF4-FFF2-40B4-BE49-F238E27FC236}">
                <a16:creationId xmlns:a16="http://schemas.microsoft.com/office/drawing/2014/main" id="{F393410F-E2BC-5BB0-1CA8-F78E08851466}"/>
              </a:ext>
            </a:extLst>
          </p:cNvPr>
          <p:cNvSpPr txBox="1"/>
          <p:nvPr/>
        </p:nvSpPr>
        <p:spPr>
          <a:xfrm>
            <a:off x="3468406" y="4578222"/>
            <a:ext cx="2560320" cy="457200"/>
          </a:xfrm>
          <a:prstGeom prst="rect">
            <a:avLst/>
          </a:prstGeom>
          <a:noFill/>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i="0" u="none" strike="noStrike" kern="1200" cap="none" spc="0" normalizeH="0" baseline="0" noProof="0">
                <a:ln>
                  <a:noFill/>
                </a:ln>
                <a:effectLst/>
                <a:uLnTx/>
                <a:uFillTx/>
                <a:latin typeface="+mj-lt"/>
                <a:ea typeface="+mn-ea"/>
                <a:cs typeface="+mn-cs"/>
              </a:rPr>
              <a:t>Reuse Components via Central Platform</a:t>
            </a:r>
          </a:p>
        </p:txBody>
      </p:sp>
      <p:sp>
        <p:nvSpPr>
          <p:cNvPr id="47" name="TextBox 46">
            <a:extLst>
              <a:ext uri="{FF2B5EF4-FFF2-40B4-BE49-F238E27FC236}">
                <a16:creationId xmlns:a16="http://schemas.microsoft.com/office/drawing/2014/main" id="{A56613EE-C927-856F-8AB7-F34F3BB3BE10}"/>
              </a:ext>
            </a:extLst>
          </p:cNvPr>
          <p:cNvSpPr txBox="1"/>
          <p:nvPr/>
        </p:nvSpPr>
        <p:spPr>
          <a:xfrm>
            <a:off x="761102" y="4578222"/>
            <a:ext cx="2560320" cy="457200"/>
          </a:xfrm>
          <a:prstGeom prst="rect">
            <a:avLst/>
          </a:prstGeom>
          <a:noFill/>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buClrTx/>
              <a:buSzTx/>
              <a:buFontTx/>
              <a:buNone/>
              <a:tabLst/>
              <a:defRPr/>
            </a:pPr>
            <a:r>
              <a:rPr kumimoji="0" lang="en-US" i="0" u="none" strike="noStrike" kern="1200" cap="none" spc="0" normalizeH="0" baseline="0" noProof="0">
                <a:ln>
                  <a:noFill/>
                </a:ln>
                <a:effectLst/>
                <a:uLnTx/>
                <a:uFillTx/>
                <a:latin typeface="+mj-lt"/>
                <a:ea typeface="+mn-ea"/>
                <a:cs typeface="+mn-cs"/>
              </a:rPr>
              <a:t>Keep Humans </a:t>
            </a:r>
          </a:p>
          <a:p>
            <a:pPr marL="0" marR="0" lvl="0" indent="0" algn="ctr" defTabSz="914400" rtl="0" eaLnBrk="1" fontAlgn="auto" latinLnBrk="0" hangingPunct="1">
              <a:lnSpc>
                <a:spcPct val="100000"/>
              </a:lnSpc>
              <a:spcBef>
                <a:spcPts val="0"/>
              </a:spcBef>
              <a:buClrTx/>
              <a:buSzTx/>
              <a:buFontTx/>
              <a:buNone/>
              <a:tabLst/>
              <a:defRPr/>
            </a:pPr>
            <a:r>
              <a:rPr kumimoji="0" lang="en-US" i="0" u="none" strike="noStrike" kern="1200" cap="none" spc="0" normalizeH="0" baseline="0" noProof="0">
                <a:ln>
                  <a:noFill/>
                </a:ln>
                <a:effectLst/>
                <a:uLnTx/>
                <a:uFillTx/>
                <a:latin typeface="+mj-lt"/>
                <a:ea typeface="+mn-ea"/>
                <a:cs typeface="+mn-cs"/>
              </a:rPr>
              <a:t>in the Loop</a:t>
            </a:r>
          </a:p>
        </p:txBody>
      </p:sp>
      <p:sp>
        <p:nvSpPr>
          <p:cNvPr id="49" name="TextBox 48">
            <a:extLst>
              <a:ext uri="{FF2B5EF4-FFF2-40B4-BE49-F238E27FC236}">
                <a16:creationId xmlns:a16="http://schemas.microsoft.com/office/drawing/2014/main" id="{5A0797E4-DAE9-60A4-D7E4-95D9DFE4C7E2}"/>
              </a:ext>
            </a:extLst>
          </p:cNvPr>
          <p:cNvSpPr txBox="1"/>
          <p:nvPr/>
        </p:nvSpPr>
        <p:spPr>
          <a:xfrm>
            <a:off x="6190583" y="5138472"/>
            <a:ext cx="2495851"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1" u="none" strike="noStrike" kern="1200" cap="none" spc="0" normalizeH="0" baseline="0" noProof="0">
                <a:ln>
                  <a:noFill/>
                </a:ln>
                <a:effectLst/>
                <a:uLnTx/>
                <a:uFillTx/>
                <a:latin typeface="Arial"/>
                <a:ea typeface="+mn-ea"/>
                <a:cs typeface="+mn-cs"/>
              </a:rPr>
              <a:t>Design secure, resilient, audit-ready AI frameworks</a:t>
            </a:r>
          </a:p>
        </p:txBody>
      </p:sp>
      <p:sp>
        <p:nvSpPr>
          <p:cNvPr id="50" name="TextBox 49">
            <a:extLst>
              <a:ext uri="{FF2B5EF4-FFF2-40B4-BE49-F238E27FC236}">
                <a16:creationId xmlns:a16="http://schemas.microsoft.com/office/drawing/2014/main" id="{A83FC953-1656-D9A8-28A3-884E9531BDAA}"/>
              </a:ext>
            </a:extLst>
          </p:cNvPr>
          <p:cNvSpPr txBox="1"/>
          <p:nvPr/>
        </p:nvSpPr>
        <p:spPr>
          <a:xfrm>
            <a:off x="8920539" y="5138472"/>
            <a:ext cx="2445453"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1" u="none" strike="noStrike" kern="1200" cap="none" spc="0" normalizeH="0" baseline="0" noProof="0">
                <a:ln>
                  <a:noFill/>
                </a:ln>
                <a:effectLst/>
                <a:uLnTx/>
                <a:uFillTx/>
                <a:latin typeface="Arial"/>
                <a:ea typeface="+mn-ea"/>
                <a:cs typeface="+mn-cs"/>
              </a:rPr>
              <a:t>Train users, build trust, and measure business impact</a:t>
            </a:r>
          </a:p>
        </p:txBody>
      </p:sp>
      <p:sp>
        <p:nvSpPr>
          <p:cNvPr id="51" name="TextBox 50">
            <a:extLst>
              <a:ext uri="{FF2B5EF4-FFF2-40B4-BE49-F238E27FC236}">
                <a16:creationId xmlns:a16="http://schemas.microsoft.com/office/drawing/2014/main" id="{5DCEE4C6-7E64-5040-295B-E1CF1414AFD0}"/>
              </a:ext>
            </a:extLst>
          </p:cNvPr>
          <p:cNvSpPr txBox="1"/>
          <p:nvPr/>
        </p:nvSpPr>
        <p:spPr>
          <a:xfrm>
            <a:off x="761102" y="5138472"/>
            <a:ext cx="256032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1" u="none" strike="noStrike" kern="1200" cap="none" spc="0" normalizeH="0" baseline="0" noProof="0">
                <a:ln>
                  <a:noFill/>
                </a:ln>
                <a:effectLst/>
                <a:uLnTx/>
                <a:uFillTx/>
                <a:latin typeface="Arial"/>
                <a:ea typeface="+mn-ea"/>
                <a:cs typeface="+mn-cs"/>
              </a:rPr>
              <a:t>Design clear validation, escalation, and collaboration paths</a:t>
            </a:r>
          </a:p>
        </p:txBody>
      </p:sp>
      <p:sp>
        <p:nvSpPr>
          <p:cNvPr id="55" name="TextBox 54">
            <a:extLst>
              <a:ext uri="{FF2B5EF4-FFF2-40B4-BE49-F238E27FC236}">
                <a16:creationId xmlns:a16="http://schemas.microsoft.com/office/drawing/2014/main" id="{464A3164-A36D-434C-B92C-0C3C760F5FEF}"/>
              </a:ext>
            </a:extLst>
          </p:cNvPr>
          <p:cNvSpPr txBox="1"/>
          <p:nvPr/>
        </p:nvSpPr>
        <p:spPr>
          <a:xfrm>
            <a:off x="8899539" y="2818674"/>
            <a:ext cx="231649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1" u="none" strike="noStrike" kern="1200" cap="none" spc="0" normalizeH="0" baseline="0" noProof="0">
                <a:ln>
                  <a:noFill/>
                </a:ln>
                <a:effectLst/>
                <a:uLnTx/>
                <a:uFillTx/>
                <a:latin typeface="Arial"/>
                <a:ea typeface="+mn-ea"/>
                <a:cs typeface="+mn-cs"/>
              </a:rPr>
              <a:t>Simulate, test, and track every workflow interaction</a:t>
            </a:r>
          </a:p>
        </p:txBody>
      </p:sp>
      <p:sp>
        <p:nvSpPr>
          <p:cNvPr id="70" name="TextBox 69">
            <a:extLst>
              <a:ext uri="{FF2B5EF4-FFF2-40B4-BE49-F238E27FC236}">
                <a16:creationId xmlns:a16="http://schemas.microsoft.com/office/drawing/2014/main" id="{97631922-BCED-3CA3-9C4A-1EE5CE29BB97}"/>
              </a:ext>
            </a:extLst>
          </p:cNvPr>
          <p:cNvSpPr txBox="1"/>
          <p:nvPr/>
        </p:nvSpPr>
        <p:spPr>
          <a:xfrm>
            <a:off x="6203381" y="2827977"/>
            <a:ext cx="2494378"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1" u="none" strike="noStrike" kern="1200" cap="none" spc="0" normalizeH="0" baseline="0" noProof="0">
                <a:ln>
                  <a:noFill/>
                </a:ln>
                <a:effectLst/>
                <a:uLnTx/>
                <a:uFillTx/>
                <a:latin typeface="Arial"/>
                <a:ea typeface="+mn-ea"/>
                <a:cs typeface="+mn-cs"/>
              </a:rPr>
              <a:t>Define roles, KPIs, and enable continuous improvement</a:t>
            </a:r>
          </a:p>
        </p:txBody>
      </p:sp>
      <p:sp>
        <p:nvSpPr>
          <p:cNvPr id="72" name="TextBox 71">
            <a:extLst>
              <a:ext uri="{FF2B5EF4-FFF2-40B4-BE49-F238E27FC236}">
                <a16:creationId xmlns:a16="http://schemas.microsoft.com/office/drawing/2014/main" id="{8C5A465A-3305-13EA-3D07-13B73A3671E0}"/>
              </a:ext>
            </a:extLst>
          </p:cNvPr>
          <p:cNvSpPr txBox="1"/>
          <p:nvPr/>
        </p:nvSpPr>
        <p:spPr>
          <a:xfrm>
            <a:off x="3434561" y="2827977"/>
            <a:ext cx="2514748"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1" u="none" strike="noStrike" kern="1200" cap="none" spc="0" normalizeH="0" baseline="0" noProof="0">
                <a:ln>
                  <a:noFill/>
                </a:ln>
                <a:effectLst/>
                <a:uLnTx/>
                <a:uFillTx/>
                <a:latin typeface="Arial"/>
                <a:ea typeface="+mn-ea"/>
                <a:cs typeface="+mn-cs"/>
              </a:rPr>
              <a:t>Prioritize complex, high-value, low-risk tasks (UAR, NHI)</a:t>
            </a:r>
          </a:p>
        </p:txBody>
      </p:sp>
      <p:sp>
        <p:nvSpPr>
          <p:cNvPr id="80" name="TextBox 79">
            <a:extLst>
              <a:ext uri="{FF2B5EF4-FFF2-40B4-BE49-F238E27FC236}">
                <a16:creationId xmlns:a16="http://schemas.microsoft.com/office/drawing/2014/main" id="{5091BC64-2F92-F34D-9AD3-3EB88CCF2FFB}"/>
              </a:ext>
            </a:extLst>
          </p:cNvPr>
          <p:cNvSpPr txBox="1"/>
          <p:nvPr/>
        </p:nvSpPr>
        <p:spPr>
          <a:xfrm>
            <a:off x="809486" y="2827977"/>
            <a:ext cx="2470736"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1" u="none" strike="noStrike" kern="1200" cap="none" spc="0" normalizeH="0" baseline="0" noProof="0">
                <a:ln>
                  <a:noFill/>
                </a:ln>
                <a:effectLst/>
                <a:uLnTx/>
                <a:uFillTx/>
                <a:latin typeface="Arial"/>
                <a:ea typeface="+mn-ea"/>
                <a:cs typeface="+mn-cs"/>
              </a:rPr>
              <a:t>Design people, process, and agents to work together</a:t>
            </a:r>
          </a:p>
        </p:txBody>
      </p:sp>
      <p:sp>
        <p:nvSpPr>
          <p:cNvPr id="82" name="TextBox 81">
            <a:extLst>
              <a:ext uri="{FF2B5EF4-FFF2-40B4-BE49-F238E27FC236}">
                <a16:creationId xmlns:a16="http://schemas.microsoft.com/office/drawing/2014/main" id="{172A7B5D-6F51-34ED-6A0B-C2C445899C5C}"/>
              </a:ext>
            </a:extLst>
          </p:cNvPr>
          <p:cNvSpPr txBox="1"/>
          <p:nvPr/>
        </p:nvSpPr>
        <p:spPr>
          <a:xfrm>
            <a:off x="3491418" y="5138472"/>
            <a:ext cx="256032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1" u="none" strike="noStrike" kern="1200" cap="none" spc="0" normalizeH="0" baseline="0" noProof="0">
                <a:ln>
                  <a:noFill/>
                </a:ln>
                <a:effectLst/>
                <a:uLnTx/>
                <a:uFillTx/>
                <a:latin typeface="Arial"/>
                <a:ea typeface="+mn-ea"/>
                <a:cs typeface="+mn-cs"/>
              </a:rPr>
              <a:t>Standardize prompts, connectors, and governance services</a:t>
            </a:r>
          </a:p>
        </p:txBody>
      </p:sp>
      <p:cxnSp>
        <p:nvCxnSpPr>
          <p:cNvPr id="11" name="Straight Connector 10">
            <a:extLst>
              <a:ext uri="{FF2B5EF4-FFF2-40B4-BE49-F238E27FC236}">
                <a16:creationId xmlns:a16="http://schemas.microsoft.com/office/drawing/2014/main" id="{7509EAF4-52C7-9BD0-8556-5622DFD74E5D}"/>
              </a:ext>
            </a:extLst>
          </p:cNvPr>
          <p:cNvCxnSpPr>
            <a:cxnSpLocks/>
          </p:cNvCxnSpPr>
          <p:nvPr/>
        </p:nvCxnSpPr>
        <p:spPr>
          <a:xfrm>
            <a:off x="3311794" y="1514475"/>
            <a:ext cx="0" cy="4381719"/>
          </a:xfrm>
          <a:prstGeom prst="line">
            <a:avLst/>
          </a:prstGeom>
          <a:ln w="12700">
            <a:solidFill>
              <a:srgbClr val="2AAAF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3C3CDF2-5D41-2A6D-86DC-D92DA025C05A}"/>
              </a:ext>
            </a:extLst>
          </p:cNvPr>
          <p:cNvCxnSpPr>
            <a:cxnSpLocks/>
          </p:cNvCxnSpPr>
          <p:nvPr/>
        </p:nvCxnSpPr>
        <p:spPr>
          <a:xfrm>
            <a:off x="6168713" y="1627493"/>
            <a:ext cx="0" cy="4311551"/>
          </a:xfrm>
          <a:prstGeom prst="line">
            <a:avLst/>
          </a:prstGeom>
          <a:ln w="12700">
            <a:solidFill>
              <a:srgbClr val="2AAAF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AACAEAC-32B6-81D0-04E4-636D94AFFE58}"/>
              </a:ext>
            </a:extLst>
          </p:cNvPr>
          <p:cNvCxnSpPr>
            <a:cxnSpLocks/>
          </p:cNvCxnSpPr>
          <p:nvPr/>
        </p:nvCxnSpPr>
        <p:spPr>
          <a:xfrm>
            <a:off x="8749576" y="1627493"/>
            <a:ext cx="0" cy="4311551"/>
          </a:xfrm>
          <a:prstGeom prst="line">
            <a:avLst/>
          </a:prstGeom>
          <a:ln w="12700">
            <a:solidFill>
              <a:srgbClr val="2AAAF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F4A2CB1-F7DA-A482-D72E-11C66F28F14B}"/>
              </a:ext>
            </a:extLst>
          </p:cNvPr>
          <p:cNvCxnSpPr>
            <a:cxnSpLocks/>
          </p:cNvCxnSpPr>
          <p:nvPr/>
        </p:nvCxnSpPr>
        <p:spPr>
          <a:xfrm flipV="1">
            <a:off x="820210" y="3740245"/>
            <a:ext cx="10511437" cy="28175"/>
          </a:xfrm>
          <a:prstGeom prst="line">
            <a:avLst/>
          </a:prstGeom>
          <a:ln w="12700">
            <a:solidFill>
              <a:srgbClr val="2AAAF0"/>
            </a:solidFill>
          </a:ln>
        </p:spPr>
        <p:style>
          <a:lnRef idx="1">
            <a:schemeClr val="accent1"/>
          </a:lnRef>
          <a:fillRef idx="0">
            <a:schemeClr val="accent1"/>
          </a:fillRef>
          <a:effectRef idx="0">
            <a:schemeClr val="accent1"/>
          </a:effectRef>
          <a:fontRef idx="minor">
            <a:schemeClr val="tx1"/>
          </a:fontRef>
        </p:style>
      </p:cxnSp>
      <p:pic>
        <p:nvPicPr>
          <p:cNvPr id="24" name="Graphic 23" descr="Workflow outline">
            <a:extLst>
              <a:ext uri="{FF2B5EF4-FFF2-40B4-BE49-F238E27FC236}">
                <a16:creationId xmlns:a16="http://schemas.microsoft.com/office/drawing/2014/main" id="{DC1E49D5-2136-A66F-D455-5B10B2ABAE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12168" y="1372034"/>
            <a:ext cx="543075" cy="543075"/>
          </a:xfrm>
          <a:prstGeom prst="rect">
            <a:avLst/>
          </a:prstGeom>
        </p:spPr>
      </p:pic>
      <p:sp>
        <p:nvSpPr>
          <p:cNvPr id="56" name="Flowchart: Connector 55">
            <a:extLst>
              <a:ext uri="{FF2B5EF4-FFF2-40B4-BE49-F238E27FC236}">
                <a16:creationId xmlns:a16="http://schemas.microsoft.com/office/drawing/2014/main" id="{0E0E77DC-1CAC-4A12-A536-06FA5AC25C57}"/>
              </a:ext>
            </a:extLst>
          </p:cNvPr>
          <p:cNvSpPr/>
          <p:nvPr/>
        </p:nvSpPr>
        <p:spPr>
          <a:xfrm>
            <a:off x="4412747" y="1322454"/>
            <a:ext cx="659207" cy="659207"/>
          </a:xfrm>
          <a:prstGeom prst="flowChartConnector">
            <a:avLst/>
          </a:prstGeom>
          <a:solidFill>
            <a:schemeClr val="bg1"/>
          </a:solidFill>
          <a:ln>
            <a:solidFill>
              <a:srgbClr val="2EC8B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pic>
        <p:nvPicPr>
          <p:cNvPr id="57" name="Graphic 56">
            <a:extLst>
              <a:ext uri="{FF2B5EF4-FFF2-40B4-BE49-F238E27FC236}">
                <a16:creationId xmlns:a16="http://schemas.microsoft.com/office/drawing/2014/main" id="{C6D57D0E-3CA2-AB28-CCBB-17D0DD53E089}"/>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473558" y="1373736"/>
            <a:ext cx="543075" cy="543075"/>
          </a:xfrm>
          <a:prstGeom prst="rect">
            <a:avLst/>
          </a:prstGeom>
        </p:spPr>
      </p:pic>
      <p:sp>
        <p:nvSpPr>
          <p:cNvPr id="58" name="Flowchart: Connector 57">
            <a:extLst>
              <a:ext uri="{FF2B5EF4-FFF2-40B4-BE49-F238E27FC236}">
                <a16:creationId xmlns:a16="http://schemas.microsoft.com/office/drawing/2014/main" id="{7E57A82F-8309-1C18-1A43-0CB92BEEE866}"/>
              </a:ext>
            </a:extLst>
          </p:cNvPr>
          <p:cNvSpPr/>
          <p:nvPr/>
        </p:nvSpPr>
        <p:spPr>
          <a:xfrm>
            <a:off x="7059343" y="1328194"/>
            <a:ext cx="659207" cy="659207"/>
          </a:xfrm>
          <a:prstGeom prst="flowChartConnector">
            <a:avLst/>
          </a:prstGeom>
          <a:solidFill>
            <a:schemeClr val="bg1"/>
          </a:solidFill>
          <a:ln>
            <a:solidFill>
              <a:srgbClr val="2EC8B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pic>
        <p:nvPicPr>
          <p:cNvPr id="59" name="Graphic 58" descr="Blackboard outline">
            <a:extLst>
              <a:ext uri="{FF2B5EF4-FFF2-40B4-BE49-F238E27FC236}">
                <a16:creationId xmlns:a16="http://schemas.microsoft.com/office/drawing/2014/main" id="{EEB95181-EFC3-8293-660F-41345351A4BF}"/>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7120154" y="1379476"/>
            <a:ext cx="543075" cy="543075"/>
          </a:xfrm>
          <a:prstGeom prst="rect">
            <a:avLst/>
          </a:prstGeom>
        </p:spPr>
      </p:pic>
      <p:sp>
        <p:nvSpPr>
          <p:cNvPr id="60" name="Flowchart: Connector 59">
            <a:extLst>
              <a:ext uri="{FF2B5EF4-FFF2-40B4-BE49-F238E27FC236}">
                <a16:creationId xmlns:a16="http://schemas.microsoft.com/office/drawing/2014/main" id="{D99F4E80-3B2F-8E17-9F57-FA816BFC4655}"/>
              </a:ext>
            </a:extLst>
          </p:cNvPr>
          <p:cNvSpPr/>
          <p:nvPr/>
        </p:nvSpPr>
        <p:spPr>
          <a:xfrm>
            <a:off x="9820733" y="1329896"/>
            <a:ext cx="659207" cy="659207"/>
          </a:xfrm>
          <a:prstGeom prst="flowChartConnector">
            <a:avLst/>
          </a:prstGeom>
          <a:solidFill>
            <a:schemeClr val="bg1"/>
          </a:solidFill>
          <a:ln>
            <a:solidFill>
              <a:srgbClr val="2EC8B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pic>
        <p:nvPicPr>
          <p:cNvPr id="61" name="Graphic 60">
            <a:extLst>
              <a:ext uri="{FF2B5EF4-FFF2-40B4-BE49-F238E27FC236}">
                <a16:creationId xmlns:a16="http://schemas.microsoft.com/office/drawing/2014/main" id="{95526D13-1B25-E0C9-574F-E531A4D71E67}"/>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9881544" y="1381178"/>
            <a:ext cx="543075" cy="543075"/>
          </a:xfrm>
          <a:prstGeom prst="rect">
            <a:avLst/>
          </a:prstGeom>
        </p:spPr>
      </p:pic>
      <p:sp>
        <p:nvSpPr>
          <p:cNvPr id="62" name="Flowchart: Connector 61">
            <a:extLst>
              <a:ext uri="{FF2B5EF4-FFF2-40B4-BE49-F238E27FC236}">
                <a16:creationId xmlns:a16="http://schemas.microsoft.com/office/drawing/2014/main" id="{73A27CEA-F52F-454B-0759-5EAC18D8E78A}"/>
              </a:ext>
            </a:extLst>
          </p:cNvPr>
          <p:cNvSpPr/>
          <p:nvPr/>
        </p:nvSpPr>
        <p:spPr>
          <a:xfrm>
            <a:off x="1680726" y="3815965"/>
            <a:ext cx="659207" cy="659207"/>
          </a:xfrm>
          <a:prstGeom prst="flowChartConnector">
            <a:avLst/>
          </a:prstGeom>
          <a:solidFill>
            <a:schemeClr val="bg1"/>
          </a:solidFill>
          <a:ln>
            <a:solidFill>
              <a:srgbClr val="2EC8B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pic>
        <p:nvPicPr>
          <p:cNvPr id="63" name="Graphic 62">
            <a:extLst>
              <a:ext uri="{FF2B5EF4-FFF2-40B4-BE49-F238E27FC236}">
                <a16:creationId xmlns:a16="http://schemas.microsoft.com/office/drawing/2014/main" id="{81C0411A-2B87-9473-CDEF-907CB34FFA35}"/>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1741537" y="3867247"/>
            <a:ext cx="543075" cy="543075"/>
          </a:xfrm>
          <a:prstGeom prst="rect">
            <a:avLst/>
          </a:prstGeom>
        </p:spPr>
      </p:pic>
      <p:sp>
        <p:nvSpPr>
          <p:cNvPr id="64" name="Flowchart: Connector 63">
            <a:extLst>
              <a:ext uri="{FF2B5EF4-FFF2-40B4-BE49-F238E27FC236}">
                <a16:creationId xmlns:a16="http://schemas.microsoft.com/office/drawing/2014/main" id="{6F12E1F1-8B3B-EA16-48E6-335B7CBF4564}"/>
              </a:ext>
            </a:extLst>
          </p:cNvPr>
          <p:cNvSpPr/>
          <p:nvPr/>
        </p:nvSpPr>
        <p:spPr>
          <a:xfrm>
            <a:off x="4442116" y="3817667"/>
            <a:ext cx="659207" cy="659207"/>
          </a:xfrm>
          <a:prstGeom prst="flowChartConnector">
            <a:avLst/>
          </a:prstGeom>
          <a:solidFill>
            <a:schemeClr val="bg1"/>
          </a:solidFill>
          <a:ln>
            <a:solidFill>
              <a:srgbClr val="2EC8B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pic>
        <p:nvPicPr>
          <p:cNvPr id="65" name="Graphic 64" descr="Recycle outline">
            <a:extLst>
              <a:ext uri="{FF2B5EF4-FFF2-40B4-BE49-F238E27FC236}">
                <a16:creationId xmlns:a16="http://schemas.microsoft.com/office/drawing/2014/main" id="{9434A35A-A7A5-8F07-8391-61976E85582F}"/>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4502927" y="3868949"/>
            <a:ext cx="543075" cy="543075"/>
          </a:xfrm>
          <a:prstGeom prst="rect">
            <a:avLst/>
          </a:prstGeom>
        </p:spPr>
      </p:pic>
      <p:sp>
        <p:nvSpPr>
          <p:cNvPr id="66" name="Flowchart: Connector 65">
            <a:extLst>
              <a:ext uri="{FF2B5EF4-FFF2-40B4-BE49-F238E27FC236}">
                <a16:creationId xmlns:a16="http://schemas.microsoft.com/office/drawing/2014/main" id="{4D2A7823-7DE7-8D18-7CC3-5820E50C7E5C}"/>
              </a:ext>
            </a:extLst>
          </p:cNvPr>
          <p:cNvSpPr/>
          <p:nvPr/>
        </p:nvSpPr>
        <p:spPr>
          <a:xfrm>
            <a:off x="7088712" y="3823407"/>
            <a:ext cx="659207" cy="659207"/>
          </a:xfrm>
          <a:prstGeom prst="flowChartConnector">
            <a:avLst/>
          </a:prstGeom>
          <a:solidFill>
            <a:schemeClr val="bg1"/>
          </a:solidFill>
          <a:ln>
            <a:solidFill>
              <a:srgbClr val="2EC8B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pic>
        <p:nvPicPr>
          <p:cNvPr id="67" name="Graphic 66">
            <a:extLst>
              <a:ext uri="{FF2B5EF4-FFF2-40B4-BE49-F238E27FC236}">
                <a16:creationId xmlns:a16="http://schemas.microsoft.com/office/drawing/2014/main" id="{0D509D53-CF24-E378-3990-BC757A4D1BE4}"/>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7149523" y="3874689"/>
            <a:ext cx="543075" cy="543075"/>
          </a:xfrm>
          <a:prstGeom prst="rect">
            <a:avLst/>
          </a:prstGeom>
        </p:spPr>
      </p:pic>
      <p:sp>
        <p:nvSpPr>
          <p:cNvPr id="68" name="Flowchart: Connector 67">
            <a:extLst>
              <a:ext uri="{FF2B5EF4-FFF2-40B4-BE49-F238E27FC236}">
                <a16:creationId xmlns:a16="http://schemas.microsoft.com/office/drawing/2014/main" id="{713793FD-A08E-24BC-8BDF-179AC2469DEE}"/>
              </a:ext>
            </a:extLst>
          </p:cNvPr>
          <p:cNvSpPr/>
          <p:nvPr/>
        </p:nvSpPr>
        <p:spPr>
          <a:xfrm>
            <a:off x="9852067" y="3832827"/>
            <a:ext cx="659207" cy="659207"/>
          </a:xfrm>
          <a:prstGeom prst="flowChartConnector">
            <a:avLst/>
          </a:prstGeom>
          <a:solidFill>
            <a:schemeClr val="bg1"/>
          </a:solidFill>
          <a:ln>
            <a:solidFill>
              <a:srgbClr val="2EC8B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pic>
        <p:nvPicPr>
          <p:cNvPr id="69" name="Graphic 68" descr="Steering Wheel outline">
            <a:extLst>
              <a:ext uri="{FF2B5EF4-FFF2-40B4-BE49-F238E27FC236}">
                <a16:creationId xmlns:a16="http://schemas.microsoft.com/office/drawing/2014/main" id="{11F574BA-8EA5-F1B9-3F7A-7D93D9466DF7}"/>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9910913" y="3876391"/>
            <a:ext cx="543075" cy="543075"/>
          </a:xfrm>
          <a:prstGeom prst="rect">
            <a:avLst/>
          </a:prstGeom>
        </p:spPr>
      </p:pic>
    </p:spTree>
    <p:extLst>
      <p:ext uri="{BB962C8B-B14F-4D97-AF65-F5344CB8AC3E}">
        <p14:creationId xmlns:p14="http://schemas.microsoft.com/office/powerpoint/2010/main" val="2579491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EEFC9B-F651-6EBF-147C-7B6E758F45D2}"/>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F496F977-96B9-0425-5C9A-BEB72285FC4C}"/>
              </a:ext>
            </a:extLst>
          </p:cNvPr>
          <p:cNvGraphicFramePr>
            <a:graphicFrameLocks noChangeAspect="1"/>
          </p:cNvGraphicFramePr>
          <p:nvPr>
            <p:custDataLst>
              <p:tags r:id="rId1"/>
            </p:custDataLst>
            <p:extLst>
              <p:ext uri="{D42A27DB-BD31-4B8C-83A1-F6EECF244321}">
                <p14:modId xmlns:p14="http://schemas.microsoft.com/office/powerpoint/2010/main" val="3556504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4" name="think-cell data - do not delete" hidden="1">
                        <a:extLst>
                          <a:ext uri="{FF2B5EF4-FFF2-40B4-BE49-F238E27FC236}">
                            <a16:creationId xmlns:a16="http://schemas.microsoft.com/office/drawing/2014/main" id="{F496F977-96B9-0425-5C9A-BEB72285FC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6747EB-26AA-7F43-5820-D8CECB00FC59}"/>
              </a:ext>
            </a:extLst>
          </p:cNvPr>
          <p:cNvSpPr>
            <a:spLocks noGrp="1"/>
          </p:cNvSpPr>
          <p:nvPr>
            <p:ph type="title"/>
          </p:nvPr>
        </p:nvSpPr>
        <p:spPr/>
        <p:txBody>
          <a:bodyPr vert="horz"/>
          <a:lstStyle/>
          <a:p>
            <a:r>
              <a:rPr lang="en-US" sz="3200"/>
              <a:t>Through leveraging our existing experience the project will be delivered in an accelerated 16-week timeline</a:t>
            </a:r>
            <a:endParaRPr lang="en-SG" sz="3200"/>
          </a:p>
        </p:txBody>
      </p:sp>
      <p:sp>
        <p:nvSpPr>
          <p:cNvPr id="7" name="Text Placeholder 6">
            <a:extLst>
              <a:ext uri="{FF2B5EF4-FFF2-40B4-BE49-F238E27FC236}">
                <a16:creationId xmlns:a16="http://schemas.microsoft.com/office/drawing/2014/main" id="{08EAA2DA-E896-928A-1320-DA9A561E9415}"/>
              </a:ext>
            </a:extLst>
          </p:cNvPr>
          <p:cNvSpPr>
            <a:spLocks noGrp="1"/>
          </p:cNvSpPr>
          <p:nvPr>
            <p:ph type="body" sz="quarter" idx="11"/>
          </p:nvPr>
        </p:nvSpPr>
        <p:spPr/>
        <p:txBody>
          <a:bodyPr vert="horz" lIns="0" tIns="0" rIns="0" bIns="0" rtlCol="0" anchor="b"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mn-cs"/>
              </a:rPr>
              <a:t>03. Timeline</a:t>
            </a:r>
          </a:p>
        </p:txBody>
      </p:sp>
      <p:grpSp>
        <p:nvGrpSpPr>
          <p:cNvPr id="149" name="Group 148">
            <a:extLst>
              <a:ext uri="{FF2B5EF4-FFF2-40B4-BE49-F238E27FC236}">
                <a16:creationId xmlns:a16="http://schemas.microsoft.com/office/drawing/2014/main" id="{7380E30A-6CD4-2D11-9467-4F6EB2840389}"/>
              </a:ext>
            </a:extLst>
          </p:cNvPr>
          <p:cNvGrpSpPr/>
          <p:nvPr/>
        </p:nvGrpSpPr>
        <p:grpSpPr>
          <a:xfrm>
            <a:off x="3870492" y="1732057"/>
            <a:ext cx="7732567" cy="4437363"/>
            <a:chOff x="3870493" y="1732057"/>
            <a:chExt cx="6878258" cy="4521742"/>
          </a:xfrm>
        </p:grpSpPr>
        <p:sp>
          <p:nvSpPr>
            <p:cNvPr id="150" name="Rectangle 149">
              <a:extLst>
                <a:ext uri="{FF2B5EF4-FFF2-40B4-BE49-F238E27FC236}">
                  <a16:creationId xmlns:a16="http://schemas.microsoft.com/office/drawing/2014/main" id="{79E7827F-9C60-945F-EC21-6088203E22A2}"/>
                </a:ext>
              </a:extLst>
            </p:cNvPr>
            <p:cNvSpPr>
              <a:spLocks/>
            </p:cNvSpPr>
            <p:nvPr/>
          </p:nvSpPr>
          <p:spPr>
            <a:xfrm>
              <a:off x="9907223" y="1732057"/>
              <a:ext cx="403107" cy="4521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51" name="Rectangle 150">
              <a:extLst>
                <a:ext uri="{FF2B5EF4-FFF2-40B4-BE49-F238E27FC236}">
                  <a16:creationId xmlns:a16="http://schemas.microsoft.com/office/drawing/2014/main" id="{35851110-7632-D8F8-1BD5-8A7C647A12A1}"/>
                </a:ext>
              </a:extLst>
            </p:cNvPr>
            <p:cNvSpPr>
              <a:spLocks/>
            </p:cNvSpPr>
            <p:nvPr/>
          </p:nvSpPr>
          <p:spPr>
            <a:xfrm>
              <a:off x="10331192" y="1732057"/>
              <a:ext cx="417559" cy="4521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52" name="Rectangle 151">
              <a:extLst>
                <a:ext uri="{FF2B5EF4-FFF2-40B4-BE49-F238E27FC236}">
                  <a16:creationId xmlns:a16="http://schemas.microsoft.com/office/drawing/2014/main" id="{12BB1295-E3C5-5240-0AC7-81ABAEA0A6BB}"/>
                </a:ext>
              </a:extLst>
            </p:cNvPr>
            <p:cNvSpPr>
              <a:spLocks/>
            </p:cNvSpPr>
            <p:nvPr/>
          </p:nvSpPr>
          <p:spPr>
            <a:xfrm>
              <a:off x="9044833" y="1732057"/>
              <a:ext cx="403107" cy="4521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59" name="Rectangle 158">
              <a:extLst>
                <a:ext uri="{FF2B5EF4-FFF2-40B4-BE49-F238E27FC236}">
                  <a16:creationId xmlns:a16="http://schemas.microsoft.com/office/drawing/2014/main" id="{9BEEF921-F3F3-A303-784A-B8635F67C583}"/>
                </a:ext>
              </a:extLst>
            </p:cNvPr>
            <p:cNvSpPr>
              <a:spLocks/>
            </p:cNvSpPr>
            <p:nvPr/>
          </p:nvSpPr>
          <p:spPr>
            <a:xfrm>
              <a:off x="9468802" y="1732057"/>
              <a:ext cx="417559" cy="4521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60" name="Rectangle 159">
              <a:extLst>
                <a:ext uri="{FF2B5EF4-FFF2-40B4-BE49-F238E27FC236}">
                  <a16:creationId xmlns:a16="http://schemas.microsoft.com/office/drawing/2014/main" id="{B7AC055E-0532-5ABB-06FB-0E72B6E6B848}"/>
                </a:ext>
              </a:extLst>
            </p:cNvPr>
            <p:cNvSpPr>
              <a:spLocks/>
            </p:cNvSpPr>
            <p:nvPr/>
          </p:nvSpPr>
          <p:spPr>
            <a:xfrm>
              <a:off x="8182443" y="1732057"/>
              <a:ext cx="403107" cy="4521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65" name="Rectangle 164">
              <a:extLst>
                <a:ext uri="{FF2B5EF4-FFF2-40B4-BE49-F238E27FC236}">
                  <a16:creationId xmlns:a16="http://schemas.microsoft.com/office/drawing/2014/main" id="{12B17B71-222C-38B0-B439-C3D1F882DD73}"/>
                </a:ext>
              </a:extLst>
            </p:cNvPr>
            <p:cNvSpPr>
              <a:spLocks/>
            </p:cNvSpPr>
            <p:nvPr/>
          </p:nvSpPr>
          <p:spPr>
            <a:xfrm>
              <a:off x="8606412" y="1732057"/>
              <a:ext cx="417559" cy="4521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66" name="Rectangle 165">
              <a:extLst>
                <a:ext uri="{FF2B5EF4-FFF2-40B4-BE49-F238E27FC236}">
                  <a16:creationId xmlns:a16="http://schemas.microsoft.com/office/drawing/2014/main" id="{4E2E157F-053E-DF1B-F7E4-652D7384C811}"/>
                </a:ext>
              </a:extLst>
            </p:cNvPr>
            <p:cNvSpPr>
              <a:spLocks/>
            </p:cNvSpPr>
            <p:nvPr/>
          </p:nvSpPr>
          <p:spPr>
            <a:xfrm>
              <a:off x="7320053" y="1732057"/>
              <a:ext cx="403107" cy="4521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67" name="Rectangle 166">
              <a:extLst>
                <a:ext uri="{FF2B5EF4-FFF2-40B4-BE49-F238E27FC236}">
                  <a16:creationId xmlns:a16="http://schemas.microsoft.com/office/drawing/2014/main" id="{BED8DD2F-F75B-2F23-6075-69C74D8DADC4}"/>
                </a:ext>
              </a:extLst>
            </p:cNvPr>
            <p:cNvSpPr>
              <a:spLocks/>
            </p:cNvSpPr>
            <p:nvPr/>
          </p:nvSpPr>
          <p:spPr>
            <a:xfrm>
              <a:off x="7744022" y="1732057"/>
              <a:ext cx="417559" cy="4521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68" name="Rectangle 167">
              <a:extLst>
                <a:ext uri="{FF2B5EF4-FFF2-40B4-BE49-F238E27FC236}">
                  <a16:creationId xmlns:a16="http://schemas.microsoft.com/office/drawing/2014/main" id="{86E0D9C7-186E-D48A-C9AF-F90E1ED7A62F}"/>
                </a:ext>
              </a:extLst>
            </p:cNvPr>
            <p:cNvSpPr>
              <a:spLocks/>
            </p:cNvSpPr>
            <p:nvPr/>
          </p:nvSpPr>
          <p:spPr>
            <a:xfrm>
              <a:off x="6457663" y="1732057"/>
              <a:ext cx="403107" cy="4521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69" name="Rectangle 168">
              <a:extLst>
                <a:ext uri="{FF2B5EF4-FFF2-40B4-BE49-F238E27FC236}">
                  <a16:creationId xmlns:a16="http://schemas.microsoft.com/office/drawing/2014/main" id="{8507DCA2-13B3-D99A-AFFC-79E974CE55F5}"/>
                </a:ext>
              </a:extLst>
            </p:cNvPr>
            <p:cNvSpPr>
              <a:spLocks/>
            </p:cNvSpPr>
            <p:nvPr/>
          </p:nvSpPr>
          <p:spPr>
            <a:xfrm>
              <a:off x="6881632" y="1732057"/>
              <a:ext cx="417559" cy="4521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70" name="Rectangle 169">
              <a:extLst>
                <a:ext uri="{FF2B5EF4-FFF2-40B4-BE49-F238E27FC236}">
                  <a16:creationId xmlns:a16="http://schemas.microsoft.com/office/drawing/2014/main" id="{2178C458-9652-3360-A9FA-EA0189B2C0A4}"/>
                </a:ext>
              </a:extLst>
            </p:cNvPr>
            <p:cNvSpPr>
              <a:spLocks/>
            </p:cNvSpPr>
            <p:nvPr/>
          </p:nvSpPr>
          <p:spPr>
            <a:xfrm>
              <a:off x="5595273" y="1732057"/>
              <a:ext cx="403107" cy="4521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71" name="Rectangle 170">
              <a:extLst>
                <a:ext uri="{FF2B5EF4-FFF2-40B4-BE49-F238E27FC236}">
                  <a16:creationId xmlns:a16="http://schemas.microsoft.com/office/drawing/2014/main" id="{EADF4990-2BB0-BF1F-7D94-D845393070CD}"/>
                </a:ext>
              </a:extLst>
            </p:cNvPr>
            <p:cNvSpPr>
              <a:spLocks/>
            </p:cNvSpPr>
            <p:nvPr/>
          </p:nvSpPr>
          <p:spPr>
            <a:xfrm>
              <a:off x="6019242" y="1732057"/>
              <a:ext cx="417559" cy="4521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72" name="Rectangle 171">
              <a:extLst>
                <a:ext uri="{FF2B5EF4-FFF2-40B4-BE49-F238E27FC236}">
                  <a16:creationId xmlns:a16="http://schemas.microsoft.com/office/drawing/2014/main" id="{4EE462E0-3E2C-4B47-5613-E600C2475000}"/>
                </a:ext>
              </a:extLst>
            </p:cNvPr>
            <p:cNvSpPr>
              <a:spLocks/>
            </p:cNvSpPr>
            <p:nvPr/>
          </p:nvSpPr>
          <p:spPr>
            <a:xfrm>
              <a:off x="4732883" y="1732057"/>
              <a:ext cx="403107" cy="4521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75" name="Rectangle 174">
              <a:extLst>
                <a:ext uri="{FF2B5EF4-FFF2-40B4-BE49-F238E27FC236}">
                  <a16:creationId xmlns:a16="http://schemas.microsoft.com/office/drawing/2014/main" id="{4DFDC9C0-533F-982A-43C6-A1877EDFD875}"/>
                </a:ext>
              </a:extLst>
            </p:cNvPr>
            <p:cNvSpPr>
              <a:spLocks/>
            </p:cNvSpPr>
            <p:nvPr/>
          </p:nvSpPr>
          <p:spPr>
            <a:xfrm>
              <a:off x="5156852" y="1732057"/>
              <a:ext cx="417559" cy="4521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80" name="Rectangle 179">
              <a:extLst>
                <a:ext uri="{FF2B5EF4-FFF2-40B4-BE49-F238E27FC236}">
                  <a16:creationId xmlns:a16="http://schemas.microsoft.com/office/drawing/2014/main" id="{57162923-55E6-277A-FF0B-DC6A48BDA027}"/>
                </a:ext>
              </a:extLst>
            </p:cNvPr>
            <p:cNvSpPr>
              <a:spLocks/>
            </p:cNvSpPr>
            <p:nvPr/>
          </p:nvSpPr>
          <p:spPr>
            <a:xfrm>
              <a:off x="3870493" y="1732057"/>
              <a:ext cx="403107" cy="4521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sp>
          <p:nvSpPr>
            <p:cNvPr id="188" name="Rectangle 187">
              <a:extLst>
                <a:ext uri="{FF2B5EF4-FFF2-40B4-BE49-F238E27FC236}">
                  <a16:creationId xmlns:a16="http://schemas.microsoft.com/office/drawing/2014/main" id="{1F01E8E1-7B10-D817-30C8-9B47BFC82037}"/>
                </a:ext>
              </a:extLst>
            </p:cNvPr>
            <p:cNvSpPr>
              <a:spLocks/>
            </p:cNvSpPr>
            <p:nvPr/>
          </p:nvSpPr>
          <p:spPr>
            <a:xfrm>
              <a:off x="4294462" y="1732057"/>
              <a:ext cx="417559" cy="4521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grpSp>
      <p:sp>
        <p:nvSpPr>
          <p:cNvPr id="191" name="Rectangle: Top Corners Rounded 190">
            <a:extLst>
              <a:ext uri="{FF2B5EF4-FFF2-40B4-BE49-F238E27FC236}">
                <a16:creationId xmlns:a16="http://schemas.microsoft.com/office/drawing/2014/main" id="{906A8E81-7198-F33A-758E-205837C01FCD}"/>
              </a:ext>
            </a:extLst>
          </p:cNvPr>
          <p:cNvSpPr/>
          <p:nvPr/>
        </p:nvSpPr>
        <p:spPr>
          <a:xfrm>
            <a:off x="3852228" y="1419078"/>
            <a:ext cx="7752397" cy="279949"/>
          </a:xfrm>
          <a:prstGeom prst="round2SameRect">
            <a:avLst>
              <a:gd name="adj1" fmla="val 50000"/>
              <a:gd name="adj2" fmla="val 0"/>
            </a:avLst>
          </a:prstGeom>
          <a:gradFill flip="none" rotWithShape="1">
            <a:gsLst>
              <a:gs pos="5000">
                <a:schemeClr val="accent1">
                  <a:alpha val="85000"/>
                </a:schemeClr>
              </a:gs>
              <a:gs pos="82000">
                <a:srgbClr val="00C0AE">
                  <a:alpha val="80000"/>
                </a:srgbClr>
              </a:gs>
              <a:gs pos="58000">
                <a:schemeClr val="accent4">
                  <a:alpha val="84000"/>
                </a:schemeClr>
              </a:gs>
            </a:gsLst>
            <a:lin ang="10200000" scaled="0"/>
            <a:tileRect/>
          </a:gradFill>
        </p:spPr>
        <p:txBody>
          <a:bodyPr wrap="square" lIns="0" tIns="0" rIns="0" bIns="0" rtlCol="0"/>
          <a:lstStyle/>
          <a:p>
            <a:endParaRPr lang="en-US" err="1">
              <a:solidFill>
                <a:schemeClr val="tx1"/>
              </a:solidFill>
            </a:endParaRPr>
          </a:p>
        </p:txBody>
      </p:sp>
      <p:graphicFrame>
        <p:nvGraphicFramePr>
          <p:cNvPr id="192" name="Table 191">
            <a:extLst>
              <a:ext uri="{FF2B5EF4-FFF2-40B4-BE49-F238E27FC236}">
                <a16:creationId xmlns:a16="http://schemas.microsoft.com/office/drawing/2014/main" id="{20615993-A375-F955-4379-D6E1F477B549}"/>
              </a:ext>
            </a:extLst>
          </p:cNvPr>
          <p:cNvGraphicFramePr>
            <a:graphicFrameLocks noGrp="1"/>
          </p:cNvGraphicFramePr>
          <p:nvPr>
            <p:extLst>
              <p:ext uri="{D42A27DB-BD31-4B8C-83A1-F6EECF244321}">
                <p14:modId xmlns:p14="http://schemas.microsoft.com/office/powerpoint/2010/main" val="2745715540"/>
              </p:ext>
            </p:extLst>
          </p:nvPr>
        </p:nvGraphicFramePr>
        <p:xfrm>
          <a:off x="3834706" y="1413439"/>
          <a:ext cx="7752400" cy="278354"/>
        </p:xfrm>
        <a:graphic>
          <a:graphicData uri="http://schemas.openxmlformats.org/drawingml/2006/table">
            <a:tbl>
              <a:tblPr>
                <a:tableStyleId>{5C22544A-7EE6-4342-B048-85BDC9FD1C3A}</a:tableStyleId>
              </a:tblPr>
              <a:tblGrid>
                <a:gridCol w="484525">
                  <a:extLst>
                    <a:ext uri="{9D8B030D-6E8A-4147-A177-3AD203B41FA5}">
                      <a16:colId xmlns:a16="http://schemas.microsoft.com/office/drawing/2014/main" val="467535061"/>
                    </a:ext>
                  </a:extLst>
                </a:gridCol>
                <a:gridCol w="484525">
                  <a:extLst>
                    <a:ext uri="{9D8B030D-6E8A-4147-A177-3AD203B41FA5}">
                      <a16:colId xmlns:a16="http://schemas.microsoft.com/office/drawing/2014/main" val="3428964844"/>
                    </a:ext>
                  </a:extLst>
                </a:gridCol>
                <a:gridCol w="484525">
                  <a:extLst>
                    <a:ext uri="{9D8B030D-6E8A-4147-A177-3AD203B41FA5}">
                      <a16:colId xmlns:a16="http://schemas.microsoft.com/office/drawing/2014/main" val="3777614385"/>
                    </a:ext>
                  </a:extLst>
                </a:gridCol>
                <a:gridCol w="484525">
                  <a:extLst>
                    <a:ext uri="{9D8B030D-6E8A-4147-A177-3AD203B41FA5}">
                      <a16:colId xmlns:a16="http://schemas.microsoft.com/office/drawing/2014/main" val="1081374661"/>
                    </a:ext>
                  </a:extLst>
                </a:gridCol>
                <a:gridCol w="484525">
                  <a:extLst>
                    <a:ext uri="{9D8B030D-6E8A-4147-A177-3AD203B41FA5}">
                      <a16:colId xmlns:a16="http://schemas.microsoft.com/office/drawing/2014/main" val="787332642"/>
                    </a:ext>
                  </a:extLst>
                </a:gridCol>
                <a:gridCol w="484525">
                  <a:extLst>
                    <a:ext uri="{9D8B030D-6E8A-4147-A177-3AD203B41FA5}">
                      <a16:colId xmlns:a16="http://schemas.microsoft.com/office/drawing/2014/main" val="3593274225"/>
                    </a:ext>
                  </a:extLst>
                </a:gridCol>
                <a:gridCol w="484525">
                  <a:extLst>
                    <a:ext uri="{9D8B030D-6E8A-4147-A177-3AD203B41FA5}">
                      <a16:colId xmlns:a16="http://schemas.microsoft.com/office/drawing/2014/main" val="394682550"/>
                    </a:ext>
                  </a:extLst>
                </a:gridCol>
                <a:gridCol w="484525">
                  <a:extLst>
                    <a:ext uri="{9D8B030D-6E8A-4147-A177-3AD203B41FA5}">
                      <a16:colId xmlns:a16="http://schemas.microsoft.com/office/drawing/2014/main" val="2701485142"/>
                    </a:ext>
                  </a:extLst>
                </a:gridCol>
                <a:gridCol w="484525">
                  <a:extLst>
                    <a:ext uri="{9D8B030D-6E8A-4147-A177-3AD203B41FA5}">
                      <a16:colId xmlns:a16="http://schemas.microsoft.com/office/drawing/2014/main" val="2522873932"/>
                    </a:ext>
                  </a:extLst>
                </a:gridCol>
                <a:gridCol w="484525">
                  <a:extLst>
                    <a:ext uri="{9D8B030D-6E8A-4147-A177-3AD203B41FA5}">
                      <a16:colId xmlns:a16="http://schemas.microsoft.com/office/drawing/2014/main" val="3644371666"/>
                    </a:ext>
                  </a:extLst>
                </a:gridCol>
                <a:gridCol w="484525">
                  <a:extLst>
                    <a:ext uri="{9D8B030D-6E8A-4147-A177-3AD203B41FA5}">
                      <a16:colId xmlns:a16="http://schemas.microsoft.com/office/drawing/2014/main" val="2289121423"/>
                    </a:ext>
                  </a:extLst>
                </a:gridCol>
                <a:gridCol w="484525">
                  <a:extLst>
                    <a:ext uri="{9D8B030D-6E8A-4147-A177-3AD203B41FA5}">
                      <a16:colId xmlns:a16="http://schemas.microsoft.com/office/drawing/2014/main" val="764129831"/>
                    </a:ext>
                  </a:extLst>
                </a:gridCol>
                <a:gridCol w="484525">
                  <a:extLst>
                    <a:ext uri="{9D8B030D-6E8A-4147-A177-3AD203B41FA5}">
                      <a16:colId xmlns:a16="http://schemas.microsoft.com/office/drawing/2014/main" val="4232772185"/>
                    </a:ext>
                  </a:extLst>
                </a:gridCol>
                <a:gridCol w="484525">
                  <a:extLst>
                    <a:ext uri="{9D8B030D-6E8A-4147-A177-3AD203B41FA5}">
                      <a16:colId xmlns:a16="http://schemas.microsoft.com/office/drawing/2014/main" val="634795712"/>
                    </a:ext>
                  </a:extLst>
                </a:gridCol>
                <a:gridCol w="484525">
                  <a:extLst>
                    <a:ext uri="{9D8B030D-6E8A-4147-A177-3AD203B41FA5}">
                      <a16:colId xmlns:a16="http://schemas.microsoft.com/office/drawing/2014/main" val="3629203917"/>
                    </a:ext>
                  </a:extLst>
                </a:gridCol>
                <a:gridCol w="484525">
                  <a:extLst>
                    <a:ext uri="{9D8B030D-6E8A-4147-A177-3AD203B41FA5}">
                      <a16:colId xmlns:a16="http://schemas.microsoft.com/office/drawing/2014/main" val="2981839252"/>
                    </a:ext>
                  </a:extLst>
                </a:gridCol>
              </a:tblGrid>
              <a:tr h="278354">
                <a:tc>
                  <a:txBody>
                    <a:bodyPr/>
                    <a:lstStyle/>
                    <a:p>
                      <a:pPr algn="ctr" fontAlgn="b">
                        <a:buNone/>
                      </a:pPr>
                      <a:r>
                        <a:rPr lang="en-US" sz="1100" b="0" i="0" u="none" strike="noStrike">
                          <a:solidFill>
                            <a:schemeClr val="bg1"/>
                          </a:solidFill>
                          <a:effectLst/>
                          <a:latin typeface="+mj-lt"/>
                        </a:rPr>
                        <a:t>Week 1</a:t>
                      </a:r>
                    </a:p>
                  </a:txBody>
                  <a:tcPr marL="6350" marR="6350" marT="6350" marB="0" anchor="ctr">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sz="1100" b="0" i="0" u="none" strike="noStrike">
                          <a:solidFill>
                            <a:schemeClr val="bg1"/>
                          </a:solidFill>
                          <a:effectLst/>
                          <a:latin typeface="+mj-lt"/>
                        </a:rPr>
                        <a:t>Week 2</a:t>
                      </a:r>
                    </a:p>
                  </a:txBody>
                  <a:tcPr marL="6350" marR="6350" marT="635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sz="1100" b="0" i="0" u="none" strike="noStrike">
                          <a:solidFill>
                            <a:schemeClr val="bg1"/>
                          </a:solidFill>
                          <a:effectLst/>
                          <a:latin typeface="+mj-lt"/>
                        </a:rPr>
                        <a:t>Week 3</a:t>
                      </a:r>
                    </a:p>
                  </a:txBody>
                  <a:tcPr marL="6350" marR="6350" marT="635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sz="1100" b="0" i="0" u="none" strike="noStrike">
                          <a:solidFill>
                            <a:schemeClr val="bg1"/>
                          </a:solidFill>
                          <a:effectLst/>
                          <a:latin typeface="+mj-lt"/>
                        </a:rPr>
                        <a:t>Week 4</a:t>
                      </a:r>
                    </a:p>
                  </a:txBody>
                  <a:tcPr marL="6350" marR="6350" marT="635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sz="1100" b="0" i="0" u="none" strike="noStrike">
                          <a:solidFill>
                            <a:schemeClr val="bg1"/>
                          </a:solidFill>
                          <a:effectLst/>
                          <a:latin typeface="+mj-lt"/>
                        </a:rPr>
                        <a:t>Week 5</a:t>
                      </a:r>
                    </a:p>
                  </a:txBody>
                  <a:tcPr marL="6350" marR="6350" marT="635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sz="1100" b="0" i="0" u="none" strike="noStrike">
                          <a:solidFill>
                            <a:schemeClr val="bg1"/>
                          </a:solidFill>
                          <a:effectLst/>
                          <a:latin typeface="+mj-lt"/>
                        </a:rPr>
                        <a:t>Week 6</a:t>
                      </a:r>
                    </a:p>
                  </a:txBody>
                  <a:tcPr marL="6350" marR="6350" marT="635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sz="1100" b="0" i="0" u="none" strike="noStrike">
                          <a:solidFill>
                            <a:schemeClr val="bg1"/>
                          </a:solidFill>
                          <a:effectLst/>
                          <a:latin typeface="+mj-lt"/>
                        </a:rPr>
                        <a:t>Week 7</a:t>
                      </a:r>
                    </a:p>
                  </a:txBody>
                  <a:tcPr marL="6350" marR="6350" marT="635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sz="1100" b="0" i="0" u="none" strike="noStrike">
                          <a:solidFill>
                            <a:schemeClr val="bg1"/>
                          </a:solidFill>
                          <a:effectLst/>
                          <a:latin typeface="+mj-lt"/>
                        </a:rPr>
                        <a:t>Week 8</a:t>
                      </a:r>
                    </a:p>
                  </a:txBody>
                  <a:tcPr marL="6350" marR="6350" marT="635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sz="1100" b="0" i="0" u="none" strike="noStrike">
                          <a:solidFill>
                            <a:schemeClr val="bg1"/>
                          </a:solidFill>
                          <a:effectLst/>
                          <a:latin typeface="+mj-lt"/>
                        </a:rPr>
                        <a:t>Week 9</a:t>
                      </a:r>
                    </a:p>
                  </a:txBody>
                  <a:tcPr marL="6350" marR="6350" marT="635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sz="1100" b="0" i="0" u="none" strike="noStrike">
                          <a:solidFill>
                            <a:schemeClr val="bg1"/>
                          </a:solidFill>
                          <a:effectLst/>
                          <a:latin typeface="+mj-lt"/>
                        </a:rPr>
                        <a:t>Week 10</a:t>
                      </a:r>
                    </a:p>
                  </a:txBody>
                  <a:tcPr marL="6350" marR="6350" marT="635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sz="1100" b="0" i="0" u="none" strike="noStrike">
                          <a:solidFill>
                            <a:schemeClr val="bg1"/>
                          </a:solidFill>
                          <a:effectLst/>
                          <a:latin typeface="+mj-lt"/>
                        </a:rPr>
                        <a:t>Week 11</a:t>
                      </a:r>
                    </a:p>
                  </a:txBody>
                  <a:tcPr marL="6350" marR="6350" marT="635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sz="1100" b="0" i="0" u="none" strike="noStrike">
                          <a:solidFill>
                            <a:schemeClr val="bg1"/>
                          </a:solidFill>
                          <a:effectLst/>
                          <a:latin typeface="+mj-lt"/>
                        </a:rPr>
                        <a:t>Week 12</a:t>
                      </a:r>
                    </a:p>
                  </a:txBody>
                  <a:tcPr marL="6350" marR="6350" marT="635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sz="1100" b="0" i="0" u="none" strike="noStrike">
                          <a:solidFill>
                            <a:schemeClr val="bg1"/>
                          </a:solidFill>
                          <a:effectLst/>
                          <a:latin typeface="+mj-lt"/>
                        </a:rPr>
                        <a:t>Week 13</a:t>
                      </a:r>
                    </a:p>
                  </a:txBody>
                  <a:tcPr marL="6350" marR="6350" marT="635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sz="1100" b="0" i="0" u="none" strike="noStrike">
                          <a:solidFill>
                            <a:schemeClr val="bg1"/>
                          </a:solidFill>
                          <a:effectLst/>
                          <a:latin typeface="+mj-lt"/>
                        </a:rPr>
                        <a:t>Week 14</a:t>
                      </a:r>
                    </a:p>
                  </a:txBody>
                  <a:tcPr marL="6350" marR="6350" marT="635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sz="1100" b="0" i="0" u="none" strike="noStrike">
                          <a:solidFill>
                            <a:schemeClr val="bg1"/>
                          </a:solidFill>
                          <a:effectLst/>
                          <a:latin typeface="+mj-lt"/>
                        </a:rPr>
                        <a:t>Week 15</a:t>
                      </a:r>
                    </a:p>
                  </a:txBody>
                  <a:tcPr marL="6350" marR="6350" marT="635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US" sz="1100" b="0" i="0" u="none" strike="noStrike">
                          <a:solidFill>
                            <a:schemeClr val="bg1"/>
                          </a:solidFill>
                          <a:effectLst/>
                          <a:latin typeface="+mj-lt"/>
                        </a:rPr>
                        <a:t>Week 16</a:t>
                      </a:r>
                    </a:p>
                  </a:txBody>
                  <a:tcPr marL="6350" marR="6350" marT="6350" marB="0" anchor="ctr">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3679894"/>
                  </a:ext>
                </a:extLst>
              </a:tr>
            </a:tbl>
          </a:graphicData>
        </a:graphic>
      </p:graphicFrame>
      <p:sp>
        <p:nvSpPr>
          <p:cNvPr id="193" name="Rectangle 192">
            <a:extLst>
              <a:ext uri="{FF2B5EF4-FFF2-40B4-BE49-F238E27FC236}">
                <a16:creationId xmlns:a16="http://schemas.microsoft.com/office/drawing/2014/main" id="{7659889A-27BA-D1AE-3508-BDA064641561}"/>
              </a:ext>
            </a:extLst>
          </p:cNvPr>
          <p:cNvSpPr/>
          <p:nvPr/>
        </p:nvSpPr>
        <p:spPr>
          <a:xfrm>
            <a:off x="588940" y="3430650"/>
            <a:ext cx="1486654" cy="18509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54610" rIns="54610" bIns="54610" rtlCol="0" anchor="ctr"/>
          <a:lstStyle/>
          <a:p>
            <a:r>
              <a:rPr lang="en-US" sz="1400">
                <a:solidFill>
                  <a:schemeClr val="bg1"/>
                </a:solidFill>
                <a:latin typeface="+mj-lt"/>
              </a:rPr>
              <a:t>2. Data Lake</a:t>
            </a:r>
          </a:p>
        </p:txBody>
      </p:sp>
      <p:sp>
        <p:nvSpPr>
          <p:cNvPr id="194" name="Rectangle 193">
            <a:extLst>
              <a:ext uri="{FF2B5EF4-FFF2-40B4-BE49-F238E27FC236}">
                <a16:creationId xmlns:a16="http://schemas.microsoft.com/office/drawing/2014/main" id="{4CB08A87-9BBE-89FF-2006-FC14C7537D92}"/>
              </a:ext>
            </a:extLst>
          </p:cNvPr>
          <p:cNvSpPr/>
          <p:nvPr/>
        </p:nvSpPr>
        <p:spPr>
          <a:xfrm>
            <a:off x="2132320" y="1749091"/>
            <a:ext cx="1663415" cy="44373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a:solidFill>
                <a:schemeClr val="bg1"/>
              </a:solidFill>
            </a:endParaRPr>
          </a:p>
        </p:txBody>
      </p:sp>
      <p:graphicFrame>
        <p:nvGraphicFramePr>
          <p:cNvPr id="195" name="Table 194">
            <a:extLst>
              <a:ext uri="{FF2B5EF4-FFF2-40B4-BE49-F238E27FC236}">
                <a16:creationId xmlns:a16="http://schemas.microsoft.com/office/drawing/2014/main" id="{77933B5A-495A-4FD6-02DD-B5DAF07AD1E5}"/>
              </a:ext>
            </a:extLst>
          </p:cNvPr>
          <p:cNvGraphicFramePr>
            <a:graphicFrameLocks noGrp="1"/>
          </p:cNvGraphicFramePr>
          <p:nvPr>
            <p:extLst>
              <p:ext uri="{D42A27DB-BD31-4B8C-83A1-F6EECF244321}">
                <p14:modId xmlns:p14="http://schemas.microsoft.com/office/powerpoint/2010/main" val="625198901"/>
              </p:ext>
            </p:extLst>
          </p:nvPr>
        </p:nvGraphicFramePr>
        <p:xfrm>
          <a:off x="2121571" y="1752798"/>
          <a:ext cx="1710172" cy="4420490"/>
        </p:xfrm>
        <a:graphic>
          <a:graphicData uri="http://schemas.openxmlformats.org/drawingml/2006/table">
            <a:tbl>
              <a:tblPr firstRow="1" bandRow="1">
                <a:tableStyleId>{5C22544A-7EE6-4342-B048-85BDC9FD1C3A}</a:tableStyleId>
              </a:tblPr>
              <a:tblGrid>
                <a:gridCol w="1710172">
                  <a:extLst>
                    <a:ext uri="{9D8B030D-6E8A-4147-A177-3AD203B41FA5}">
                      <a16:colId xmlns:a16="http://schemas.microsoft.com/office/drawing/2014/main" val="4106967989"/>
                    </a:ext>
                  </a:extLst>
                </a:gridCol>
              </a:tblGrid>
              <a:tr h="213657">
                <a:tc>
                  <a:txBody>
                    <a:bodyPr/>
                    <a:lstStyle/>
                    <a:p>
                      <a:pPr marL="0" marR="0" lvl="0" indent="0" algn="l" defTabSz="104269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700" b="0" kern="1200">
                          <a:solidFill>
                            <a:schemeClr val="dk1"/>
                          </a:solidFill>
                          <a:latin typeface="+mn-lt"/>
                          <a:ea typeface="+mn-ea"/>
                          <a:cs typeface="Segoe UI"/>
                        </a:rPr>
                        <a:t>0.1 Project Charter</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79000"/>
                      </a:schemeClr>
                    </a:solidFill>
                  </a:tcPr>
                </a:tc>
                <a:extLst>
                  <a:ext uri="{0D108BD9-81ED-4DB2-BD59-A6C34878D82A}">
                    <a16:rowId xmlns:a16="http://schemas.microsoft.com/office/drawing/2014/main" val="3361153160"/>
                  </a:ext>
                </a:extLst>
              </a:tr>
              <a:tr h="239119">
                <a:tc>
                  <a:txBody>
                    <a:bodyPr/>
                    <a:lstStyle/>
                    <a:p>
                      <a:pPr marL="0" marR="0" lvl="0" indent="0" algn="l" defTabSz="104269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700" b="0" kern="1200">
                          <a:solidFill>
                            <a:schemeClr val="dk1"/>
                          </a:solidFill>
                          <a:latin typeface="+mn-lt"/>
                          <a:ea typeface="+mn-ea"/>
                          <a:cs typeface="Segoe UI"/>
                        </a:rPr>
                        <a:t>0.2 Detailed Project Plan</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79000"/>
                      </a:schemeClr>
                    </a:solidFill>
                  </a:tcPr>
                </a:tc>
                <a:extLst>
                  <a:ext uri="{0D108BD9-81ED-4DB2-BD59-A6C34878D82A}">
                    <a16:rowId xmlns:a16="http://schemas.microsoft.com/office/drawing/2014/main" val="3286116706"/>
                  </a:ext>
                </a:extLst>
              </a:tr>
              <a:tr h="361745">
                <a:tc>
                  <a:txBody>
                    <a:bodyPr/>
                    <a:lstStyle/>
                    <a:p>
                      <a:pPr marL="0" marR="0" lvl="0" indent="0" algn="l" defTabSz="1042690" rtl="0" eaLnBrk="1" fontAlgn="auto" latinLnBrk="0" hangingPunct="1">
                        <a:lnSpc>
                          <a:spcPct val="100000"/>
                        </a:lnSpc>
                        <a:spcBef>
                          <a:spcPts val="200"/>
                        </a:spcBef>
                        <a:spcAft>
                          <a:spcPts val="0"/>
                        </a:spcAft>
                        <a:buClrTx/>
                        <a:buSzTx/>
                        <a:buFont typeface="Arial" panose="020B0604020202020204" pitchFamily="34" charset="0"/>
                        <a:buNone/>
                        <a:tabLst/>
                        <a:defRPr/>
                      </a:pPr>
                      <a:endParaRPr lang="en-US" sz="700" b="0" kern="1200">
                        <a:solidFill>
                          <a:schemeClr val="dk1"/>
                        </a:solidFill>
                        <a:latin typeface="+mn-lt"/>
                        <a:ea typeface="+mn-ea"/>
                        <a:cs typeface="Segoe UI"/>
                      </a:endParaRP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79000"/>
                      </a:schemeClr>
                    </a:solidFill>
                  </a:tcPr>
                </a:tc>
                <a:extLst>
                  <a:ext uri="{0D108BD9-81ED-4DB2-BD59-A6C34878D82A}">
                    <a16:rowId xmlns:a16="http://schemas.microsoft.com/office/drawing/2014/main" val="3693691885"/>
                  </a:ext>
                </a:extLst>
              </a:tr>
              <a:tr h="210870">
                <a:tc>
                  <a:txBody>
                    <a:bodyPr/>
                    <a:lstStyle/>
                    <a:p>
                      <a:pPr marL="0" indent="0" algn="l" defTabSz="1042690" rtl="0" eaLnBrk="1" latinLnBrk="0" hangingPunct="1">
                        <a:spcBef>
                          <a:spcPts val="200"/>
                        </a:spcBef>
                        <a:buFont typeface="Arial" panose="020B0604020202020204" pitchFamily="34" charset="0"/>
                        <a:buNone/>
                        <a:defRPr/>
                      </a:pPr>
                      <a:r>
                        <a:rPr lang="en-US" sz="700" b="0">
                          <a:solidFill>
                            <a:schemeClr val="tx1"/>
                          </a:solidFill>
                        </a:rPr>
                        <a:t>1.1 Strategic Roadmap</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79000"/>
                      </a:schemeClr>
                    </a:solidFill>
                  </a:tcPr>
                </a:tc>
                <a:extLst>
                  <a:ext uri="{0D108BD9-81ED-4DB2-BD59-A6C34878D82A}">
                    <a16:rowId xmlns:a16="http://schemas.microsoft.com/office/drawing/2014/main" val="1020785631"/>
                  </a:ext>
                </a:extLst>
              </a:tr>
              <a:tr h="294301">
                <a:tc>
                  <a:txBody>
                    <a:bodyPr/>
                    <a:lstStyle/>
                    <a:p>
                      <a:pPr marL="0" indent="0" algn="l" defTabSz="1042690" rtl="0" eaLnBrk="1" latinLnBrk="0" hangingPunct="1">
                        <a:spcBef>
                          <a:spcPts val="200"/>
                        </a:spcBef>
                        <a:buFont typeface="Arial" panose="020B0604020202020204" pitchFamily="34" charset="0"/>
                        <a:buNone/>
                        <a:defRPr/>
                      </a:pPr>
                      <a:r>
                        <a:rPr lang="en-US" sz="700" b="0">
                          <a:solidFill>
                            <a:schemeClr val="tx1"/>
                          </a:solidFill>
                        </a:rPr>
                        <a:t>1.2 Data Driven Business Case </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79000"/>
                      </a:schemeClr>
                    </a:solidFill>
                  </a:tcPr>
                </a:tc>
                <a:extLst>
                  <a:ext uri="{0D108BD9-81ED-4DB2-BD59-A6C34878D82A}">
                    <a16:rowId xmlns:a16="http://schemas.microsoft.com/office/drawing/2014/main" val="697029945"/>
                  </a:ext>
                </a:extLst>
              </a:tr>
              <a:tr h="294301">
                <a:tc>
                  <a:txBody>
                    <a:bodyPr/>
                    <a:lstStyle/>
                    <a:p>
                      <a:pPr marL="0" marR="0" lvl="0" indent="0" algn="l" defTabSz="104269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700" b="0">
                          <a:solidFill>
                            <a:schemeClr val="tx1"/>
                          </a:solidFill>
                        </a:rPr>
                        <a:t>1.3 Non-Data Lake Agent </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79000"/>
                      </a:schemeClr>
                    </a:solidFill>
                  </a:tcPr>
                </a:tc>
                <a:extLst>
                  <a:ext uri="{0D108BD9-81ED-4DB2-BD59-A6C34878D82A}">
                    <a16:rowId xmlns:a16="http://schemas.microsoft.com/office/drawing/2014/main" val="1535584026"/>
                  </a:ext>
                </a:extLst>
              </a:tr>
              <a:tr h="228417">
                <a:tc>
                  <a:txBody>
                    <a:bodyPr/>
                    <a:lstStyle/>
                    <a:p>
                      <a:pPr marL="0" indent="0" algn="l" defTabSz="1042690" rtl="0" eaLnBrk="1" latinLnBrk="0" hangingPunct="1">
                        <a:spcBef>
                          <a:spcPts val="200"/>
                        </a:spcBef>
                        <a:buFont typeface="Arial" panose="020B0604020202020204" pitchFamily="34" charset="0"/>
                        <a:buNone/>
                        <a:defRPr/>
                      </a:pPr>
                      <a:r>
                        <a:rPr lang="en-US" sz="700" b="0" kern="1200">
                          <a:solidFill>
                            <a:schemeClr val="dk1"/>
                          </a:solidFill>
                          <a:latin typeface="+mn-lt"/>
                          <a:ea typeface="+mn-ea"/>
                          <a:cs typeface="+mn-cs"/>
                        </a:rPr>
                        <a:t>2.1 Architecture Design Approval</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79000"/>
                      </a:schemeClr>
                    </a:solidFill>
                  </a:tcPr>
                </a:tc>
                <a:extLst>
                  <a:ext uri="{0D108BD9-81ED-4DB2-BD59-A6C34878D82A}">
                    <a16:rowId xmlns:a16="http://schemas.microsoft.com/office/drawing/2014/main" val="2930569931"/>
                  </a:ext>
                </a:extLst>
              </a:tr>
              <a:tr h="228417">
                <a:tc>
                  <a:txBody>
                    <a:bodyPr/>
                    <a:lstStyle/>
                    <a:p>
                      <a:pPr marL="0" indent="0" algn="l" defTabSz="1042690" rtl="0" eaLnBrk="1" latinLnBrk="0" hangingPunct="1">
                        <a:spcBef>
                          <a:spcPts val="200"/>
                        </a:spcBef>
                        <a:buFont typeface="Arial" panose="020B0604020202020204" pitchFamily="34" charset="0"/>
                        <a:buNone/>
                        <a:defRPr/>
                      </a:pPr>
                      <a:r>
                        <a:rPr lang="en-US" sz="700" b="0" kern="1200">
                          <a:solidFill>
                            <a:schemeClr val="dk1"/>
                          </a:solidFill>
                          <a:latin typeface="+mn-lt"/>
                          <a:ea typeface="+mn-ea"/>
                          <a:cs typeface="+mn-cs"/>
                        </a:rPr>
                        <a:t>2.2 Deploy IaaC</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79000"/>
                      </a:schemeClr>
                    </a:solidFill>
                  </a:tcPr>
                </a:tc>
                <a:extLst>
                  <a:ext uri="{0D108BD9-81ED-4DB2-BD59-A6C34878D82A}">
                    <a16:rowId xmlns:a16="http://schemas.microsoft.com/office/drawing/2014/main" val="2147967628"/>
                  </a:ext>
                </a:extLst>
              </a:tr>
              <a:tr h="294301">
                <a:tc>
                  <a:txBody>
                    <a:bodyPr/>
                    <a:lstStyle/>
                    <a:p>
                      <a:pPr marL="0" indent="0" algn="l" defTabSz="1042690" rtl="0" eaLnBrk="1" latinLnBrk="0" hangingPunct="1">
                        <a:spcBef>
                          <a:spcPts val="200"/>
                        </a:spcBef>
                        <a:buFont typeface="Arial" panose="020B0604020202020204" pitchFamily="34" charset="0"/>
                        <a:buNone/>
                        <a:defRPr/>
                      </a:pPr>
                      <a:r>
                        <a:rPr lang="en-US" sz="700" b="0" kern="1200">
                          <a:solidFill>
                            <a:schemeClr val="dk1"/>
                          </a:solidFill>
                          <a:latin typeface="+mn-lt"/>
                          <a:ea typeface="+mn-ea"/>
                          <a:cs typeface="+mn-cs"/>
                        </a:rPr>
                        <a:t>2.3 Configure Azure Services</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79000"/>
                      </a:schemeClr>
                    </a:solidFill>
                  </a:tcPr>
                </a:tc>
                <a:extLst>
                  <a:ext uri="{0D108BD9-81ED-4DB2-BD59-A6C34878D82A}">
                    <a16:rowId xmlns:a16="http://schemas.microsoft.com/office/drawing/2014/main" val="644286114"/>
                  </a:ext>
                </a:extLst>
              </a:tr>
              <a:tr h="228417">
                <a:tc>
                  <a:txBody>
                    <a:bodyPr/>
                    <a:lstStyle/>
                    <a:p>
                      <a:pPr marL="0" indent="0" algn="l" defTabSz="1042690" rtl="0" eaLnBrk="1" latinLnBrk="0" hangingPunct="1">
                        <a:spcBef>
                          <a:spcPts val="200"/>
                        </a:spcBef>
                        <a:buFont typeface="Arial" panose="020B0604020202020204" pitchFamily="34" charset="0"/>
                        <a:buNone/>
                        <a:defRPr/>
                      </a:pPr>
                      <a:r>
                        <a:rPr lang="en-US" sz="700" b="0" kern="1200">
                          <a:solidFill>
                            <a:schemeClr val="dk1"/>
                          </a:solidFill>
                          <a:latin typeface="+mn-lt"/>
                          <a:ea typeface="+mn-ea"/>
                          <a:cs typeface="+mn-cs"/>
                        </a:rPr>
                        <a:t>2.4 Deploy Azure Data Factory</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79000"/>
                      </a:schemeClr>
                    </a:solidFill>
                  </a:tcPr>
                </a:tc>
                <a:extLst>
                  <a:ext uri="{0D108BD9-81ED-4DB2-BD59-A6C34878D82A}">
                    <a16:rowId xmlns:a16="http://schemas.microsoft.com/office/drawing/2014/main" val="2449697180"/>
                  </a:ext>
                </a:extLst>
              </a:tr>
              <a:tr h="228417">
                <a:tc>
                  <a:txBody>
                    <a:bodyPr/>
                    <a:lstStyle/>
                    <a:p>
                      <a:pPr marL="0" indent="0" algn="l" defTabSz="1042690" rtl="0" eaLnBrk="1" latinLnBrk="0" hangingPunct="1">
                        <a:spcBef>
                          <a:spcPts val="200"/>
                        </a:spcBef>
                        <a:buFont typeface="Arial" panose="020B0604020202020204" pitchFamily="34" charset="0"/>
                        <a:buNone/>
                        <a:defRPr/>
                      </a:pPr>
                      <a:r>
                        <a:rPr lang="en-US" sz="700" b="0" kern="1200">
                          <a:solidFill>
                            <a:schemeClr val="dk1"/>
                          </a:solidFill>
                          <a:latin typeface="+mn-lt"/>
                          <a:ea typeface="+mn-ea"/>
                          <a:cs typeface="+mn-cs"/>
                        </a:rPr>
                        <a:t>2.5 Deploy Framework API Connectors</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79000"/>
                      </a:schemeClr>
                    </a:solidFill>
                  </a:tcPr>
                </a:tc>
                <a:extLst>
                  <a:ext uri="{0D108BD9-81ED-4DB2-BD59-A6C34878D82A}">
                    <a16:rowId xmlns:a16="http://schemas.microsoft.com/office/drawing/2014/main" val="3040380256"/>
                  </a:ext>
                </a:extLst>
              </a:tr>
              <a:tr h="228417">
                <a:tc>
                  <a:txBody>
                    <a:bodyPr/>
                    <a:lstStyle/>
                    <a:p>
                      <a:pPr marL="0" indent="0" algn="l" defTabSz="1042690" rtl="0" eaLnBrk="1" latinLnBrk="0" hangingPunct="1">
                        <a:spcBef>
                          <a:spcPts val="200"/>
                        </a:spcBef>
                        <a:buFont typeface="Arial" panose="020B0604020202020204" pitchFamily="34" charset="0"/>
                        <a:buNone/>
                        <a:defRPr/>
                      </a:pPr>
                      <a:r>
                        <a:rPr lang="en-US" sz="700" b="0" kern="1200">
                          <a:solidFill>
                            <a:schemeClr val="dk1"/>
                          </a:solidFill>
                          <a:latin typeface="+mn-lt"/>
                          <a:ea typeface="+mn-ea"/>
                          <a:cs typeface="+mn-cs"/>
                        </a:rPr>
                        <a:t>2.6 Bronze – Silver – Gold Workflow</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79000"/>
                      </a:schemeClr>
                    </a:solidFill>
                  </a:tcPr>
                </a:tc>
                <a:extLst>
                  <a:ext uri="{0D108BD9-81ED-4DB2-BD59-A6C34878D82A}">
                    <a16:rowId xmlns:a16="http://schemas.microsoft.com/office/drawing/2014/main" val="1617896100"/>
                  </a:ext>
                </a:extLst>
              </a:tr>
              <a:tr h="228417">
                <a:tc>
                  <a:txBody>
                    <a:bodyPr/>
                    <a:lstStyle/>
                    <a:p>
                      <a:pPr marL="0" indent="0" algn="l" defTabSz="1042690" rtl="0" eaLnBrk="1" latinLnBrk="0" hangingPunct="1">
                        <a:spcBef>
                          <a:spcPts val="200"/>
                        </a:spcBef>
                        <a:buFont typeface="Arial" panose="020B0604020202020204" pitchFamily="34" charset="0"/>
                        <a:buNone/>
                        <a:defRPr/>
                      </a:pPr>
                      <a:r>
                        <a:rPr lang="en-US" sz="700" b="0" kern="1200">
                          <a:solidFill>
                            <a:schemeClr val="dk1"/>
                          </a:solidFill>
                          <a:latin typeface="+mn-lt"/>
                          <a:ea typeface="+mn-ea"/>
                          <a:cs typeface="+mn-cs"/>
                        </a:rPr>
                        <a:t>2.7 Establish Analytical Data Warehouse</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79000"/>
                      </a:schemeClr>
                    </a:solidFill>
                  </a:tcPr>
                </a:tc>
                <a:extLst>
                  <a:ext uri="{0D108BD9-81ED-4DB2-BD59-A6C34878D82A}">
                    <a16:rowId xmlns:a16="http://schemas.microsoft.com/office/drawing/2014/main" val="2978569519"/>
                  </a:ext>
                </a:extLst>
              </a:tr>
              <a:tr h="249647">
                <a:tc>
                  <a:txBody>
                    <a:bodyPr/>
                    <a:lstStyle/>
                    <a:p>
                      <a:pPr marL="0" marR="0" lvl="0" indent="0" algn="l" defTabSz="104269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700" b="0" kern="1200">
                          <a:solidFill>
                            <a:schemeClr val="dk1"/>
                          </a:solidFill>
                          <a:latin typeface="+mn-lt"/>
                          <a:ea typeface="+mn-ea"/>
                          <a:cs typeface="+mn-cs"/>
                        </a:rPr>
                        <a:t>2.8 AI Model Management</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79000"/>
                      </a:schemeClr>
                    </a:solidFill>
                  </a:tcPr>
                </a:tc>
                <a:extLst>
                  <a:ext uri="{0D108BD9-81ED-4DB2-BD59-A6C34878D82A}">
                    <a16:rowId xmlns:a16="http://schemas.microsoft.com/office/drawing/2014/main" val="227327299"/>
                  </a:ext>
                </a:extLst>
              </a:tr>
              <a:tr h="194251">
                <a:tc>
                  <a:txBody>
                    <a:bodyPr/>
                    <a:lstStyle/>
                    <a:p>
                      <a:pPr marL="0" indent="0" algn="l" defTabSz="1042690" rtl="0" eaLnBrk="1" latinLnBrk="0" hangingPunct="1">
                        <a:spcBef>
                          <a:spcPts val="200"/>
                        </a:spcBef>
                        <a:buFont typeface="Arial" panose="020B0604020202020204" pitchFamily="34" charset="0"/>
                        <a:buNone/>
                        <a:defRPr/>
                      </a:pPr>
                      <a:r>
                        <a:rPr lang="en-US" sz="700" kern="1200">
                          <a:solidFill>
                            <a:schemeClr val="dk1"/>
                          </a:solidFill>
                          <a:latin typeface="+mn-lt"/>
                          <a:ea typeface="+mn-ea"/>
                          <a:cs typeface="+mn-cs"/>
                        </a:rPr>
                        <a:t>3.1 User Access Review Analyzer Agent</a:t>
                      </a: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79000"/>
                      </a:schemeClr>
                    </a:solidFill>
                  </a:tcPr>
                </a:tc>
                <a:extLst>
                  <a:ext uri="{0D108BD9-81ED-4DB2-BD59-A6C34878D82A}">
                    <a16:rowId xmlns:a16="http://schemas.microsoft.com/office/drawing/2014/main" val="810817948"/>
                  </a:ext>
                </a:extLst>
              </a:tr>
              <a:tr h="372000">
                <a:tc>
                  <a:txBody>
                    <a:bodyPr/>
                    <a:lstStyle/>
                    <a:p>
                      <a:pPr marL="0" indent="0" algn="l" defTabSz="1042690" rtl="0" eaLnBrk="1" latinLnBrk="0" hangingPunct="1">
                        <a:spcBef>
                          <a:spcPts val="200"/>
                        </a:spcBef>
                        <a:buFont typeface="Arial" panose="020B0604020202020204" pitchFamily="34" charset="0"/>
                        <a:buNone/>
                        <a:defRPr/>
                      </a:pPr>
                      <a:r>
                        <a:rPr lang="en-US" sz="700" kern="1200">
                          <a:solidFill>
                            <a:schemeClr val="dk1"/>
                          </a:solidFill>
                          <a:latin typeface="+mn-lt"/>
                          <a:ea typeface="+mn-ea"/>
                          <a:cs typeface="+mn-cs"/>
                        </a:rPr>
                        <a:t>3.2 Non-Human Identity Agent </a:t>
                      </a:r>
                    </a:p>
                  </a:txBody>
                  <a:tcPr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79000"/>
                      </a:schemeClr>
                    </a:solidFill>
                  </a:tcPr>
                </a:tc>
                <a:extLst>
                  <a:ext uri="{0D108BD9-81ED-4DB2-BD59-A6C34878D82A}">
                    <a16:rowId xmlns:a16="http://schemas.microsoft.com/office/drawing/2014/main" val="223105132"/>
                  </a:ext>
                </a:extLst>
              </a:tr>
              <a:tr h="321927">
                <a:tc>
                  <a:txBody>
                    <a:bodyPr/>
                    <a:lstStyle/>
                    <a:p>
                      <a:pPr marL="0" marR="0" lvl="0" indent="0" algn="l" defTabSz="1042690" rtl="0" eaLnBrk="1" fontAlgn="auto" latinLnBrk="0" hangingPunct="1">
                        <a:lnSpc>
                          <a:spcPct val="100000"/>
                        </a:lnSpc>
                        <a:spcBef>
                          <a:spcPts val="200"/>
                        </a:spcBef>
                        <a:spcAft>
                          <a:spcPts val="0"/>
                        </a:spcAft>
                        <a:buClrTx/>
                        <a:buSzTx/>
                        <a:buFont typeface="Arial" panose="020B0604020202020204" pitchFamily="34" charset="0"/>
                        <a:buNone/>
                        <a:tabLst/>
                        <a:defRPr/>
                      </a:pPr>
                      <a:endParaRPr lang="en-US" sz="700" kern="1200">
                        <a:solidFill>
                          <a:schemeClr val="dk1"/>
                        </a:solidFill>
                        <a:latin typeface="+mn-lt"/>
                        <a:ea typeface="+mn-ea"/>
                        <a:cs typeface="+mn-cs"/>
                      </a:endParaRPr>
                    </a:p>
                  </a:txBody>
                  <a:tcPr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79000"/>
                      </a:schemeClr>
                    </a:solidFill>
                  </a:tcPr>
                </a:tc>
                <a:extLst>
                  <a:ext uri="{0D108BD9-81ED-4DB2-BD59-A6C34878D82A}">
                    <a16:rowId xmlns:a16="http://schemas.microsoft.com/office/drawing/2014/main" val="3508085580"/>
                  </a:ext>
                </a:extLst>
              </a:tr>
            </a:tbl>
          </a:graphicData>
        </a:graphic>
      </p:graphicFrame>
      <p:sp>
        <p:nvSpPr>
          <p:cNvPr id="196" name="Rectangle 195">
            <a:extLst>
              <a:ext uri="{FF2B5EF4-FFF2-40B4-BE49-F238E27FC236}">
                <a16:creationId xmlns:a16="http://schemas.microsoft.com/office/drawing/2014/main" id="{2E71DE70-FC6C-FF0C-95E2-B5D7793E50D4}"/>
              </a:ext>
            </a:extLst>
          </p:cNvPr>
          <p:cNvSpPr/>
          <p:nvPr/>
        </p:nvSpPr>
        <p:spPr>
          <a:xfrm>
            <a:off x="582167" y="1749095"/>
            <a:ext cx="1486654" cy="765045"/>
          </a:xfrm>
          <a:prstGeom prst="rect">
            <a:avLst/>
          </a:prstGeom>
          <a:solidFill>
            <a:srgbClr val="00C0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54610" rIns="54610" bIns="54610" rtlCol="0" anchor="ctr"/>
          <a:lstStyle/>
          <a:p>
            <a:r>
              <a:rPr lang="en-US" sz="1400">
                <a:solidFill>
                  <a:schemeClr val="bg1"/>
                </a:solidFill>
                <a:latin typeface="+mj-lt"/>
              </a:rPr>
              <a:t>0. Mobilization</a:t>
            </a:r>
          </a:p>
        </p:txBody>
      </p:sp>
      <p:sp>
        <p:nvSpPr>
          <p:cNvPr id="197" name="Rectangle 196">
            <a:extLst>
              <a:ext uri="{FF2B5EF4-FFF2-40B4-BE49-F238E27FC236}">
                <a16:creationId xmlns:a16="http://schemas.microsoft.com/office/drawing/2014/main" id="{DB408666-20BC-487E-CD57-0CF7EBC973FB}"/>
              </a:ext>
            </a:extLst>
          </p:cNvPr>
          <p:cNvSpPr/>
          <p:nvPr/>
        </p:nvSpPr>
        <p:spPr>
          <a:xfrm>
            <a:off x="588940" y="2591864"/>
            <a:ext cx="1486654" cy="768753"/>
          </a:xfrm>
          <a:prstGeom prst="rect">
            <a:avLst/>
          </a:prstGeom>
          <a:solidFill>
            <a:srgbClr val="00B8F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54610" rIns="54610" bIns="54610" rtlCol="0" anchor="ctr"/>
          <a:lstStyle/>
          <a:p>
            <a:r>
              <a:rPr lang="en-US" sz="1400">
                <a:solidFill>
                  <a:schemeClr val="bg1"/>
                </a:solidFill>
                <a:latin typeface="+mj-lt"/>
              </a:rPr>
              <a:t>1. Requirements </a:t>
            </a:r>
          </a:p>
        </p:txBody>
      </p:sp>
      <p:sp>
        <p:nvSpPr>
          <p:cNvPr id="198" name="Rectangle 197">
            <a:extLst>
              <a:ext uri="{FF2B5EF4-FFF2-40B4-BE49-F238E27FC236}">
                <a16:creationId xmlns:a16="http://schemas.microsoft.com/office/drawing/2014/main" id="{33000412-0F81-9E9A-CA2A-27606AEA3C56}"/>
              </a:ext>
            </a:extLst>
          </p:cNvPr>
          <p:cNvSpPr/>
          <p:nvPr/>
        </p:nvSpPr>
        <p:spPr>
          <a:xfrm>
            <a:off x="587376" y="5351599"/>
            <a:ext cx="1486654" cy="817821"/>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54610" rIns="54610" bIns="54610" rtlCol="0" anchor="ctr"/>
          <a:lstStyle/>
          <a:p>
            <a:r>
              <a:rPr lang="en-US" sz="1400">
                <a:solidFill>
                  <a:schemeClr val="bg1"/>
                </a:solidFill>
                <a:latin typeface="+mj-lt"/>
              </a:rPr>
              <a:t>3. Data Driven Agents</a:t>
            </a:r>
          </a:p>
        </p:txBody>
      </p:sp>
      <p:grpSp>
        <p:nvGrpSpPr>
          <p:cNvPr id="6" name="Group 5">
            <a:extLst>
              <a:ext uri="{FF2B5EF4-FFF2-40B4-BE49-F238E27FC236}">
                <a16:creationId xmlns:a16="http://schemas.microsoft.com/office/drawing/2014/main" id="{C1DEF06C-FDC5-9857-C90E-37534892F772}"/>
              </a:ext>
            </a:extLst>
          </p:cNvPr>
          <p:cNvGrpSpPr/>
          <p:nvPr/>
        </p:nvGrpSpPr>
        <p:grpSpPr>
          <a:xfrm>
            <a:off x="705014" y="2555257"/>
            <a:ext cx="10064586" cy="2751034"/>
            <a:chOff x="705014" y="2555257"/>
            <a:chExt cx="10064586" cy="2751034"/>
          </a:xfrm>
        </p:grpSpPr>
        <p:cxnSp>
          <p:nvCxnSpPr>
            <p:cNvPr id="200" name="Straight Connector 199">
              <a:extLst>
                <a:ext uri="{FF2B5EF4-FFF2-40B4-BE49-F238E27FC236}">
                  <a16:creationId xmlns:a16="http://schemas.microsoft.com/office/drawing/2014/main" id="{E84F040D-B5CC-0030-1886-599ADE4260B8}"/>
                </a:ext>
              </a:extLst>
            </p:cNvPr>
            <p:cNvCxnSpPr/>
            <p:nvPr/>
          </p:nvCxnSpPr>
          <p:spPr>
            <a:xfrm>
              <a:off x="717213" y="2555257"/>
              <a:ext cx="10052387" cy="0"/>
            </a:xfrm>
            <a:prstGeom prst="line">
              <a:avLst/>
            </a:prstGeom>
            <a:ln w="12700">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54CAB883-3ABD-9A61-5B68-F3F5885D3508}"/>
                </a:ext>
              </a:extLst>
            </p:cNvPr>
            <p:cNvCxnSpPr/>
            <p:nvPr/>
          </p:nvCxnSpPr>
          <p:spPr>
            <a:xfrm>
              <a:off x="705014" y="5306291"/>
              <a:ext cx="1005238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064CDBD-A563-2C28-0EBC-FCBDB9046BF4}"/>
                </a:ext>
              </a:extLst>
            </p:cNvPr>
            <p:cNvCxnSpPr/>
            <p:nvPr/>
          </p:nvCxnSpPr>
          <p:spPr>
            <a:xfrm>
              <a:off x="717213" y="3394817"/>
              <a:ext cx="10052387" cy="0"/>
            </a:xfrm>
            <a:prstGeom prst="line">
              <a:avLst/>
            </a:prstGeom>
            <a:ln w="12700">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grpSp>
      <p:pic>
        <p:nvPicPr>
          <p:cNvPr id="202" name="Picture 201" descr="A black background with a black square&#10;&#10;AI-generated content may be incorrect.">
            <a:extLst>
              <a:ext uri="{FF2B5EF4-FFF2-40B4-BE49-F238E27FC236}">
                <a16:creationId xmlns:a16="http://schemas.microsoft.com/office/drawing/2014/main" id="{F6343D79-294D-6DA6-B860-80C8F0BEB445}"/>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746342" y="1873000"/>
            <a:ext cx="274053" cy="288878"/>
          </a:xfrm>
          <a:prstGeom prst="rect">
            <a:avLst/>
          </a:prstGeom>
        </p:spPr>
      </p:pic>
      <p:pic>
        <p:nvPicPr>
          <p:cNvPr id="203" name="Picture 202" descr="A black background with a black square&#10;&#10;AI-generated content may be incorrect.">
            <a:extLst>
              <a:ext uri="{FF2B5EF4-FFF2-40B4-BE49-F238E27FC236}">
                <a16:creationId xmlns:a16="http://schemas.microsoft.com/office/drawing/2014/main" id="{46A81884-D063-E27A-FFD1-7F8E444533BE}"/>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751815" y="2657684"/>
            <a:ext cx="274053" cy="288878"/>
          </a:xfrm>
          <a:prstGeom prst="rect">
            <a:avLst/>
          </a:prstGeom>
        </p:spPr>
      </p:pic>
      <p:sp>
        <p:nvSpPr>
          <p:cNvPr id="204" name="Rectangle: Top Corners Rounded 203">
            <a:extLst>
              <a:ext uri="{FF2B5EF4-FFF2-40B4-BE49-F238E27FC236}">
                <a16:creationId xmlns:a16="http://schemas.microsoft.com/office/drawing/2014/main" id="{6681941A-9201-D022-51C5-3E17CA0F14AE}"/>
              </a:ext>
            </a:extLst>
          </p:cNvPr>
          <p:cNvSpPr/>
          <p:nvPr/>
        </p:nvSpPr>
        <p:spPr>
          <a:xfrm>
            <a:off x="598968" y="1430009"/>
            <a:ext cx="3196767" cy="264965"/>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900" err="1">
              <a:solidFill>
                <a:schemeClr val="bg1"/>
              </a:solidFill>
            </a:endParaRPr>
          </a:p>
        </p:txBody>
      </p:sp>
      <p:sp>
        <p:nvSpPr>
          <p:cNvPr id="205" name="Oval 204">
            <a:extLst>
              <a:ext uri="{FF2B5EF4-FFF2-40B4-BE49-F238E27FC236}">
                <a16:creationId xmlns:a16="http://schemas.microsoft.com/office/drawing/2014/main" id="{2AADB3B7-ED18-596D-AB8A-D02496C48C2A}"/>
              </a:ext>
            </a:extLst>
          </p:cNvPr>
          <p:cNvSpPr>
            <a:spLocks/>
          </p:cNvSpPr>
          <p:nvPr/>
        </p:nvSpPr>
        <p:spPr>
          <a:xfrm>
            <a:off x="1771552" y="1471052"/>
            <a:ext cx="182880" cy="182880"/>
          </a:xfrm>
          <a:prstGeom prst="ellipse">
            <a:avLst/>
          </a:prstGeom>
          <a:solidFill>
            <a:srgbClr val="00C0AE"/>
          </a:solidFill>
          <a:ln w="1905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Arial"/>
              <a:ea typeface="+mn-ea"/>
              <a:cs typeface="+mn-cs"/>
            </a:endParaRPr>
          </a:p>
        </p:txBody>
      </p:sp>
      <p:sp>
        <p:nvSpPr>
          <p:cNvPr id="206" name="Isosceles Triangle 205">
            <a:extLst>
              <a:ext uri="{FF2B5EF4-FFF2-40B4-BE49-F238E27FC236}">
                <a16:creationId xmlns:a16="http://schemas.microsoft.com/office/drawing/2014/main" id="{2317BCDA-3B94-DDAE-186B-20DF1530E7CA}"/>
              </a:ext>
            </a:extLst>
          </p:cNvPr>
          <p:cNvSpPr/>
          <p:nvPr/>
        </p:nvSpPr>
        <p:spPr>
          <a:xfrm>
            <a:off x="771245" y="1493254"/>
            <a:ext cx="208908" cy="138476"/>
          </a:xfrm>
          <a:prstGeom prst="triangle">
            <a:avLst/>
          </a:prstGeom>
          <a:solidFill>
            <a:srgbClr val="510DBC"/>
          </a:solidFill>
          <a:ln w="2857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400">
              <a:solidFill>
                <a:srgbClr val="000000"/>
              </a:solidFill>
              <a:latin typeface="Arial"/>
            </a:endParaRPr>
          </a:p>
        </p:txBody>
      </p:sp>
      <p:sp>
        <p:nvSpPr>
          <p:cNvPr id="207" name="TextBox 206">
            <a:extLst>
              <a:ext uri="{FF2B5EF4-FFF2-40B4-BE49-F238E27FC236}">
                <a16:creationId xmlns:a16="http://schemas.microsoft.com/office/drawing/2014/main" id="{2C344662-86B8-CF37-135C-91CF1F6008F7}"/>
              </a:ext>
            </a:extLst>
          </p:cNvPr>
          <p:cNvSpPr txBox="1"/>
          <p:nvPr/>
        </p:nvSpPr>
        <p:spPr>
          <a:xfrm>
            <a:off x="2032458" y="1516325"/>
            <a:ext cx="690537" cy="92333"/>
          </a:xfrm>
          <a:prstGeom prst="rect">
            <a:avLst/>
          </a:prstGeom>
        </p:spPr>
        <p:txBody>
          <a:bodyPr vert="horz" wrap="square" lIns="0" tIns="0" rIns="0" bIns="0" rtlCol="0" anchor="t" anchorCtr="0">
            <a:spAutoFit/>
          </a:bodyPr>
          <a:lstStyle/>
          <a:p>
            <a:pPr>
              <a:spcAft>
                <a:spcPts val="600"/>
              </a:spcAft>
            </a:pPr>
            <a:r>
              <a:rPr lang="en-US" sz="600"/>
              <a:t>Deliverable</a:t>
            </a:r>
            <a:endParaRPr lang="en-US" sz="700">
              <a:solidFill>
                <a:schemeClr val="tx2"/>
              </a:solidFill>
            </a:endParaRPr>
          </a:p>
        </p:txBody>
      </p:sp>
      <p:sp>
        <p:nvSpPr>
          <p:cNvPr id="208" name="TextBox 207">
            <a:extLst>
              <a:ext uri="{FF2B5EF4-FFF2-40B4-BE49-F238E27FC236}">
                <a16:creationId xmlns:a16="http://schemas.microsoft.com/office/drawing/2014/main" id="{74C98D61-71CF-C7FF-7F29-F1D0FCD0482A}"/>
              </a:ext>
            </a:extLst>
          </p:cNvPr>
          <p:cNvSpPr txBox="1"/>
          <p:nvPr/>
        </p:nvSpPr>
        <p:spPr>
          <a:xfrm>
            <a:off x="1058905" y="1516325"/>
            <a:ext cx="690537" cy="92333"/>
          </a:xfrm>
          <a:prstGeom prst="rect">
            <a:avLst/>
          </a:prstGeom>
        </p:spPr>
        <p:txBody>
          <a:bodyPr vert="horz" wrap="square" lIns="0" tIns="0" rIns="0" bIns="0" rtlCol="0" anchor="t" anchorCtr="0">
            <a:spAutoFit/>
          </a:bodyPr>
          <a:lstStyle/>
          <a:p>
            <a:pPr>
              <a:spcAft>
                <a:spcPts val="600"/>
              </a:spcAft>
            </a:pPr>
            <a:r>
              <a:rPr lang="en-US" sz="600"/>
              <a:t>Sub-deliverable</a:t>
            </a:r>
            <a:endParaRPr lang="en-US" sz="700">
              <a:solidFill>
                <a:schemeClr val="tx2"/>
              </a:solidFill>
            </a:endParaRPr>
          </a:p>
        </p:txBody>
      </p:sp>
      <p:sp>
        <p:nvSpPr>
          <p:cNvPr id="210" name="Arrow: Right 209">
            <a:extLst>
              <a:ext uri="{FF2B5EF4-FFF2-40B4-BE49-F238E27FC236}">
                <a16:creationId xmlns:a16="http://schemas.microsoft.com/office/drawing/2014/main" id="{05ED6A13-CD07-4241-7A80-6E25E80DDD8F}"/>
              </a:ext>
            </a:extLst>
          </p:cNvPr>
          <p:cNvSpPr>
            <a:spLocks/>
          </p:cNvSpPr>
          <p:nvPr/>
        </p:nvSpPr>
        <p:spPr>
          <a:xfrm>
            <a:off x="3922909" y="5854945"/>
            <a:ext cx="7520618" cy="396492"/>
          </a:xfrm>
          <a:prstGeom prst="rightArrow">
            <a:avLst>
              <a:gd name="adj1" fmla="val 50000"/>
              <a:gd name="adj2" fmla="val 45823"/>
            </a:avLst>
          </a:prstGeom>
          <a:gradFill>
            <a:gsLst>
              <a:gs pos="97345">
                <a:schemeClr val="accent1"/>
              </a:gs>
              <a:gs pos="1000">
                <a:schemeClr val="accent4"/>
              </a:gs>
            </a:gsLst>
            <a:path path="circle">
              <a:fillToRect t="100000" r="100000"/>
            </a:path>
          </a:gradFill>
          <a:ln>
            <a:noFill/>
          </a:ln>
          <a:effectLst>
            <a:innerShdw blurRad="1143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u="none" strike="noStrike" kern="1200" cap="none" spc="0" normalizeH="0" baseline="0" noProof="0">
                <a:ln>
                  <a:noFill/>
                </a:ln>
                <a:solidFill>
                  <a:schemeClr val="bg1"/>
                </a:solidFill>
                <a:effectLst/>
                <a:uLnTx/>
                <a:uFillTx/>
                <a:latin typeface="+mj-lt"/>
                <a:ea typeface="+mn-ea"/>
                <a:cs typeface="+mn-cs"/>
              </a:rPr>
              <a:t>Project Management &amp; Knowledge Transfer</a:t>
            </a:r>
          </a:p>
        </p:txBody>
      </p:sp>
      <p:sp>
        <p:nvSpPr>
          <p:cNvPr id="250" name="Rectangle: Rounded Corners 249">
            <a:extLst>
              <a:ext uri="{FF2B5EF4-FFF2-40B4-BE49-F238E27FC236}">
                <a16:creationId xmlns:a16="http://schemas.microsoft.com/office/drawing/2014/main" id="{047629B0-CB75-24E9-87C5-FBEDE1FC2462}"/>
              </a:ext>
            </a:extLst>
          </p:cNvPr>
          <p:cNvSpPr>
            <a:spLocks/>
          </p:cNvSpPr>
          <p:nvPr/>
        </p:nvSpPr>
        <p:spPr>
          <a:xfrm>
            <a:off x="3872354" y="1782603"/>
            <a:ext cx="388794" cy="110198"/>
          </a:xfrm>
          <a:prstGeom prst="roundRect">
            <a:avLst>
              <a:gd name="adj" fmla="val 50000"/>
            </a:avLst>
          </a:prstGeom>
          <a:solidFill>
            <a:srgbClr val="00C0AE"/>
          </a:solidFill>
          <a:ln>
            <a:noFill/>
          </a:ln>
          <a:effectLst>
            <a:innerShdw blurRad="1143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Arial"/>
              <a:ea typeface="+mn-ea"/>
              <a:cs typeface="+mn-cs"/>
            </a:endParaRPr>
          </a:p>
        </p:txBody>
      </p:sp>
      <p:sp>
        <p:nvSpPr>
          <p:cNvPr id="226" name="TextBox 225">
            <a:extLst>
              <a:ext uri="{FF2B5EF4-FFF2-40B4-BE49-F238E27FC236}">
                <a16:creationId xmlns:a16="http://schemas.microsoft.com/office/drawing/2014/main" id="{036CE9E0-9C70-B789-CCC8-4EE4D9A403C9}"/>
              </a:ext>
            </a:extLst>
          </p:cNvPr>
          <p:cNvSpPr txBox="1"/>
          <p:nvPr/>
        </p:nvSpPr>
        <p:spPr>
          <a:xfrm>
            <a:off x="4205180" y="2045291"/>
            <a:ext cx="141231" cy="87387"/>
          </a:xfrm>
          <a:prstGeom prst="rect">
            <a:avLst/>
          </a:prstGeom>
        </p:spPr>
        <p:txBody>
          <a:bodyPr vert="horz" wrap="square" lIns="0" tIns="0" rIns="0" bIns="0" rtlCol="0" anchor="t" anchorCtr="0">
            <a:spAutoFit/>
          </a:bodyPr>
          <a:lstStyle/>
          <a:p>
            <a:pPr>
              <a:spcAft>
                <a:spcPts val="600"/>
              </a:spcAft>
            </a:pPr>
            <a:r>
              <a:rPr lang="en-US" sz="600"/>
              <a:t>0.1</a:t>
            </a:r>
            <a:endParaRPr lang="en-US" sz="700">
              <a:solidFill>
                <a:schemeClr val="tx2"/>
              </a:solidFill>
            </a:endParaRPr>
          </a:p>
        </p:txBody>
      </p:sp>
      <p:grpSp>
        <p:nvGrpSpPr>
          <p:cNvPr id="9" name="Group 8">
            <a:extLst>
              <a:ext uri="{FF2B5EF4-FFF2-40B4-BE49-F238E27FC236}">
                <a16:creationId xmlns:a16="http://schemas.microsoft.com/office/drawing/2014/main" id="{C589509D-91DA-F72D-B8AE-57AEEB024DA8}"/>
              </a:ext>
            </a:extLst>
          </p:cNvPr>
          <p:cNvGrpSpPr/>
          <p:nvPr/>
        </p:nvGrpSpPr>
        <p:grpSpPr>
          <a:xfrm>
            <a:off x="5509217" y="3425028"/>
            <a:ext cx="4706951" cy="1784324"/>
            <a:chOff x="5502867" y="3364735"/>
            <a:chExt cx="4706951" cy="1784324"/>
          </a:xfrm>
        </p:grpSpPr>
        <p:sp>
          <p:nvSpPr>
            <p:cNvPr id="216" name="Rectangle: Rounded Corners 215">
              <a:extLst>
                <a:ext uri="{FF2B5EF4-FFF2-40B4-BE49-F238E27FC236}">
                  <a16:creationId xmlns:a16="http://schemas.microsoft.com/office/drawing/2014/main" id="{51188D2E-BC99-4D05-14BC-9A2DA4FCB8D5}"/>
                </a:ext>
              </a:extLst>
            </p:cNvPr>
            <p:cNvSpPr>
              <a:spLocks/>
            </p:cNvSpPr>
            <p:nvPr/>
          </p:nvSpPr>
          <p:spPr>
            <a:xfrm>
              <a:off x="5502867" y="3394817"/>
              <a:ext cx="4663440" cy="97117"/>
            </a:xfrm>
            <a:prstGeom prst="roundRect">
              <a:avLst>
                <a:gd name="adj" fmla="val 50000"/>
              </a:avLst>
            </a:prstGeom>
            <a:solidFill>
              <a:schemeClr val="accent1"/>
            </a:solidFill>
            <a:ln>
              <a:noFill/>
            </a:ln>
            <a:effectLst>
              <a:innerShdw blurRad="1143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Arial"/>
                <a:ea typeface="+mn-ea"/>
                <a:cs typeface="+mn-cs"/>
              </a:endParaRPr>
            </a:p>
          </p:txBody>
        </p:sp>
        <p:sp>
          <p:nvSpPr>
            <p:cNvPr id="217" name="Oval 216">
              <a:extLst>
                <a:ext uri="{FF2B5EF4-FFF2-40B4-BE49-F238E27FC236}">
                  <a16:creationId xmlns:a16="http://schemas.microsoft.com/office/drawing/2014/main" id="{8D2757DA-1ADC-4F7F-9674-433C929C7CE2}"/>
                </a:ext>
              </a:extLst>
            </p:cNvPr>
            <p:cNvSpPr>
              <a:spLocks/>
            </p:cNvSpPr>
            <p:nvPr/>
          </p:nvSpPr>
          <p:spPr>
            <a:xfrm>
              <a:off x="10036082" y="3364735"/>
              <a:ext cx="173736" cy="173736"/>
            </a:xfrm>
            <a:prstGeom prst="ellipse">
              <a:avLst/>
            </a:prstGeom>
            <a:solidFill>
              <a:schemeClr val="accent1"/>
            </a:solidFill>
            <a:ln w="1905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Arial"/>
                <a:ea typeface="+mn-ea"/>
                <a:cs typeface="+mn-cs"/>
              </a:endParaRPr>
            </a:p>
          </p:txBody>
        </p:sp>
        <p:sp>
          <p:nvSpPr>
            <p:cNvPr id="218" name="Isosceles Triangle 217">
              <a:extLst>
                <a:ext uri="{FF2B5EF4-FFF2-40B4-BE49-F238E27FC236}">
                  <a16:creationId xmlns:a16="http://schemas.microsoft.com/office/drawing/2014/main" id="{AF2D728C-1FC2-5343-7606-7B7D96DFA248}"/>
                </a:ext>
              </a:extLst>
            </p:cNvPr>
            <p:cNvSpPr/>
            <p:nvPr/>
          </p:nvSpPr>
          <p:spPr>
            <a:xfrm>
              <a:off x="6260555" y="3368256"/>
              <a:ext cx="155518" cy="131058"/>
            </a:xfrm>
            <a:prstGeom prst="triangle">
              <a:avLst/>
            </a:prstGeom>
            <a:solidFill>
              <a:schemeClr val="accent1"/>
            </a:solidFill>
            <a:ln w="222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400">
                <a:solidFill>
                  <a:srgbClr val="000000"/>
                </a:solidFill>
                <a:latin typeface="Arial"/>
              </a:endParaRPr>
            </a:p>
          </p:txBody>
        </p:sp>
        <p:sp>
          <p:nvSpPr>
            <p:cNvPr id="219" name="Isosceles Triangle 218">
              <a:extLst>
                <a:ext uri="{FF2B5EF4-FFF2-40B4-BE49-F238E27FC236}">
                  <a16:creationId xmlns:a16="http://schemas.microsoft.com/office/drawing/2014/main" id="{EB79DCFB-AF30-2577-A25A-3A5719A5DBE8}"/>
                </a:ext>
              </a:extLst>
            </p:cNvPr>
            <p:cNvSpPr/>
            <p:nvPr/>
          </p:nvSpPr>
          <p:spPr>
            <a:xfrm>
              <a:off x="6669713" y="3528414"/>
              <a:ext cx="155518" cy="131058"/>
            </a:xfrm>
            <a:prstGeom prst="triangle">
              <a:avLst/>
            </a:prstGeom>
            <a:solidFill>
              <a:schemeClr val="accent1"/>
            </a:solidFill>
            <a:ln w="222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400">
                <a:solidFill>
                  <a:srgbClr val="000000"/>
                </a:solidFill>
                <a:latin typeface="Arial"/>
              </a:endParaRPr>
            </a:p>
          </p:txBody>
        </p:sp>
        <p:sp>
          <p:nvSpPr>
            <p:cNvPr id="220" name="Isosceles Triangle 219">
              <a:extLst>
                <a:ext uri="{FF2B5EF4-FFF2-40B4-BE49-F238E27FC236}">
                  <a16:creationId xmlns:a16="http://schemas.microsoft.com/office/drawing/2014/main" id="{CDA437F5-DB10-CC0F-0237-5F7534A2B297}"/>
                </a:ext>
              </a:extLst>
            </p:cNvPr>
            <p:cNvSpPr/>
            <p:nvPr/>
          </p:nvSpPr>
          <p:spPr>
            <a:xfrm>
              <a:off x="7495747" y="4322579"/>
              <a:ext cx="155518" cy="131058"/>
            </a:xfrm>
            <a:prstGeom prst="triangle">
              <a:avLst/>
            </a:prstGeom>
            <a:solidFill>
              <a:schemeClr val="accent1"/>
            </a:solidFill>
            <a:ln w="222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400">
                <a:solidFill>
                  <a:srgbClr val="000000"/>
                </a:solidFill>
                <a:latin typeface="Arial"/>
              </a:endParaRPr>
            </a:p>
          </p:txBody>
        </p:sp>
        <p:sp>
          <p:nvSpPr>
            <p:cNvPr id="221" name="Isosceles Triangle 220">
              <a:extLst>
                <a:ext uri="{FF2B5EF4-FFF2-40B4-BE49-F238E27FC236}">
                  <a16:creationId xmlns:a16="http://schemas.microsoft.com/office/drawing/2014/main" id="{18D37B7A-7A08-F742-26EB-38E0C7838148}"/>
                </a:ext>
              </a:extLst>
            </p:cNvPr>
            <p:cNvSpPr/>
            <p:nvPr/>
          </p:nvSpPr>
          <p:spPr>
            <a:xfrm>
              <a:off x="8659040" y="4918428"/>
              <a:ext cx="155518" cy="131058"/>
            </a:xfrm>
            <a:prstGeom prst="triangle">
              <a:avLst/>
            </a:prstGeom>
            <a:solidFill>
              <a:schemeClr val="accent1"/>
            </a:solidFill>
            <a:ln w="222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400">
                <a:solidFill>
                  <a:srgbClr val="000000"/>
                </a:solidFill>
                <a:latin typeface="Arial"/>
              </a:endParaRPr>
            </a:p>
          </p:txBody>
        </p:sp>
        <p:sp>
          <p:nvSpPr>
            <p:cNvPr id="227" name="Isosceles Triangle 226">
              <a:extLst>
                <a:ext uri="{FF2B5EF4-FFF2-40B4-BE49-F238E27FC236}">
                  <a16:creationId xmlns:a16="http://schemas.microsoft.com/office/drawing/2014/main" id="{9C490068-3885-2561-C3A5-E2E7FAF2B70E}"/>
                </a:ext>
              </a:extLst>
            </p:cNvPr>
            <p:cNvSpPr/>
            <p:nvPr/>
          </p:nvSpPr>
          <p:spPr>
            <a:xfrm>
              <a:off x="8835143" y="4714930"/>
              <a:ext cx="155518" cy="131058"/>
            </a:xfrm>
            <a:prstGeom prst="triangle">
              <a:avLst/>
            </a:prstGeom>
            <a:solidFill>
              <a:schemeClr val="accent1"/>
            </a:solidFill>
            <a:ln w="222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400">
                <a:solidFill>
                  <a:srgbClr val="000000"/>
                </a:solidFill>
                <a:latin typeface="Arial"/>
              </a:endParaRPr>
            </a:p>
          </p:txBody>
        </p:sp>
        <p:sp>
          <p:nvSpPr>
            <p:cNvPr id="228" name="Isosceles Triangle 227">
              <a:extLst>
                <a:ext uri="{FF2B5EF4-FFF2-40B4-BE49-F238E27FC236}">
                  <a16:creationId xmlns:a16="http://schemas.microsoft.com/office/drawing/2014/main" id="{1DE42829-519B-C680-72ED-E17E94E07AF0}"/>
                </a:ext>
              </a:extLst>
            </p:cNvPr>
            <p:cNvSpPr/>
            <p:nvPr/>
          </p:nvSpPr>
          <p:spPr>
            <a:xfrm>
              <a:off x="7092930" y="3803998"/>
              <a:ext cx="155518" cy="131058"/>
            </a:xfrm>
            <a:prstGeom prst="triangle">
              <a:avLst/>
            </a:prstGeom>
            <a:solidFill>
              <a:schemeClr val="accent1"/>
            </a:solidFill>
            <a:ln w="222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400">
                <a:solidFill>
                  <a:srgbClr val="000000"/>
                </a:solidFill>
                <a:latin typeface="Arial"/>
              </a:endParaRPr>
            </a:p>
          </p:txBody>
        </p:sp>
        <p:sp>
          <p:nvSpPr>
            <p:cNvPr id="229" name="Isosceles Triangle 228">
              <a:extLst>
                <a:ext uri="{FF2B5EF4-FFF2-40B4-BE49-F238E27FC236}">
                  <a16:creationId xmlns:a16="http://schemas.microsoft.com/office/drawing/2014/main" id="{2C841DEF-7C67-F706-5E4D-82E224B3695F}"/>
                </a:ext>
              </a:extLst>
            </p:cNvPr>
            <p:cNvSpPr/>
            <p:nvPr/>
          </p:nvSpPr>
          <p:spPr>
            <a:xfrm>
              <a:off x="7913760" y="4477215"/>
              <a:ext cx="155518" cy="131058"/>
            </a:xfrm>
            <a:prstGeom prst="triangle">
              <a:avLst/>
            </a:prstGeom>
            <a:solidFill>
              <a:schemeClr val="accent1"/>
            </a:solidFill>
            <a:ln w="222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400">
                <a:solidFill>
                  <a:srgbClr val="000000"/>
                </a:solidFill>
                <a:latin typeface="Arial"/>
              </a:endParaRPr>
            </a:p>
          </p:txBody>
        </p:sp>
        <p:sp>
          <p:nvSpPr>
            <p:cNvPr id="230" name="TextBox 229">
              <a:extLst>
                <a:ext uri="{FF2B5EF4-FFF2-40B4-BE49-F238E27FC236}">
                  <a16:creationId xmlns:a16="http://schemas.microsoft.com/office/drawing/2014/main" id="{60BA3A0A-9A38-90B6-1F29-826831DB6843}"/>
                </a:ext>
              </a:extLst>
            </p:cNvPr>
            <p:cNvSpPr txBox="1"/>
            <p:nvPr/>
          </p:nvSpPr>
          <p:spPr>
            <a:xfrm>
              <a:off x="6293784" y="3519671"/>
              <a:ext cx="139650" cy="87387"/>
            </a:xfrm>
            <a:prstGeom prst="rect">
              <a:avLst/>
            </a:prstGeom>
          </p:spPr>
          <p:txBody>
            <a:bodyPr vert="horz" wrap="square" lIns="0" tIns="0" rIns="0" bIns="0" rtlCol="0" anchor="t" anchorCtr="0">
              <a:spAutoFit/>
            </a:bodyPr>
            <a:lstStyle/>
            <a:p>
              <a:pPr defTabSz="1042690">
                <a:spcBef>
                  <a:spcPts val="200"/>
                </a:spcBef>
                <a:defRPr/>
              </a:pPr>
              <a:r>
                <a:rPr lang="en-US" sz="600"/>
                <a:t>2.1</a:t>
              </a:r>
            </a:p>
          </p:txBody>
        </p:sp>
        <p:sp>
          <p:nvSpPr>
            <p:cNvPr id="231" name="TextBox 230">
              <a:extLst>
                <a:ext uri="{FF2B5EF4-FFF2-40B4-BE49-F238E27FC236}">
                  <a16:creationId xmlns:a16="http://schemas.microsoft.com/office/drawing/2014/main" id="{DC8D0C04-D60E-B3EA-9AA2-F9C1A1BD8803}"/>
                </a:ext>
              </a:extLst>
            </p:cNvPr>
            <p:cNvSpPr txBox="1"/>
            <p:nvPr/>
          </p:nvSpPr>
          <p:spPr>
            <a:xfrm>
              <a:off x="6708789" y="3670525"/>
              <a:ext cx="139650" cy="87387"/>
            </a:xfrm>
            <a:prstGeom prst="rect">
              <a:avLst/>
            </a:prstGeom>
          </p:spPr>
          <p:txBody>
            <a:bodyPr vert="horz" wrap="square" lIns="0" tIns="0" rIns="0" bIns="0" rtlCol="0" anchor="t" anchorCtr="0">
              <a:spAutoFit/>
            </a:bodyPr>
            <a:lstStyle/>
            <a:p>
              <a:pPr defTabSz="1042690">
                <a:spcBef>
                  <a:spcPts val="200"/>
                </a:spcBef>
                <a:defRPr/>
              </a:pPr>
              <a:r>
                <a:rPr lang="en-US" sz="600"/>
                <a:t>2.2</a:t>
              </a:r>
            </a:p>
          </p:txBody>
        </p:sp>
        <p:sp>
          <p:nvSpPr>
            <p:cNvPr id="232" name="TextBox 231">
              <a:extLst>
                <a:ext uri="{FF2B5EF4-FFF2-40B4-BE49-F238E27FC236}">
                  <a16:creationId xmlns:a16="http://schemas.microsoft.com/office/drawing/2014/main" id="{830240C5-FA8A-17DC-8043-0F5A7B2295C3}"/>
                </a:ext>
              </a:extLst>
            </p:cNvPr>
            <p:cNvSpPr txBox="1"/>
            <p:nvPr/>
          </p:nvSpPr>
          <p:spPr>
            <a:xfrm>
              <a:off x="7121144" y="3973536"/>
              <a:ext cx="139650" cy="87387"/>
            </a:xfrm>
            <a:prstGeom prst="rect">
              <a:avLst/>
            </a:prstGeom>
          </p:spPr>
          <p:txBody>
            <a:bodyPr vert="horz" wrap="square" lIns="0" tIns="0" rIns="0" bIns="0" rtlCol="0" anchor="t" anchorCtr="0">
              <a:spAutoFit/>
            </a:bodyPr>
            <a:lstStyle/>
            <a:p>
              <a:pPr defTabSz="1042690">
                <a:spcBef>
                  <a:spcPts val="200"/>
                </a:spcBef>
                <a:defRPr/>
              </a:pPr>
              <a:r>
                <a:rPr lang="en-US" sz="600"/>
                <a:t>2.3</a:t>
              </a:r>
            </a:p>
          </p:txBody>
        </p:sp>
        <p:sp>
          <p:nvSpPr>
            <p:cNvPr id="233" name="TextBox 232">
              <a:extLst>
                <a:ext uri="{FF2B5EF4-FFF2-40B4-BE49-F238E27FC236}">
                  <a16:creationId xmlns:a16="http://schemas.microsoft.com/office/drawing/2014/main" id="{49067957-78F9-1304-AEC4-79A795FFEAE6}"/>
                </a:ext>
              </a:extLst>
            </p:cNvPr>
            <p:cNvSpPr txBox="1"/>
            <p:nvPr/>
          </p:nvSpPr>
          <p:spPr>
            <a:xfrm>
              <a:off x="7537218" y="4482535"/>
              <a:ext cx="139650" cy="87387"/>
            </a:xfrm>
            <a:prstGeom prst="rect">
              <a:avLst/>
            </a:prstGeom>
          </p:spPr>
          <p:txBody>
            <a:bodyPr vert="horz" wrap="square" lIns="0" tIns="0" rIns="0" bIns="0" rtlCol="0" anchor="t" anchorCtr="0">
              <a:spAutoFit/>
            </a:bodyPr>
            <a:lstStyle/>
            <a:p>
              <a:pPr defTabSz="1042690">
                <a:spcBef>
                  <a:spcPts val="200"/>
                </a:spcBef>
                <a:defRPr/>
              </a:pPr>
              <a:r>
                <a:rPr lang="en-US" sz="600"/>
                <a:t>2.5</a:t>
              </a:r>
            </a:p>
          </p:txBody>
        </p:sp>
        <p:sp>
          <p:nvSpPr>
            <p:cNvPr id="234" name="TextBox 233">
              <a:extLst>
                <a:ext uri="{FF2B5EF4-FFF2-40B4-BE49-F238E27FC236}">
                  <a16:creationId xmlns:a16="http://schemas.microsoft.com/office/drawing/2014/main" id="{0371CFE3-15DD-548A-BC53-565499E60647}"/>
                </a:ext>
              </a:extLst>
            </p:cNvPr>
            <p:cNvSpPr txBox="1"/>
            <p:nvPr/>
          </p:nvSpPr>
          <p:spPr>
            <a:xfrm>
              <a:off x="7938687" y="4642001"/>
              <a:ext cx="139650" cy="87387"/>
            </a:xfrm>
            <a:prstGeom prst="rect">
              <a:avLst/>
            </a:prstGeom>
          </p:spPr>
          <p:txBody>
            <a:bodyPr vert="horz" wrap="square" lIns="0" tIns="0" rIns="0" bIns="0" rtlCol="0" anchor="t" anchorCtr="0">
              <a:spAutoFit/>
            </a:bodyPr>
            <a:lstStyle/>
            <a:p>
              <a:pPr defTabSz="1042690">
                <a:spcBef>
                  <a:spcPts val="200"/>
                </a:spcBef>
                <a:defRPr/>
              </a:pPr>
              <a:r>
                <a:rPr lang="en-US" sz="600"/>
                <a:t>2.6</a:t>
              </a:r>
            </a:p>
          </p:txBody>
        </p:sp>
        <p:sp>
          <p:nvSpPr>
            <p:cNvPr id="235" name="TextBox 234">
              <a:extLst>
                <a:ext uri="{FF2B5EF4-FFF2-40B4-BE49-F238E27FC236}">
                  <a16:creationId xmlns:a16="http://schemas.microsoft.com/office/drawing/2014/main" id="{3D107703-33A7-9EDC-D2DC-09FF635F544F}"/>
                </a:ext>
              </a:extLst>
            </p:cNvPr>
            <p:cNvSpPr txBox="1"/>
            <p:nvPr/>
          </p:nvSpPr>
          <p:spPr>
            <a:xfrm>
              <a:off x="8872608" y="4875549"/>
              <a:ext cx="139650" cy="87387"/>
            </a:xfrm>
            <a:prstGeom prst="rect">
              <a:avLst/>
            </a:prstGeom>
          </p:spPr>
          <p:txBody>
            <a:bodyPr vert="horz" wrap="square" lIns="0" tIns="0" rIns="0" bIns="0" rtlCol="0" anchor="t" anchorCtr="0">
              <a:spAutoFit/>
            </a:bodyPr>
            <a:lstStyle/>
            <a:p>
              <a:pPr defTabSz="1042690">
                <a:spcBef>
                  <a:spcPts val="200"/>
                </a:spcBef>
                <a:defRPr/>
              </a:pPr>
              <a:r>
                <a:rPr lang="en-US" sz="600"/>
                <a:t>2.7</a:t>
              </a:r>
            </a:p>
          </p:txBody>
        </p:sp>
        <p:sp>
          <p:nvSpPr>
            <p:cNvPr id="236" name="TextBox 235">
              <a:extLst>
                <a:ext uri="{FF2B5EF4-FFF2-40B4-BE49-F238E27FC236}">
                  <a16:creationId xmlns:a16="http://schemas.microsoft.com/office/drawing/2014/main" id="{12DE9075-E6BF-C16B-EF31-F6AAB6D6281D}"/>
                </a:ext>
              </a:extLst>
            </p:cNvPr>
            <p:cNvSpPr txBox="1"/>
            <p:nvPr/>
          </p:nvSpPr>
          <p:spPr>
            <a:xfrm>
              <a:off x="8688513" y="5061672"/>
              <a:ext cx="139650" cy="87387"/>
            </a:xfrm>
            <a:prstGeom prst="rect">
              <a:avLst/>
            </a:prstGeom>
          </p:spPr>
          <p:txBody>
            <a:bodyPr vert="horz" wrap="square" lIns="0" tIns="0" rIns="0" bIns="0" rtlCol="0" anchor="t" anchorCtr="0">
              <a:spAutoFit/>
            </a:bodyPr>
            <a:lstStyle/>
            <a:p>
              <a:pPr defTabSz="1042690">
                <a:spcBef>
                  <a:spcPts val="200"/>
                </a:spcBef>
                <a:defRPr/>
              </a:pPr>
              <a:r>
                <a:rPr lang="en-US" sz="600"/>
                <a:t>2.8</a:t>
              </a:r>
            </a:p>
          </p:txBody>
        </p:sp>
        <p:sp>
          <p:nvSpPr>
            <p:cNvPr id="237" name="Isosceles Triangle 236">
              <a:extLst>
                <a:ext uri="{FF2B5EF4-FFF2-40B4-BE49-F238E27FC236}">
                  <a16:creationId xmlns:a16="http://schemas.microsoft.com/office/drawing/2014/main" id="{DF21FEC2-1CF5-71FB-DFB2-AA018D88F2DF}"/>
                </a:ext>
              </a:extLst>
            </p:cNvPr>
            <p:cNvSpPr/>
            <p:nvPr/>
          </p:nvSpPr>
          <p:spPr>
            <a:xfrm>
              <a:off x="7095254" y="4096222"/>
              <a:ext cx="155518" cy="131058"/>
            </a:xfrm>
            <a:prstGeom prst="triangle">
              <a:avLst/>
            </a:prstGeom>
            <a:solidFill>
              <a:schemeClr val="accent1"/>
            </a:solidFill>
            <a:ln w="222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400">
                <a:solidFill>
                  <a:srgbClr val="000000"/>
                </a:solidFill>
                <a:latin typeface="Arial"/>
              </a:endParaRPr>
            </a:p>
          </p:txBody>
        </p:sp>
        <p:sp>
          <p:nvSpPr>
            <p:cNvPr id="238" name="TextBox 237">
              <a:extLst>
                <a:ext uri="{FF2B5EF4-FFF2-40B4-BE49-F238E27FC236}">
                  <a16:creationId xmlns:a16="http://schemas.microsoft.com/office/drawing/2014/main" id="{C3A2B1B7-B11B-97E6-ACD9-3BC580A7CA3A}"/>
                </a:ext>
              </a:extLst>
            </p:cNvPr>
            <p:cNvSpPr txBox="1"/>
            <p:nvPr/>
          </p:nvSpPr>
          <p:spPr>
            <a:xfrm>
              <a:off x="7134969" y="4274011"/>
              <a:ext cx="139650" cy="87387"/>
            </a:xfrm>
            <a:prstGeom prst="rect">
              <a:avLst/>
            </a:prstGeom>
          </p:spPr>
          <p:txBody>
            <a:bodyPr vert="horz" wrap="square" lIns="0" tIns="0" rIns="0" bIns="0" rtlCol="0" anchor="t" anchorCtr="0">
              <a:spAutoFit/>
            </a:bodyPr>
            <a:lstStyle/>
            <a:p>
              <a:pPr defTabSz="1042690">
                <a:spcBef>
                  <a:spcPts val="200"/>
                </a:spcBef>
                <a:defRPr/>
              </a:pPr>
              <a:r>
                <a:rPr lang="en-US" sz="600"/>
                <a:t>2.4</a:t>
              </a:r>
            </a:p>
          </p:txBody>
        </p:sp>
      </p:grpSp>
      <p:sp>
        <p:nvSpPr>
          <p:cNvPr id="239" name="Rectangle: Rounded Corners 238">
            <a:extLst>
              <a:ext uri="{FF2B5EF4-FFF2-40B4-BE49-F238E27FC236}">
                <a16:creationId xmlns:a16="http://schemas.microsoft.com/office/drawing/2014/main" id="{0629A0EC-0654-2A8D-219B-4C33A6E3EC17}"/>
              </a:ext>
            </a:extLst>
          </p:cNvPr>
          <p:cNvSpPr>
            <a:spLocks/>
          </p:cNvSpPr>
          <p:nvPr/>
        </p:nvSpPr>
        <p:spPr>
          <a:xfrm>
            <a:off x="5876755" y="5398222"/>
            <a:ext cx="5760720" cy="110197"/>
          </a:xfrm>
          <a:prstGeom prst="roundRect">
            <a:avLst>
              <a:gd name="adj" fmla="val 50000"/>
            </a:avLst>
          </a:prstGeom>
          <a:solidFill>
            <a:srgbClr val="510DBC"/>
          </a:solidFill>
          <a:ln>
            <a:noFill/>
          </a:ln>
          <a:effectLst>
            <a:innerShdw blurRad="1143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Arial"/>
              <a:ea typeface="+mn-ea"/>
              <a:cs typeface="+mn-cs"/>
            </a:endParaRPr>
          </a:p>
        </p:txBody>
      </p:sp>
      <p:sp>
        <p:nvSpPr>
          <p:cNvPr id="240" name="Oval 239">
            <a:extLst>
              <a:ext uri="{FF2B5EF4-FFF2-40B4-BE49-F238E27FC236}">
                <a16:creationId xmlns:a16="http://schemas.microsoft.com/office/drawing/2014/main" id="{FA4ED767-4262-5416-15D8-ACFC8CE09B98}"/>
              </a:ext>
            </a:extLst>
          </p:cNvPr>
          <p:cNvSpPr>
            <a:spLocks/>
          </p:cNvSpPr>
          <p:nvPr/>
        </p:nvSpPr>
        <p:spPr>
          <a:xfrm>
            <a:off x="11452775" y="5356351"/>
            <a:ext cx="173736" cy="173736"/>
          </a:xfrm>
          <a:prstGeom prst="ellipse">
            <a:avLst/>
          </a:prstGeom>
          <a:solidFill>
            <a:srgbClr val="510DBC"/>
          </a:solidFill>
          <a:ln w="1905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Arial"/>
              <a:ea typeface="+mn-ea"/>
              <a:cs typeface="+mn-cs"/>
            </a:endParaRPr>
          </a:p>
        </p:txBody>
      </p:sp>
      <p:sp>
        <p:nvSpPr>
          <p:cNvPr id="241" name="Isosceles Triangle 240">
            <a:extLst>
              <a:ext uri="{FF2B5EF4-FFF2-40B4-BE49-F238E27FC236}">
                <a16:creationId xmlns:a16="http://schemas.microsoft.com/office/drawing/2014/main" id="{39FBA2A1-F9D1-5DA2-D04D-0A99BD30A0EF}"/>
              </a:ext>
            </a:extLst>
          </p:cNvPr>
          <p:cNvSpPr/>
          <p:nvPr/>
        </p:nvSpPr>
        <p:spPr>
          <a:xfrm>
            <a:off x="9577616" y="5391436"/>
            <a:ext cx="155518" cy="131058"/>
          </a:xfrm>
          <a:prstGeom prst="triangle">
            <a:avLst/>
          </a:prstGeom>
          <a:solidFill>
            <a:srgbClr val="510DBC"/>
          </a:solidFill>
          <a:ln w="222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400">
              <a:solidFill>
                <a:srgbClr val="000000"/>
              </a:solidFill>
              <a:latin typeface="Arial"/>
            </a:endParaRPr>
          </a:p>
        </p:txBody>
      </p:sp>
      <p:sp>
        <p:nvSpPr>
          <p:cNvPr id="242" name="Isosceles Triangle 241">
            <a:extLst>
              <a:ext uri="{FF2B5EF4-FFF2-40B4-BE49-F238E27FC236}">
                <a16:creationId xmlns:a16="http://schemas.microsoft.com/office/drawing/2014/main" id="{445C000C-65B2-16C5-62BA-839E185917D8}"/>
              </a:ext>
            </a:extLst>
          </p:cNvPr>
          <p:cNvSpPr/>
          <p:nvPr/>
        </p:nvSpPr>
        <p:spPr>
          <a:xfrm>
            <a:off x="10608466" y="5591105"/>
            <a:ext cx="155518" cy="131058"/>
          </a:xfrm>
          <a:prstGeom prst="triangle">
            <a:avLst/>
          </a:prstGeom>
          <a:solidFill>
            <a:srgbClr val="510DBC"/>
          </a:solidFill>
          <a:ln w="222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400">
              <a:solidFill>
                <a:srgbClr val="000000"/>
              </a:solidFill>
              <a:latin typeface="Arial"/>
            </a:endParaRPr>
          </a:p>
        </p:txBody>
      </p:sp>
      <p:sp>
        <p:nvSpPr>
          <p:cNvPr id="244" name="TextBox 243">
            <a:extLst>
              <a:ext uri="{FF2B5EF4-FFF2-40B4-BE49-F238E27FC236}">
                <a16:creationId xmlns:a16="http://schemas.microsoft.com/office/drawing/2014/main" id="{C52E3928-D7CB-25FC-2F2A-2319F30BBE53}"/>
              </a:ext>
            </a:extLst>
          </p:cNvPr>
          <p:cNvSpPr txBox="1"/>
          <p:nvPr/>
        </p:nvSpPr>
        <p:spPr>
          <a:xfrm>
            <a:off x="9627097" y="5530087"/>
            <a:ext cx="139650" cy="87387"/>
          </a:xfrm>
          <a:prstGeom prst="rect">
            <a:avLst/>
          </a:prstGeom>
        </p:spPr>
        <p:txBody>
          <a:bodyPr vert="horz" wrap="square" lIns="0" tIns="0" rIns="0" bIns="0" rtlCol="0" anchor="t" anchorCtr="0">
            <a:spAutoFit/>
          </a:bodyPr>
          <a:lstStyle/>
          <a:p>
            <a:pPr defTabSz="1042690">
              <a:spcBef>
                <a:spcPts val="200"/>
              </a:spcBef>
              <a:defRPr/>
            </a:pPr>
            <a:r>
              <a:rPr lang="en-US" sz="600"/>
              <a:t>3.1</a:t>
            </a:r>
          </a:p>
        </p:txBody>
      </p:sp>
      <p:sp>
        <p:nvSpPr>
          <p:cNvPr id="245" name="TextBox 244">
            <a:extLst>
              <a:ext uri="{FF2B5EF4-FFF2-40B4-BE49-F238E27FC236}">
                <a16:creationId xmlns:a16="http://schemas.microsoft.com/office/drawing/2014/main" id="{4E3DB875-33CD-07B0-A44F-89F268ADE19D}"/>
              </a:ext>
            </a:extLst>
          </p:cNvPr>
          <p:cNvSpPr txBox="1"/>
          <p:nvPr/>
        </p:nvSpPr>
        <p:spPr>
          <a:xfrm>
            <a:off x="10625983" y="5737662"/>
            <a:ext cx="139650" cy="87387"/>
          </a:xfrm>
          <a:prstGeom prst="rect">
            <a:avLst/>
          </a:prstGeom>
        </p:spPr>
        <p:txBody>
          <a:bodyPr vert="horz" wrap="square" lIns="0" tIns="0" rIns="0" bIns="0" rtlCol="0" anchor="t" anchorCtr="0">
            <a:spAutoFit/>
          </a:bodyPr>
          <a:lstStyle/>
          <a:p>
            <a:pPr defTabSz="1042690">
              <a:spcBef>
                <a:spcPts val="200"/>
              </a:spcBef>
              <a:defRPr/>
            </a:pPr>
            <a:r>
              <a:rPr lang="en-US" sz="600"/>
              <a:t>3.2</a:t>
            </a:r>
          </a:p>
        </p:txBody>
      </p:sp>
      <p:sp>
        <p:nvSpPr>
          <p:cNvPr id="247" name="Isosceles Triangle 246">
            <a:extLst>
              <a:ext uri="{FF2B5EF4-FFF2-40B4-BE49-F238E27FC236}">
                <a16:creationId xmlns:a16="http://schemas.microsoft.com/office/drawing/2014/main" id="{532A2FCA-EE5E-EDAC-214C-706945EFE5E1}"/>
              </a:ext>
            </a:extLst>
          </p:cNvPr>
          <p:cNvSpPr/>
          <p:nvPr/>
        </p:nvSpPr>
        <p:spPr>
          <a:xfrm>
            <a:off x="4178431" y="1898159"/>
            <a:ext cx="155518" cy="131058"/>
          </a:xfrm>
          <a:prstGeom prst="triangle">
            <a:avLst/>
          </a:prstGeom>
          <a:solidFill>
            <a:srgbClr val="00C0AE"/>
          </a:solidFill>
          <a:ln w="22225">
            <a:solidFill>
              <a:srgbClr val="63EB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400">
              <a:solidFill>
                <a:srgbClr val="000000"/>
              </a:solidFill>
              <a:latin typeface="Arial"/>
            </a:endParaRPr>
          </a:p>
        </p:txBody>
      </p:sp>
      <p:sp>
        <p:nvSpPr>
          <p:cNvPr id="248" name="Isosceles Triangle 247">
            <a:extLst>
              <a:ext uri="{FF2B5EF4-FFF2-40B4-BE49-F238E27FC236}">
                <a16:creationId xmlns:a16="http://schemas.microsoft.com/office/drawing/2014/main" id="{E54BF703-3A84-371A-5912-8E09517D7D75}"/>
              </a:ext>
            </a:extLst>
          </p:cNvPr>
          <p:cNvSpPr/>
          <p:nvPr/>
        </p:nvSpPr>
        <p:spPr>
          <a:xfrm>
            <a:off x="4191025" y="2144744"/>
            <a:ext cx="155518" cy="131058"/>
          </a:xfrm>
          <a:prstGeom prst="triangle">
            <a:avLst/>
          </a:prstGeom>
          <a:solidFill>
            <a:srgbClr val="00C0AE"/>
          </a:solidFill>
          <a:ln w="22225">
            <a:solidFill>
              <a:srgbClr val="63EB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400">
              <a:solidFill>
                <a:srgbClr val="000000"/>
              </a:solidFill>
              <a:latin typeface="Arial"/>
            </a:endParaRPr>
          </a:p>
        </p:txBody>
      </p:sp>
      <p:sp>
        <p:nvSpPr>
          <p:cNvPr id="211" name="Rectangle: Rounded Corners 210">
            <a:extLst>
              <a:ext uri="{FF2B5EF4-FFF2-40B4-BE49-F238E27FC236}">
                <a16:creationId xmlns:a16="http://schemas.microsoft.com/office/drawing/2014/main" id="{CE518C78-F8B8-DA9C-AC0E-5E0210920C48}"/>
              </a:ext>
            </a:extLst>
          </p:cNvPr>
          <p:cNvSpPr>
            <a:spLocks/>
          </p:cNvSpPr>
          <p:nvPr/>
        </p:nvSpPr>
        <p:spPr>
          <a:xfrm>
            <a:off x="3872352" y="2627543"/>
            <a:ext cx="2926080" cy="110197"/>
          </a:xfrm>
          <a:prstGeom prst="roundRect">
            <a:avLst>
              <a:gd name="adj" fmla="val 50000"/>
            </a:avLst>
          </a:prstGeom>
          <a:solidFill>
            <a:schemeClr val="accent4"/>
          </a:solidFill>
          <a:ln>
            <a:noFill/>
          </a:ln>
          <a:effectLst>
            <a:innerShdw blurRad="1143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Arial"/>
              <a:ea typeface="+mn-ea"/>
              <a:cs typeface="+mn-cs"/>
            </a:endParaRPr>
          </a:p>
        </p:txBody>
      </p:sp>
      <p:sp>
        <p:nvSpPr>
          <p:cNvPr id="212" name="Oval 211">
            <a:extLst>
              <a:ext uri="{FF2B5EF4-FFF2-40B4-BE49-F238E27FC236}">
                <a16:creationId xmlns:a16="http://schemas.microsoft.com/office/drawing/2014/main" id="{C0466C14-17AB-FA0B-4EAB-937E8C5540B0}"/>
              </a:ext>
            </a:extLst>
          </p:cNvPr>
          <p:cNvSpPr>
            <a:spLocks/>
          </p:cNvSpPr>
          <p:nvPr/>
        </p:nvSpPr>
        <p:spPr>
          <a:xfrm>
            <a:off x="6657818" y="2602210"/>
            <a:ext cx="173736" cy="173736"/>
          </a:xfrm>
          <a:prstGeom prst="ellipse">
            <a:avLst/>
          </a:prstGeom>
          <a:solidFill>
            <a:schemeClr val="accent4"/>
          </a:solidFill>
          <a:ln w="1905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IN" sz="1400">
              <a:solidFill>
                <a:srgbClr val="000000"/>
              </a:solidFill>
              <a:latin typeface="Arial"/>
            </a:endParaRPr>
          </a:p>
        </p:txBody>
      </p:sp>
      <p:sp>
        <p:nvSpPr>
          <p:cNvPr id="213" name="Isosceles Triangle 212">
            <a:extLst>
              <a:ext uri="{FF2B5EF4-FFF2-40B4-BE49-F238E27FC236}">
                <a16:creationId xmlns:a16="http://schemas.microsoft.com/office/drawing/2014/main" id="{043D2534-874E-131F-34F2-FA15928BDD4A}"/>
              </a:ext>
            </a:extLst>
          </p:cNvPr>
          <p:cNvSpPr/>
          <p:nvPr/>
        </p:nvSpPr>
        <p:spPr>
          <a:xfrm>
            <a:off x="6286951" y="2614481"/>
            <a:ext cx="180111" cy="133419"/>
          </a:xfrm>
          <a:prstGeom prst="triangle">
            <a:avLst/>
          </a:prstGeom>
          <a:solidFill>
            <a:srgbClr val="00B8F5"/>
          </a:solidFill>
          <a:ln w="22225">
            <a:solidFill>
              <a:srgbClr val="ACEAFF"/>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400">
              <a:solidFill>
                <a:srgbClr val="000000"/>
              </a:solidFill>
              <a:latin typeface="Arial"/>
            </a:endParaRPr>
          </a:p>
        </p:txBody>
      </p:sp>
      <p:sp>
        <p:nvSpPr>
          <p:cNvPr id="214" name="Isosceles Triangle 213">
            <a:extLst>
              <a:ext uri="{FF2B5EF4-FFF2-40B4-BE49-F238E27FC236}">
                <a16:creationId xmlns:a16="http://schemas.microsoft.com/office/drawing/2014/main" id="{FB497FE9-0630-BE24-29F1-28D16B732655}"/>
              </a:ext>
            </a:extLst>
          </p:cNvPr>
          <p:cNvSpPr/>
          <p:nvPr/>
        </p:nvSpPr>
        <p:spPr>
          <a:xfrm>
            <a:off x="6696192" y="2803029"/>
            <a:ext cx="177651" cy="131058"/>
          </a:xfrm>
          <a:prstGeom prst="triangle">
            <a:avLst/>
          </a:prstGeom>
          <a:solidFill>
            <a:srgbClr val="00B8F5"/>
          </a:solidFill>
          <a:ln w="22225">
            <a:solidFill>
              <a:srgbClr val="ACEAFF"/>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400">
              <a:solidFill>
                <a:srgbClr val="000000"/>
              </a:solidFill>
              <a:latin typeface="Arial"/>
            </a:endParaRPr>
          </a:p>
        </p:txBody>
      </p:sp>
      <p:sp>
        <p:nvSpPr>
          <p:cNvPr id="215" name="Isosceles Triangle 214">
            <a:extLst>
              <a:ext uri="{FF2B5EF4-FFF2-40B4-BE49-F238E27FC236}">
                <a16:creationId xmlns:a16="http://schemas.microsoft.com/office/drawing/2014/main" id="{E20A1221-E654-C423-1EAD-C4D95823ACB0}"/>
              </a:ext>
            </a:extLst>
          </p:cNvPr>
          <p:cNvSpPr/>
          <p:nvPr/>
        </p:nvSpPr>
        <p:spPr>
          <a:xfrm>
            <a:off x="6702906" y="3071905"/>
            <a:ext cx="177651" cy="131058"/>
          </a:xfrm>
          <a:prstGeom prst="triangle">
            <a:avLst/>
          </a:prstGeom>
          <a:solidFill>
            <a:srgbClr val="00B8F5"/>
          </a:solidFill>
          <a:ln w="22225">
            <a:solidFill>
              <a:srgbClr val="ACEAFF"/>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400">
              <a:solidFill>
                <a:srgbClr val="000000"/>
              </a:solidFill>
              <a:latin typeface="Arial"/>
            </a:endParaRPr>
          </a:p>
        </p:txBody>
      </p:sp>
      <p:sp>
        <p:nvSpPr>
          <p:cNvPr id="222" name="TextBox 221">
            <a:extLst>
              <a:ext uri="{FF2B5EF4-FFF2-40B4-BE49-F238E27FC236}">
                <a16:creationId xmlns:a16="http://schemas.microsoft.com/office/drawing/2014/main" id="{EBFAFA88-8362-71A5-9BDF-35A5A1DD0FFB}"/>
              </a:ext>
            </a:extLst>
          </p:cNvPr>
          <p:cNvSpPr txBox="1"/>
          <p:nvPr/>
        </p:nvSpPr>
        <p:spPr>
          <a:xfrm>
            <a:off x="6336955" y="2747901"/>
            <a:ext cx="180111" cy="262160"/>
          </a:xfrm>
          <a:prstGeom prst="rect">
            <a:avLst/>
          </a:prstGeom>
        </p:spPr>
        <p:txBody>
          <a:bodyPr vert="horz" wrap="square" lIns="0" tIns="0" rIns="0" bIns="0" rtlCol="0" anchor="t" anchorCtr="0">
            <a:spAutoFit/>
          </a:bodyPr>
          <a:lstStyle/>
          <a:p>
            <a:pPr>
              <a:spcAft>
                <a:spcPts val="600"/>
              </a:spcAft>
            </a:pPr>
            <a:r>
              <a:rPr lang="en-US" sz="600"/>
              <a:t>1.1</a:t>
            </a:r>
          </a:p>
          <a:p>
            <a:pPr algn="l">
              <a:spcAft>
                <a:spcPts val="600"/>
              </a:spcAft>
            </a:pPr>
            <a:endParaRPr lang="en-US" sz="700">
              <a:solidFill>
                <a:schemeClr val="tx2"/>
              </a:solidFill>
            </a:endParaRPr>
          </a:p>
        </p:txBody>
      </p:sp>
      <p:sp>
        <p:nvSpPr>
          <p:cNvPr id="223" name="TextBox 222">
            <a:extLst>
              <a:ext uri="{FF2B5EF4-FFF2-40B4-BE49-F238E27FC236}">
                <a16:creationId xmlns:a16="http://schemas.microsoft.com/office/drawing/2014/main" id="{08A2D3EE-053C-DD0E-CE7F-9BEB49A59CF1}"/>
              </a:ext>
            </a:extLst>
          </p:cNvPr>
          <p:cNvSpPr txBox="1"/>
          <p:nvPr/>
        </p:nvSpPr>
        <p:spPr>
          <a:xfrm>
            <a:off x="6732502" y="2947282"/>
            <a:ext cx="139650" cy="87387"/>
          </a:xfrm>
          <a:prstGeom prst="rect">
            <a:avLst/>
          </a:prstGeom>
        </p:spPr>
        <p:txBody>
          <a:bodyPr vert="horz" wrap="square" lIns="0" tIns="0" rIns="0" bIns="0" rtlCol="0" anchor="t" anchorCtr="0">
            <a:spAutoFit/>
          </a:bodyPr>
          <a:lstStyle/>
          <a:p>
            <a:pPr defTabSz="1042690">
              <a:spcBef>
                <a:spcPts val="200"/>
              </a:spcBef>
              <a:defRPr/>
            </a:pPr>
            <a:r>
              <a:rPr lang="en-US" sz="600"/>
              <a:t>1.2</a:t>
            </a:r>
          </a:p>
        </p:txBody>
      </p:sp>
      <p:sp>
        <p:nvSpPr>
          <p:cNvPr id="224" name="TextBox 223">
            <a:extLst>
              <a:ext uri="{FF2B5EF4-FFF2-40B4-BE49-F238E27FC236}">
                <a16:creationId xmlns:a16="http://schemas.microsoft.com/office/drawing/2014/main" id="{8BD159B8-75C3-CA7E-2088-0C7DCBE7D8A2}"/>
              </a:ext>
            </a:extLst>
          </p:cNvPr>
          <p:cNvSpPr txBox="1"/>
          <p:nvPr/>
        </p:nvSpPr>
        <p:spPr>
          <a:xfrm>
            <a:off x="6739158" y="3230366"/>
            <a:ext cx="141400" cy="89724"/>
          </a:xfrm>
          <a:prstGeom prst="rect">
            <a:avLst/>
          </a:prstGeom>
        </p:spPr>
        <p:txBody>
          <a:bodyPr vert="horz" wrap="square" lIns="0" tIns="0" rIns="0" bIns="0" rtlCol="0" anchor="t" anchorCtr="0">
            <a:spAutoFit/>
          </a:bodyPr>
          <a:lstStyle/>
          <a:p>
            <a:pPr defTabSz="1042690">
              <a:spcBef>
                <a:spcPts val="200"/>
              </a:spcBef>
              <a:defRPr/>
            </a:pPr>
            <a:r>
              <a:rPr lang="en-US" sz="600"/>
              <a:t>1.3</a:t>
            </a:r>
          </a:p>
        </p:txBody>
      </p:sp>
      <p:sp>
        <p:nvSpPr>
          <p:cNvPr id="249" name="TextBox 248">
            <a:extLst>
              <a:ext uri="{FF2B5EF4-FFF2-40B4-BE49-F238E27FC236}">
                <a16:creationId xmlns:a16="http://schemas.microsoft.com/office/drawing/2014/main" id="{AF5415E1-1211-BBA9-E7E6-14945B0F866F}"/>
              </a:ext>
            </a:extLst>
          </p:cNvPr>
          <p:cNvSpPr txBox="1"/>
          <p:nvPr/>
        </p:nvSpPr>
        <p:spPr>
          <a:xfrm>
            <a:off x="4219306" y="2366764"/>
            <a:ext cx="141231" cy="87387"/>
          </a:xfrm>
          <a:prstGeom prst="rect">
            <a:avLst/>
          </a:prstGeom>
        </p:spPr>
        <p:txBody>
          <a:bodyPr vert="horz" wrap="square" lIns="0" tIns="0" rIns="0" bIns="0" rtlCol="0" anchor="t" anchorCtr="0">
            <a:spAutoFit/>
          </a:bodyPr>
          <a:lstStyle/>
          <a:p>
            <a:pPr>
              <a:spcAft>
                <a:spcPts val="600"/>
              </a:spcAft>
            </a:pPr>
            <a:r>
              <a:rPr lang="en-US" sz="600"/>
              <a:t>0.2</a:t>
            </a:r>
            <a:endParaRPr lang="en-US" sz="700">
              <a:solidFill>
                <a:schemeClr val="tx2"/>
              </a:solidFill>
            </a:endParaRPr>
          </a:p>
        </p:txBody>
      </p:sp>
      <p:pic>
        <p:nvPicPr>
          <p:cNvPr id="3" name="Graphic 2">
            <a:extLst>
              <a:ext uri="{FF2B5EF4-FFF2-40B4-BE49-F238E27FC236}">
                <a16:creationId xmlns:a16="http://schemas.microsoft.com/office/drawing/2014/main" id="{A9DFDB9E-3B28-02CA-6F42-08D24517894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686488" y="5407614"/>
            <a:ext cx="273687" cy="273686"/>
          </a:xfrm>
          <a:prstGeom prst="rect">
            <a:avLst/>
          </a:prstGeom>
        </p:spPr>
      </p:pic>
      <p:pic>
        <p:nvPicPr>
          <p:cNvPr id="4" name="Graphic 3">
            <a:extLst>
              <a:ext uri="{FF2B5EF4-FFF2-40B4-BE49-F238E27FC236}">
                <a16:creationId xmlns:a16="http://schemas.microsoft.com/office/drawing/2014/main" id="{619C549A-C9D0-A5E9-CBE6-BD653F22D7B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H="1">
            <a:off x="1686488" y="3517899"/>
            <a:ext cx="273687" cy="273686"/>
          </a:xfrm>
          <a:prstGeom prst="rect">
            <a:avLst/>
          </a:prstGeom>
        </p:spPr>
      </p:pic>
      <p:sp>
        <p:nvSpPr>
          <p:cNvPr id="251" name="Oval 250">
            <a:extLst>
              <a:ext uri="{FF2B5EF4-FFF2-40B4-BE49-F238E27FC236}">
                <a16:creationId xmlns:a16="http://schemas.microsoft.com/office/drawing/2014/main" id="{7081B13F-CD94-80CA-5EA5-DB34B776DFAC}"/>
              </a:ext>
            </a:extLst>
          </p:cNvPr>
          <p:cNvSpPr>
            <a:spLocks/>
          </p:cNvSpPr>
          <p:nvPr/>
        </p:nvSpPr>
        <p:spPr>
          <a:xfrm>
            <a:off x="4123743" y="1749266"/>
            <a:ext cx="173736" cy="173736"/>
          </a:xfrm>
          <a:prstGeom prst="ellipse">
            <a:avLst/>
          </a:prstGeom>
          <a:solidFill>
            <a:srgbClr val="00C0AE"/>
          </a:solidFill>
          <a:ln w="1905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Arial"/>
              <a:ea typeface="+mn-ea"/>
              <a:cs typeface="+mn-cs"/>
            </a:endParaRPr>
          </a:p>
        </p:txBody>
      </p:sp>
      <p:sp>
        <p:nvSpPr>
          <p:cNvPr id="8" name="Star: 5 Points 7">
            <a:extLst>
              <a:ext uri="{FF2B5EF4-FFF2-40B4-BE49-F238E27FC236}">
                <a16:creationId xmlns:a16="http://schemas.microsoft.com/office/drawing/2014/main" id="{F8A7BA7D-62D8-A053-A6D1-0B8173C00FB4}"/>
              </a:ext>
            </a:extLst>
          </p:cNvPr>
          <p:cNvSpPr/>
          <p:nvPr/>
        </p:nvSpPr>
        <p:spPr>
          <a:xfrm>
            <a:off x="5205892" y="2511908"/>
            <a:ext cx="193311" cy="174535"/>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10" name="TextBox 9">
            <a:extLst>
              <a:ext uri="{FF2B5EF4-FFF2-40B4-BE49-F238E27FC236}">
                <a16:creationId xmlns:a16="http://schemas.microsoft.com/office/drawing/2014/main" id="{600B4A2E-FB44-F017-35AE-33906F4643F9}"/>
              </a:ext>
            </a:extLst>
          </p:cNvPr>
          <p:cNvSpPr txBox="1"/>
          <p:nvPr/>
        </p:nvSpPr>
        <p:spPr>
          <a:xfrm>
            <a:off x="5347209" y="2451919"/>
            <a:ext cx="586047" cy="124441"/>
          </a:xfrm>
          <a:prstGeom prst="rect">
            <a:avLst/>
          </a:prstGeom>
        </p:spPr>
        <p:txBody>
          <a:bodyPr vert="horz" wrap="square" lIns="0" tIns="0" rIns="0" bIns="0" rtlCol="0" anchor="t" anchorCtr="0">
            <a:noAutofit/>
          </a:bodyPr>
          <a:lstStyle/>
          <a:p>
            <a:pPr algn="l">
              <a:spcAft>
                <a:spcPts val="600"/>
              </a:spcAft>
            </a:pPr>
            <a:r>
              <a:rPr lang="en-US" sz="600" b="1">
                <a:solidFill>
                  <a:schemeClr val="tx2"/>
                </a:solidFill>
              </a:rPr>
              <a:t>ROI Workshop</a:t>
            </a:r>
          </a:p>
        </p:txBody>
      </p:sp>
    </p:spTree>
    <p:extLst>
      <p:ext uri="{BB962C8B-B14F-4D97-AF65-F5344CB8AC3E}">
        <p14:creationId xmlns:p14="http://schemas.microsoft.com/office/powerpoint/2010/main" val="2519870460"/>
      </p:ext>
    </p:extLst>
  </p:cSld>
  <p:clrMapOvr>
    <a:masterClrMapping/>
  </p:clrMapOvr>
  <p:extLst>
    <p:ext uri="{6950BFC3-D8DA-4A85-94F7-54DA5524770B}">
      <p188:commentRel xmlns:p188="http://schemas.microsoft.com/office/powerpoint/2018/8/main" r:id="rId4"/>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hink-cell data - do not delete" hidden="1">
            <a:extLst>
              <a:ext uri="{FF2B5EF4-FFF2-40B4-BE49-F238E27FC236}">
                <a16:creationId xmlns:a16="http://schemas.microsoft.com/office/drawing/2014/main" id="{1481C6C7-271D-3B5A-538D-C760F758C6A9}"/>
              </a:ext>
            </a:extLst>
          </p:cNvPr>
          <p:cNvGraphicFramePr>
            <a:graphicFrameLocks noChangeAspect="1"/>
          </p:cNvGraphicFramePr>
          <p:nvPr>
            <p:custDataLst>
              <p:tags r:id="rId2"/>
            </p:custDataLst>
            <p:extLst>
              <p:ext uri="{D42A27DB-BD31-4B8C-83A1-F6EECF244321}">
                <p14:modId xmlns:p14="http://schemas.microsoft.com/office/powerpoint/2010/main" val="73250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35" name="think-cell data - do not delete" hidden="1">
                        <a:extLst>
                          <a:ext uri="{FF2B5EF4-FFF2-40B4-BE49-F238E27FC236}">
                            <a16:creationId xmlns:a16="http://schemas.microsoft.com/office/drawing/2014/main" id="{1481C6C7-271D-3B5A-538D-C760F758C6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32" name="Rectangle 1131">
            <a:extLst>
              <a:ext uri="{FF2B5EF4-FFF2-40B4-BE49-F238E27FC236}">
                <a16:creationId xmlns:a16="http://schemas.microsoft.com/office/drawing/2014/main" id="{FB9F3FC7-3046-0060-A282-64FEFD9AB112}"/>
              </a:ext>
            </a:extLst>
          </p:cNvPr>
          <p:cNvSpPr/>
          <p:nvPr/>
        </p:nvSpPr>
        <p:spPr>
          <a:xfrm>
            <a:off x="1044649" y="1096896"/>
            <a:ext cx="10284767" cy="50284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2" name="Title 1">
            <a:extLst>
              <a:ext uri="{FF2B5EF4-FFF2-40B4-BE49-F238E27FC236}">
                <a16:creationId xmlns:a16="http://schemas.microsoft.com/office/drawing/2014/main" id="{02ACE126-C538-39CE-A4EA-E705BC721E10}"/>
              </a:ext>
            </a:extLst>
          </p:cNvPr>
          <p:cNvSpPr>
            <a:spLocks noGrp="1"/>
          </p:cNvSpPr>
          <p:nvPr>
            <p:ph type="title"/>
          </p:nvPr>
        </p:nvSpPr>
        <p:spPr/>
        <p:txBody>
          <a:bodyPr vert="horz"/>
          <a:lstStyle/>
          <a:p>
            <a:r>
              <a:rPr lang="en-US"/>
              <a:t>Win Themes</a:t>
            </a:r>
          </a:p>
        </p:txBody>
      </p:sp>
      <p:sp>
        <p:nvSpPr>
          <p:cNvPr id="1137" name="Text Placeholder 1136">
            <a:extLst>
              <a:ext uri="{FF2B5EF4-FFF2-40B4-BE49-F238E27FC236}">
                <a16:creationId xmlns:a16="http://schemas.microsoft.com/office/drawing/2014/main" id="{A50711CC-2EDE-8A56-A4F3-80331AAF803C}"/>
              </a:ext>
            </a:extLst>
          </p:cNvPr>
          <p:cNvSpPr>
            <a:spLocks noGrp="1"/>
          </p:cNvSpPr>
          <p:nvPr>
            <p:ph type="body" sz="quarter" idx="11"/>
          </p:nvPr>
        </p:nvSpPr>
        <p:spPr/>
        <p:txBody>
          <a:bodyPr/>
          <a:lstStyle/>
          <a:p>
            <a:pPr>
              <a:defRPr/>
            </a:pPr>
            <a:r>
              <a:rPr lang="en-US" sz="1000" b="1">
                <a:solidFill>
                  <a:srgbClr val="FFFFFF"/>
                </a:solidFill>
                <a:latin typeface="Arial"/>
              </a:rPr>
              <a:t>04. Conclusion</a:t>
            </a:r>
          </a:p>
        </p:txBody>
      </p:sp>
      <p:sp>
        <p:nvSpPr>
          <p:cNvPr id="5" name="object 28">
            <a:extLst>
              <a:ext uri="{FF2B5EF4-FFF2-40B4-BE49-F238E27FC236}">
                <a16:creationId xmlns:a16="http://schemas.microsoft.com/office/drawing/2014/main" id="{735B3F88-2FB5-BC68-EFEB-735280A798B0}"/>
              </a:ext>
            </a:extLst>
          </p:cNvPr>
          <p:cNvSpPr txBox="1">
            <a:spLocks/>
          </p:cNvSpPr>
          <p:nvPr/>
        </p:nvSpPr>
        <p:spPr>
          <a:xfrm>
            <a:off x="5410947" y="1556519"/>
            <a:ext cx="5787357" cy="1006509"/>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rgbClr val="00338D">
                    <a:alpha val="0"/>
                  </a:srgb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54610" tIns="54864" rIns="54610" bIns="54610" rtlCol="0" anchor="t" anchorCtr="0"/>
          <a:lstStyle>
            <a:defPPr>
              <a:defRPr lang="en-US"/>
            </a:defPPr>
            <a:lvl1pPr marL="176213" indent="-176213">
              <a:spcBef>
                <a:spcPts val="300"/>
              </a:spcBef>
              <a:spcAft>
                <a:spcPts val="300"/>
              </a:spcAft>
              <a:buFont typeface="Wingdings" panose="05000000000000000000" pitchFamily="2" charset="2"/>
              <a:buChar char="§"/>
              <a:defRPr sz="10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0" indent="0">
              <a:spcBef>
                <a:spcPts val="100"/>
              </a:spcBef>
              <a:spcAft>
                <a:spcPts val="100"/>
              </a:spcAft>
              <a:buNone/>
              <a:defRPr/>
            </a:pPr>
            <a:r>
              <a:rPr lang="en-US" sz="1100">
                <a:solidFill>
                  <a:prstClr val="black"/>
                </a:solidFill>
                <a:latin typeface="Arial" panose="020B0604020202020204" pitchFamily="34" charset="0"/>
                <a:ea typeface="Yu Gothic" panose="020B0400000000000000" pitchFamily="34" charset="-128"/>
                <a:cs typeface="Arial" panose="020B0604020202020204" pitchFamily="34" charset="0"/>
              </a:rPr>
              <a:t>Security is Not an Afterthought, It's Our Foundation: We don't just bolt on security at the end. Our "Secure AI" framework is embedded into the solutions we build from day one. This means every agent we build is designed from the ground up to be secure, resilient, and auditable, reducing risk from the very start of the process.</a:t>
            </a:r>
          </a:p>
        </p:txBody>
      </p:sp>
      <p:sp>
        <p:nvSpPr>
          <p:cNvPr id="6" name="object 9">
            <a:extLst>
              <a:ext uri="{FF2B5EF4-FFF2-40B4-BE49-F238E27FC236}">
                <a16:creationId xmlns:a16="http://schemas.microsoft.com/office/drawing/2014/main" id="{85EB63FD-D3D4-3A39-084F-2A9220E830E4}"/>
              </a:ext>
            </a:extLst>
          </p:cNvPr>
          <p:cNvSpPr txBox="1">
            <a:spLocks/>
          </p:cNvSpPr>
          <p:nvPr/>
        </p:nvSpPr>
        <p:spPr>
          <a:xfrm>
            <a:off x="1192530" y="1636691"/>
            <a:ext cx="3756099" cy="926337"/>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rgbClr val="00338D">
                    <a:alpha val="0"/>
                  </a:srgb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54610" tIns="54864" rIns="54610" bIns="54610" rtlCol="0" anchor="t" anchorCtr="0"/>
          <a:lstStyle>
            <a:defPPr>
              <a:defRPr lang="en-US"/>
            </a:defPPr>
            <a:lvl1pPr indent="0">
              <a:spcBef>
                <a:spcPts val="300"/>
              </a:spcBef>
              <a:spcAft>
                <a:spcPts val="300"/>
              </a:spcAft>
              <a:buFont typeface="Wingdings" panose="05000000000000000000" pitchFamily="2" charset="2"/>
              <a:buNone/>
              <a:defRPr sz="10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100"/>
              </a:spcBef>
              <a:spcAft>
                <a:spcPts val="100"/>
              </a:spcAft>
              <a:buClrTx/>
              <a:buSzTx/>
              <a:buFont typeface="Wingdings" panose="05000000000000000000" pitchFamily="2" charset="2"/>
              <a:buNone/>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Yu Gothic" panose="020B0400000000000000" pitchFamily="34" charset="-128"/>
                <a:cs typeface="Arial" panose="020B0604020202020204" pitchFamily="34" charset="0"/>
              </a:rPr>
              <a:t>The seamless collaboration between Cigna and KPMG comes as no surprise, given our shared strong commitment towards embodying corporate values and fostering a positive culture. Our shared focus is on doing good for our people and we take great pride in working alongside Cigna that shares these same corporate values.</a:t>
            </a:r>
            <a:endParaRPr kumimoji="0" sz="1100" b="0" i="0" u="none" strike="noStrike" kern="1200" cap="none" spc="0" normalizeH="0" baseline="0" noProof="0">
              <a:ln>
                <a:noFill/>
              </a:ln>
              <a:solidFill>
                <a:prstClr val="black"/>
              </a:solidFill>
              <a:effectLst/>
              <a:uLnTx/>
              <a:uFillTx/>
              <a:latin typeface="Arial" panose="020B0604020202020204" pitchFamily="34" charset="0"/>
              <a:ea typeface="Yu Gothic" panose="020B0400000000000000" pitchFamily="34" charset="-128"/>
              <a:cs typeface="Arial" panose="020B0604020202020204" pitchFamily="34" charset="0"/>
            </a:endParaRPr>
          </a:p>
        </p:txBody>
      </p:sp>
      <p:sp>
        <p:nvSpPr>
          <p:cNvPr id="7" name="object 201">
            <a:extLst>
              <a:ext uri="{FF2B5EF4-FFF2-40B4-BE49-F238E27FC236}">
                <a16:creationId xmlns:a16="http://schemas.microsoft.com/office/drawing/2014/main" id="{A39D2994-AEF1-B326-CD92-92CECE3BEDE9}"/>
              </a:ext>
            </a:extLst>
          </p:cNvPr>
          <p:cNvSpPr>
            <a:spLocks/>
          </p:cNvSpPr>
          <p:nvPr/>
        </p:nvSpPr>
        <p:spPr>
          <a:xfrm>
            <a:off x="5315061" y="1556519"/>
            <a:ext cx="45719" cy="926336"/>
          </a:xfrm>
          <a:custGeom>
            <a:avLst/>
            <a:gdLst/>
            <a:ahLst/>
            <a:cxnLst/>
            <a:rect l="l" t="t" r="r" b="b"/>
            <a:pathLst>
              <a:path h="920750">
                <a:moveTo>
                  <a:pt x="0" y="0"/>
                </a:moveTo>
                <a:lnTo>
                  <a:pt x="0" y="920750"/>
                </a:lnTo>
              </a:path>
            </a:pathLst>
          </a:custGeom>
          <a:ln w="3810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rial" panose="020B0604020202020204" pitchFamily="34" charset="0"/>
              <a:ea typeface="Yu Gothic" panose="020B0400000000000000" pitchFamily="34" charset="-128"/>
              <a:cs typeface="Arial" panose="020B0604020202020204" pitchFamily="34" charset="0"/>
            </a:endParaRPr>
          </a:p>
        </p:txBody>
      </p:sp>
      <p:sp>
        <p:nvSpPr>
          <p:cNvPr id="8" name="object 201">
            <a:extLst>
              <a:ext uri="{FF2B5EF4-FFF2-40B4-BE49-F238E27FC236}">
                <a16:creationId xmlns:a16="http://schemas.microsoft.com/office/drawing/2014/main" id="{8CD7017F-741D-DC23-88D6-DE9CBF06F9CF}"/>
              </a:ext>
            </a:extLst>
          </p:cNvPr>
          <p:cNvSpPr>
            <a:spLocks/>
          </p:cNvSpPr>
          <p:nvPr/>
        </p:nvSpPr>
        <p:spPr>
          <a:xfrm flipH="1">
            <a:off x="1084215" y="1742279"/>
            <a:ext cx="45719" cy="1029575"/>
          </a:xfrm>
          <a:custGeom>
            <a:avLst/>
            <a:gdLst/>
            <a:ahLst/>
            <a:cxnLst/>
            <a:rect l="l" t="t" r="r" b="b"/>
            <a:pathLst>
              <a:path h="920750">
                <a:moveTo>
                  <a:pt x="0" y="0"/>
                </a:moveTo>
                <a:lnTo>
                  <a:pt x="0" y="920750"/>
                </a:lnTo>
              </a:path>
            </a:pathLst>
          </a:custGeom>
          <a:ln w="38100">
            <a:solidFill>
              <a:schemeClr val="tx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rial" panose="020B0604020202020204" pitchFamily="34" charset="0"/>
              <a:ea typeface="Yu Gothic" panose="020B0400000000000000" pitchFamily="34" charset="-128"/>
              <a:cs typeface="Arial" panose="020B0604020202020204" pitchFamily="34" charset="0"/>
            </a:endParaRPr>
          </a:p>
        </p:txBody>
      </p:sp>
      <p:sp>
        <p:nvSpPr>
          <p:cNvPr id="10" name="object 7">
            <a:extLst>
              <a:ext uri="{FF2B5EF4-FFF2-40B4-BE49-F238E27FC236}">
                <a16:creationId xmlns:a16="http://schemas.microsoft.com/office/drawing/2014/main" id="{E40C81E9-C5FE-F9D8-2CA7-30AD97429C01}"/>
              </a:ext>
            </a:extLst>
          </p:cNvPr>
          <p:cNvSpPr/>
          <p:nvPr/>
        </p:nvSpPr>
        <p:spPr>
          <a:xfrm>
            <a:off x="1153991" y="3176967"/>
            <a:ext cx="1554480" cy="18288"/>
          </a:xfrm>
          <a:custGeom>
            <a:avLst/>
            <a:gdLst/>
            <a:ahLst/>
            <a:cxnLst/>
            <a:rect l="l" t="t" r="r" b="b"/>
            <a:pathLst>
              <a:path w="2242820" h="221614">
                <a:moveTo>
                  <a:pt x="0" y="221589"/>
                </a:moveTo>
                <a:lnTo>
                  <a:pt x="2242820" y="221589"/>
                </a:lnTo>
                <a:lnTo>
                  <a:pt x="2242820" y="0"/>
                </a:lnTo>
                <a:lnTo>
                  <a:pt x="0" y="0"/>
                </a:lnTo>
                <a:lnTo>
                  <a:pt x="0" y="221589"/>
                </a:lnTo>
                <a:close/>
              </a:path>
            </a:pathLst>
          </a:custGeom>
          <a:solidFill>
            <a:schemeClr val="accent4"/>
          </a:solidFill>
          <a:ln>
            <a:solidFill>
              <a:srgbClr val="2EC8BA"/>
            </a:solidFill>
          </a:ln>
        </p:spPr>
        <p:txBody>
          <a:bodyPr wrap="square" lIns="0" tIns="0" rIns="0" bIns="18288" rtlCol="0" anchor="b"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2EC8BA"/>
                </a:solidFill>
                <a:effectLst/>
                <a:uLnTx/>
                <a:uFillTx/>
                <a:latin typeface="KPMG Bold"/>
                <a:ea typeface="+mn-ea"/>
                <a:cs typeface="+mn-cs"/>
              </a:rPr>
              <a:t>Cigna Values</a:t>
            </a:r>
          </a:p>
        </p:txBody>
      </p:sp>
      <p:sp>
        <p:nvSpPr>
          <p:cNvPr id="11" name="object 8">
            <a:extLst>
              <a:ext uri="{FF2B5EF4-FFF2-40B4-BE49-F238E27FC236}">
                <a16:creationId xmlns:a16="http://schemas.microsoft.com/office/drawing/2014/main" id="{CE76EAC5-F9F0-4FDB-4FDF-972A7A3543E4}"/>
              </a:ext>
            </a:extLst>
          </p:cNvPr>
          <p:cNvSpPr/>
          <p:nvPr/>
        </p:nvSpPr>
        <p:spPr>
          <a:xfrm>
            <a:off x="2998776" y="3195255"/>
            <a:ext cx="1554480" cy="18288"/>
          </a:xfrm>
          <a:custGeom>
            <a:avLst/>
            <a:gdLst/>
            <a:ahLst/>
            <a:cxnLst/>
            <a:rect l="l" t="t" r="r" b="b"/>
            <a:pathLst>
              <a:path w="2242820" h="221614">
                <a:moveTo>
                  <a:pt x="0" y="221589"/>
                </a:moveTo>
                <a:lnTo>
                  <a:pt x="2242820" y="221589"/>
                </a:lnTo>
                <a:lnTo>
                  <a:pt x="2242820" y="0"/>
                </a:lnTo>
                <a:lnTo>
                  <a:pt x="0" y="0"/>
                </a:lnTo>
                <a:lnTo>
                  <a:pt x="0" y="221589"/>
                </a:lnTo>
                <a:close/>
              </a:path>
            </a:pathLst>
          </a:custGeom>
          <a:solidFill>
            <a:schemeClr val="tx2"/>
          </a:solidFill>
          <a:ln>
            <a:solidFill>
              <a:srgbClr val="3B63E4"/>
            </a:solidFill>
          </a:ln>
        </p:spPr>
        <p:txBody>
          <a:bodyPr wrap="square" lIns="0" tIns="0" rIns="0" bIns="18288" rtlCol="0" anchor="b" anchorCtr="0"/>
          <a:lstStyle/>
          <a:p>
            <a:pPr marL="0" marR="0" lvl="0" indent="0" algn="ctr" defTabSz="914400" rtl="0" eaLnBrk="1" fontAlgn="auto" latinLnBrk="0" hangingPunct="1">
              <a:lnSpc>
                <a:spcPct val="7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3B63E4"/>
                </a:solidFill>
                <a:effectLst/>
                <a:uLnTx/>
                <a:uFillTx/>
                <a:latin typeface="KPMG Bold"/>
                <a:ea typeface="+mn-ea"/>
                <a:cs typeface="+mn-cs"/>
              </a:rPr>
              <a:t>KPMG Values </a:t>
            </a:r>
            <a:endParaRPr kumimoji="0" sz="1600" b="1" i="0" u="none" strike="noStrike" kern="1200" cap="none" spc="0" normalizeH="0" baseline="0" noProof="0">
              <a:ln>
                <a:noFill/>
              </a:ln>
              <a:solidFill>
                <a:srgbClr val="3B63E4"/>
              </a:solidFill>
              <a:effectLst/>
              <a:uLnTx/>
              <a:uFillTx/>
              <a:latin typeface="KPMG Bold"/>
              <a:ea typeface="+mn-ea"/>
              <a:cs typeface="+mn-cs"/>
            </a:endParaRPr>
          </a:p>
        </p:txBody>
      </p:sp>
      <p:sp>
        <p:nvSpPr>
          <p:cNvPr id="12" name="object 10">
            <a:extLst>
              <a:ext uri="{FF2B5EF4-FFF2-40B4-BE49-F238E27FC236}">
                <a16:creationId xmlns:a16="http://schemas.microsoft.com/office/drawing/2014/main" id="{9B2822B7-BF73-9059-5D4B-DE7E2A014A7D}"/>
              </a:ext>
            </a:extLst>
          </p:cNvPr>
          <p:cNvSpPr txBox="1">
            <a:spLocks/>
          </p:cNvSpPr>
          <p:nvPr/>
        </p:nvSpPr>
        <p:spPr>
          <a:xfrm>
            <a:off x="3449779" y="3398748"/>
            <a:ext cx="1121875" cy="276999"/>
          </a:xfrm>
          <a:prstGeom prst="rect">
            <a:avLst/>
          </a:prstGeom>
        </p:spPr>
        <p:txBody>
          <a:bodyPr vert="horz" wrap="square" lIns="0" tIns="0" rIns="0" bIns="0" rtlCol="0" anchor="ctr">
            <a:spAutoFit/>
          </a:bodyPr>
          <a:lstStyle/>
          <a:p>
            <a:pPr marL="9961" marR="3984"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Yu Gothic" panose="020B0400000000000000" pitchFamily="34" charset="-128"/>
                <a:cs typeface="Arial" panose="020B0604020202020204" pitchFamily="34" charset="0"/>
              </a:rPr>
              <a:t>Integrity – We do what is right</a:t>
            </a:r>
            <a:endParaRPr kumimoji="0" sz="900" b="0" i="0" u="none" strike="noStrike" kern="1200" cap="none" spc="0" normalizeH="0" baseline="0" noProof="0">
              <a:ln>
                <a:noFill/>
              </a:ln>
              <a:solidFill>
                <a:srgbClr val="000000"/>
              </a:solidFill>
              <a:effectLst/>
              <a:uLnTx/>
              <a:uFillTx/>
              <a:latin typeface="Arial" panose="020B0604020202020204" pitchFamily="34" charset="0"/>
              <a:ea typeface="Yu Gothic" panose="020B0400000000000000" pitchFamily="34" charset="-128"/>
              <a:cs typeface="Arial" panose="020B0604020202020204" pitchFamily="34" charset="0"/>
            </a:endParaRPr>
          </a:p>
        </p:txBody>
      </p:sp>
      <p:sp>
        <p:nvSpPr>
          <p:cNvPr id="13" name="object 11">
            <a:extLst>
              <a:ext uri="{FF2B5EF4-FFF2-40B4-BE49-F238E27FC236}">
                <a16:creationId xmlns:a16="http://schemas.microsoft.com/office/drawing/2014/main" id="{F1978976-9A2E-51C5-1889-AE878E48F1D0}"/>
              </a:ext>
            </a:extLst>
          </p:cNvPr>
          <p:cNvSpPr txBox="1">
            <a:spLocks/>
          </p:cNvSpPr>
          <p:nvPr/>
        </p:nvSpPr>
        <p:spPr>
          <a:xfrm>
            <a:off x="3449778" y="3862762"/>
            <a:ext cx="1121875" cy="415498"/>
          </a:xfrm>
          <a:prstGeom prst="rect">
            <a:avLst/>
          </a:prstGeom>
        </p:spPr>
        <p:txBody>
          <a:bodyPr vert="horz" wrap="square" lIns="0" tIns="0" rIns="0" bIns="0" rtlCol="0" anchor="ctr">
            <a:spAutoFit/>
          </a:bodyPr>
          <a:lstStyle/>
          <a:p>
            <a:pPr marL="9961" marR="3984"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Yu Gothic" panose="020B0400000000000000" pitchFamily="34" charset="-128"/>
                <a:cs typeface="Arial" panose="020B0604020202020204" pitchFamily="34" charset="0"/>
              </a:rPr>
              <a:t>Excellence – We never stop learning and improving</a:t>
            </a:r>
            <a:endParaRPr kumimoji="0" sz="900" b="0" i="0" u="none" strike="noStrike" kern="1200" cap="none" spc="0" normalizeH="0" baseline="0" noProof="0">
              <a:ln>
                <a:noFill/>
              </a:ln>
              <a:solidFill>
                <a:srgbClr val="000000"/>
              </a:solidFill>
              <a:effectLst/>
              <a:uLnTx/>
              <a:uFillTx/>
              <a:latin typeface="Arial" panose="020B0604020202020204" pitchFamily="34" charset="0"/>
              <a:ea typeface="Yu Gothic" panose="020B0400000000000000" pitchFamily="34" charset="-128"/>
              <a:cs typeface="Arial" panose="020B0604020202020204" pitchFamily="34" charset="0"/>
            </a:endParaRPr>
          </a:p>
        </p:txBody>
      </p:sp>
      <p:sp>
        <p:nvSpPr>
          <p:cNvPr id="14" name="object 12">
            <a:extLst>
              <a:ext uri="{FF2B5EF4-FFF2-40B4-BE49-F238E27FC236}">
                <a16:creationId xmlns:a16="http://schemas.microsoft.com/office/drawing/2014/main" id="{8BC84F53-DC4D-E06E-C776-37696B9D30A2}"/>
              </a:ext>
            </a:extLst>
          </p:cNvPr>
          <p:cNvSpPr txBox="1">
            <a:spLocks/>
          </p:cNvSpPr>
          <p:nvPr/>
        </p:nvSpPr>
        <p:spPr>
          <a:xfrm>
            <a:off x="3449779" y="4439875"/>
            <a:ext cx="1121875" cy="276999"/>
          </a:xfrm>
          <a:prstGeom prst="rect">
            <a:avLst/>
          </a:prstGeom>
        </p:spPr>
        <p:txBody>
          <a:bodyPr vert="horz" wrap="square" lIns="0" tIns="0" rIns="0" bIns="0" rtlCol="0" anchor="ctr">
            <a:spAutoFit/>
          </a:bodyPr>
          <a:lstStyle/>
          <a:p>
            <a:pPr marL="9961"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Yu Gothic" panose="020B0400000000000000" pitchFamily="34" charset="-128"/>
                <a:cs typeface="Arial" panose="020B0604020202020204" pitchFamily="34" charset="0"/>
              </a:rPr>
              <a:t>Courage – We think and act boldly</a:t>
            </a:r>
            <a:endParaRPr kumimoji="0" sz="900" b="0" i="0" u="none" strike="noStrike" kern="1200" cap="none" spc="0" normalizeH="0" baseline="0" noProof="0">
              <a:ln>
                <a:noFill/>
              </a:ln>
              <a:solidFill>
                <a:srgbClr val="000000"/>
              </a:solidFill>
              <a:effectLst/>
              <a:uLnTx/>
              <a:uFillTx/>
              <a:latin typeface="Arial" panose="020B0604020202020204" pitchFamily="34" charset="0"/>
              <a:ea typeface="Yu Gothic" panose="020B0400000000000000" pitchFamily="34" charset="-128"/>
              <a:cs typeface="Arial" panose="020B0604020202020204" pitchFamily="34" charset="0"/>
            </a:endParaRPr>
          </a:p>
        </p:txBody>
      </p:sp>
      <p:sp>
        <p:nvSpPr>
          <p:cNvPr id="15" name="object 14">
            <a:extLst>
              <a:ext uri="{FF2B5EF4-FFF2-40B4-BE49-F238E27FC236}">
                <a16:creationId xmlns:a16="http://schemas.microsoft.com/office/drawing/2014/main" id="{A96E7F9F-36B6-4200-E067-BD29FACB3738}"/>
              </a:ext>
            </a:extLst>
          </p:cNvPr>
          <p:cNvSpPr txBox="1">
            <a:spLocks/>
          </p:cNvSpPr>
          <p:nvPr/>
        </p:nvSpPr>
        <p:spPr>
          <a:xfrm>
            <a:off x="3451871" y="5479804"/>
            <a:ext cx="1121875" cy="276999"/>
          </a:xfrm>
          <a:prstGeom prst="rect">
            <a:avLst/>
          </a:prstGeom>
        </p:spPr>
        <p:txBody>
          <a:bodyPr vert="horz" wrap="square" lIns="0" tIns="0" rIns="0" bIns="0" rtlCol="0" anchor="ctr">
            <a:spAutoFit/>
          </a:bodyPr>
          <a:lstStyle/>
          <a:p>
            <a:pPr marL="9961"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Yu Gothic" panose="020B0400000000000000" pitchFamily="34" charset="-128"/>
                <a:cs typeface="Arial" panose="020B0604020202020204" pitchFamily="34" charset="0"/>
              </a:rPr>
              <a:t>For Better – We do what matters</a:t>
            </a:r>
            <a:endParaRPr kumimoji="0" sz="900" b="0" i="0" u="none" strike="noStrike" kern="1200" cap="none" spc="0" normalizeH="0" baseline="0" noProof="0">
              <a:ln>
                <a:noFill/>
              </a:ln>
              <a:solidFill>
                <a:srgbClr val="000000"/>
              </a:solidFill>
              <a:effectLst/>
              <a:uLnTx/>
              <a:uFillTx/>
              <a:latin typeface="Arial" panose="020B0604020202020204" pitchFamily="34" charset="0"/>
              <a:ea typeface="Yu Gothic" panose="020B0400000000000000" pitchFamily="34" charset="-128"/>
              <a:cs typeface="Arial" panose="020B0604020202020204" pitchFamily="34" charset="0"/>
            </a:endParaRPr>
          </a:p>
        </p:txBody>
      </p:sp>
      <p:sp>
        <p:nvSpPr>
          <p:cNvPr id="16" name="object 13">
            <a:extLst>
              <a:ext uri="{FF2B5EF4-FFF2-40B4-BE49-F238E27FC236}">
                <a16:creationId xmlns:a16="http://schemas.microsoft.com/office/drawing/2014/main" id="{F797A9ED-25FB-1540-A33F-D0640E10CE55}"/>
              </a:ext>
            </a:extLst>
          </p:cNvPr>
          <p:cNvSpPr txBox="1">
            <a:spLocks/>
          </p:cNvSpPr>
          <p:nvPr/>
        </p:nvSpPr>
        <p:spPr>
          <a:xfrm>
            <a:off x="3439967" y="4783239"/>
            <a:ext cx="1121875" cy="553998"/>
          </a:xfrm>
          <a:prstGeom prst="rect">
            <a:avLst/>
          </a:prstGeom>
        </p:spPr>
        <p:txBody>
          <a:bodyPr vert="horz" wrap="square" lIns="0" tIns="0" rIns="0" bIns="0" rtlCol="0" anchor="ctr">
            <a:spAutoFit/>
          </a:bodyPr>
          <a:lstStyle/>
          <a:p>
            <a:pPr marL="9961"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Yu Gothic" panose="020B0400000000000000" pitchFamily="34" charset="-128"/>
                <a:cs typeface="Arial" panose="020B0604020202020204" pitchFamily="34" charset="0"/>
              </a:rPr>
              <a:t>Together – We respect each other and draw strength from our differences</a:t>
            </a:r>
            <a:endParaRPr kumimoji="0" sz="900" b="0" i="0" u="none" strike="noStrike" kern="1200" cap="none" spc="0" normalizeH="0" baseline="0" noProof="0">
              <a:ln>
                <a:noFill/>
              </a:ln>
              <a:solidFill>
                <a:srgbClr val="000000"/>
              </a:solidFill>
              <a:effectLst/>
              <a:uLnTx/>
              <a:uFillTx/>
              <a:latin typeface="Arial" panose="020B0604020202020204" pitchFamily="34" charset="0"/>
              <a:ea typeface="Yu Gothic" panose="020B0400000000000000" pitchFamily="34" charset="-128"/>
              <a:cs typeface="Arial" panose="020B0604020202020204" pitchFamily="34" charset="0"/>
            </a:endParaRPr>
          </a:p>
        </p:txBody>
      </p:sp>
      <p:sp>
        <p:nvSpPr>
          <p:cNvPr id="17" name="object 10">
            <a:extLst>
              <a:ext uri="{FF2B5EF4-FFF2-40B4-BE49-F238E27FC236}">
                <a16:creationId xmlns:a16="http://schemas.microsoft.com/office/drawing/2014/main" id="{7A584987-485F-188C-580C-C62B03B11F0D}"/>
              </a:ext>
            </a:extLst>
          </p:cNvPr>
          <p:cNvSpPr txBox="1">
            <a:spLocks/>
          </p:cNvSpPr>
          <p:nvPr/>
        </p:nvSpPr>
        <p:spPr>
          <a:xfrm>
            <a:off x="1695442" y="3887701"/>
            <a:ext cx="1062708" cy="138499"/>
          </a:xfrm>
          <a:prstGeom prst="rect">
            <a:avLst/>
          </a:prstGeom>
        </p:spPr>
        <p:txBody>
          <a:bodyPr vert="horz" wrap="square" lIns="0" tIns="0" rIns="0" bIns="0" rtlCol="0" anchor="ctr">
            <a:spAutoFit/>
          </a:bodyPr>
          <a:lstStyle/>
          <a:p>
            <a:pPr marL="9961" marR="3984"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Yu Gothic" panose="020B0400000000000000" pitchFamily="34" charset="-128"/>
                <a:cs typeface="Arial" panose="020B0604020202020204" pitchFamily="34" charset="0"/>
              </a:rPr>
              <a:t>Your People First</a:t>
            </a:r>
            <a:endParaRPr kumimoji="0" sz="900" b="0" i="0" u="none" strike="noStrike" kern="1200" cap="none" spc="0" normalizeH="0" baseline="0" noProof="0">
              <a:ln>
                <a:noFill/>
              </a:ln>
              <a:solidFill>
                <a:srgbClr val="000000"/>
              </a:solidFill>
              <a:effectLst/>
              <a:uLnTx/>
              <a:uFillTx/>
              <a:latin typeface="Arial" panose="020B0604020202020204" pitchFamily="34" charset="0"/>
              <a:ea typeface="Yu Gothic" panose="020B0400000000000000" pitchFamily="34" charset="-128"/>
              <a:cs typeface="Arial" panose="020B0604020202020204" pitchFamily="34" charset="0"/>
            </a:endParaRPr>
          </a:p>
        </p:txBody>
      </p:sp>
      <p:sp>
        <p:nvSpPr>
          <p:cNvPr id="18" name="object 11">
            <a:extLst>
              <a:ext uri="{FF2B5EF4-FFF2-40B4-BE49-F238E27FC236}">
                <a16:creationId xmlns:a16="http://schemas.microsoft.com/office/drawing/2014/main" id="{DB5F5F15-F66E-D504-3315-76C694E118D0}"/>
              </a:ext>
            </a:extLst>
          </p:cNvPr>
          <p:cNvSpPr txBox="1">
            <a:spLocks/>
          </p:cNvSpPr>
          <p:nvPr/>
        </p:nvSpPr>
        <p:spPr>
          <a:xfrm>
            <a:off x="1705253" y="4609460"/>
            <a:ext cx="1062708" cy="138499"/>
          </a:xfrm>
          <a:prstGeom prst="rect">
            <a:avLst/>
          </a:prstGeom>
        </p:spPr>
        <p:txBody>
          <a:bodyPr vert="horz" wrap="square" lIns="0" tIns="0" rIns="0" bIns="0" rtlCol="0" anchor="ctr">
            <a:spAutoFit/>
          </a:bodyPr>
          <a:lstStyle/>
          <a:p>
            <a:pPr marL="9961" marR="3984" lvl="0" indent="0" algn="l" defTabSz="914400" rtl="0" eaLnBrk="1" fontAlgn="auto" latinLnBrk="0" hangingPunct="1">
              <a:lnSpc>
                <a:spcPct val="100000"/>
              </a:lnSpc>
              <a:spcBef>
                <a:spcPts val="0"/>
              </a:spcBef>
              <a:spcAft>
                <a:spcPts val="0"/>
              </a:spcAft>
              <a:buClrTx/>
              <a:buSzTx/>
              <a:buFontTx/>
              <a:buNone/>
              <a:tabLst/>
              <a:defRPr/>
            </a:pPr>
            <a:r>
              <a:rPr lang="en-US" sz="900">
                <a:solidFill>
                  <a:srgbClr val="000000"/>
                </a:solidFill>
                <a:latin typeface="Arial" panose="020B0604020202020204" pitchFamily="34" charset="0"/>
                <a:ea typeface="Yu Gothic" panose="020B0400000000000000" pitchFamily="34" charset="-128"/>
                <a:cs typeface="Arial" panose="020B0604020202020204" pitchFamily="34" charset="0"/>
              </a:rPr>
              <a:t>Health Driven</a:t>
            </a:r>
            <a:endParaRPr kumimoji="0" sz="900" b="0" i="0" u="none" strike="noStrike" kern="1200" cap="none" spc="0" normalizeH="0" baseline="0" noProof="0">
              <a:ln>
                <a:noFill/>
              </a:ln>
              <a:solidFill>
                <a:srgbClr val="000000"/>
              </a:solidFill>
              <a:effectLst/>
              <a:uLnTx/>
              <a:uFillTx/>
              <a:latin typeface="Arial" panose="020B0604020202020204" pitchFamily="34" charset="0"/>
              <a:ea typeface="Yu Gothic" panose="020B0400000000000000" pitchFamily="34" charset="-128"/>
              <a:cs typeface="Arial" panose="020B0604020202020204" pitchFamily="34" charset="0"/>
            </a:endParaRPr>
          </a:p>
        </p:txBody>
      </p:sp>
      <p:sp>
        <p:nvSpPr>
          <p:cNvPr id="19" name="object 12">
            <a:extLst>
              <a:ext uri="{FF2B5EF4-FFF2-40B4-BE49-F238E27FC236}">
                <a16:creationId xmlns:a16="http://schemas.microsoft.com/office/drawing/2014/main" id="{3603259A-0F69-4E73-7ABE-D337FA2E9274}"/>
              </a:ext>
            </a:extLst>
          </p:cNvPr>
          <p:cNvSpPr txBox="1">
            <a:spLocks/>
          </p:cNvSpPr>
          <p:nvPr/>
        </p:nvSpPr>
        <p:spPr>
          <a:xfrm>
            <a:off x="1705253" y="5249437"/>
            <a:ext cx="1062708" cy="138499"/>
          </a:xfrm>
          <a:prstGeom prst="rect">
            <a:avLst/>
          </a:prstGeom>
        </p:spPr>
        <p:txBody>
          <a:bodyPr vert="horz" wrap="square" lIns="0" tIns="0" rIns="0" bIns="0" rtlCol="0" anchor="ctr">
            <a:spAutoFit/>
          </a:bodyPr>
          <a:lstStyle/>
          <a:p>
            <a:pPr marL="9961"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Yu Gothic" panose="020B0400000000000000" pitchFamily="34" charset="-128"/>
                <a:cs typeface="Arial" panose="020B0604020202020204" pitchFamily="34" charset="0"/>
              </a:rPr>
              <a:t>Trusted Partnership</a:t>
            </a:r>
            <a:endParaRPr kumimoji="0" sz="900" b="0" i="0" u="none" strike="noStrike" kern="1200" cap="none" spc="0" normalizeH="0" baseline="0" noProof="0">
              <a:ln>
                <a:noFill/>
              </a:ln>
              <a:solidFill>
                <a:srgbClr val="000000"/>
              </a:solidFill>
              <a:effectLst/>
              <a:uLnTx/>
              <a:uFillTx/>
              <a:latin typeface="Arial" panose="020B0604020202020204" pitchFamily="34" charset="0"/>
              <a:ea typeface="Yu Gothic" panose="020B0400000000000000" pitchFamily="34" charset="-128"/>
              <a:cs typeface="Arial" panose="020B0604020202020204" pitchFamily="34" charset="0"/>
            </a:endParaRPr>
          </a:p>
        </p:txBody>
      </p:sp>
      <p:sp>
        <p:nvSpPr>
          <p:cNvPr id="21" name="object 217">
            <a:extLst>
              <a:ext uri="{FF2B5EF4-FFF2-40B4-BE49-F238E27FC236}">
                <a16:creationId xmlns:a16="http://schemas.microsoft.com/office/drawing/2014/main" id="{EA792A33-3D36-3E79-F407-401209AF671A}"/>
              </a:ext>
            </a:extLst>
          </p:cNvPr>
          <p:cNvSpPr txBox="1">
            <a:spLocks/>
          </p:cNvSpPr>
          <p:nvPr/>
        </p:nvSpPr>
        <p:spPr>
          <a:xfrm>
            <a:off x="5340113" y="1269522"/>
            <a:ext cx="3750694" cy="258532"/>
          </a:xfrm>
          <a:prstGeom prst="rect">
            <a:avLst/>
          </a:prstGeom>
        </p:spPr>
        <p:txBody>
          <a:bodyPr vert="horz" wrap="square" lIns="0" tIns="0" rIns="0" bIns="0" rtlCol="0">
            <a:spAutoFit/>
          </a:body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2400" b="0" i="0" u="none" strike="noStrike" kern="1200" cap="none" spc="0" normalizeH="0" baseline="0" noProof="0">
                <a:ln>
                  <a:noFill/>
                </a:ln>
                <a:solidFill>
                  <a:srgbClr val="1E49E2"/>
                </a:solidFill>
                <a:effectLst/>
                <a:uLnTx/>
                <a:uFillTx/>
                <a:latin typeface="KPMG Bold"/>
                <a:ea typeface="+mn-ea"/>
                <a:cs typeface="+mn-cs"/>
              </a:rPr>
              <a:t>We Know Security</a:t>
            </a:r>
            <a:endParaRPr kumimoji="0" sz="2400" b="0" i="0" u="none" strike="noStrike" kern="1200" cap="none" spc="0" normalizeH="0" baseline="0" noProof="0">
              <a:ln>
                <a:noFill/>
              </a:ln>
              <a:solidFill>
                <a:srgbClr val="1E49E2"/>
              </a:solidFill>
              <a:effectLst/>
              <a:uLnTx/>
              <a:uFillTx/>
              <a:latin typeface="KPMG Bold"/>
              <a:ea typeface="+mn-ea"/>
              <a:cs typeface="+mn-cs"/>
            </a:endParaRPr>
          </a:p>
        </p:txBody>
      </p:sp>
      <p:sp>
        <p:nvSpPr>
          <p:cNvPr id="22" name="object 199">
            <a:extLst>
              <a:ext uri="{FF2B5EF4-FFF2-40B4-BE49-F238E27FC236}">
                <a16:creationId xmlns:a16="http://schemas.microsoft.com/office/drawing/2014/main" id="{0F9EA88B-277C-37A2-AD54-9026551E6206}"/>
              </a:ext>
            </a:extLst>
          </p:cNvPr>
          <p:cNvSpPr txBox="1">
            <a:spLocks/>
          </p:cNvSpPr>
          <p:nvPr/>
        </p:nvSpPr>
        <p:spPr>
          <a:xfrm>
            <a:off x="1129934" y="1331292"/>
            <a:ext cx="1423987" cy="258532"/>
          </a:xfrm>
          <a:prstGeom prst="rect">
            <a:avLst/>
          </a:prstGeom>
        </p:spPr>
        <p:txBody>
          <a:bodyPr vert="horz" wrap="square" lIns="0" tIns="0" rIns="0" bIns="0" rtlCol="0">
            <a:spAutoFit/>
          </a:bodyPr>
          <a:lstStyle>
            <a:lvl1pPr>
              <a:defRPr sz="6000" b="0" i="0">
                <a:solidFill>
                  <a:srgbClr val="004E98"/>
                </a:solidFill>
                <a:latin typeface="KPMG Extralight"/>
                <a:ea typeface="+mj-ea"/>
                <a:cs typeface="KPMG Extralight"/>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2400" b="0" i="0" u="none" strike="noStrike" kern="1200" cap="none" spc="0" normalizeH="0" baseline="0" noProof="0">
                <a:ln>
                  <a:noFill/>
                </a:ln>
                <a:solidFill>
                  <a:srgbClr val="00338D"/>
                </a:solidFill>
                <a:effectLst/>
                <a:uLnTx/>
                <a:uFillTx/>
                <a:latin typeface="KPMG Bold"/>
                <a:ea typeface="+mj-ea"/>
                <a:cs typeface="+mj-cs"/>
              </a:rPr>
              <a:t>We Know Cigna </a:t>
            </a:r>
          </a:p>
        </p:txBody>
      </p:sp>
      <p:cxnSp>
        <p:nvCxnSpPr>
          <p:cNvPr id="23" name="Straight Connector 22">
            <a:extLst>
              <a:ext uri="{FF2B5EF4-FFF2-40B4-BE49-F238E27FC236}">
                <a16:creationId xmlns:a16="http://schemas.microsoft.com/office/drawing/2014/main" id="{63321296-7F11-546C-C1A6-026C43050B68}"/>
              </a:ext>
            </a:extLst>
          </p:cNvPr>
          <p:cNvCxnSpPr>
            <a:cxnSpLocks/>
          </p:cNvCxnSpPr>
          <p:nvPr/>
        </p:nvCxnSpPr>
        <p:spPr>
          <a:xfrm>
            <a:off x="2553921" y="1461485"/>
            <a:ext cx="2114752" cy="0"/>
          </a:xfrm>
          <a:prstGeom prst="line">
            <a:avLst/>
          </a:prstGeom>
          <a:ln w="12700">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C7A47C4-32BA-B4C0-9D20-1451A3295AE6}"/>
              </a:ext>
            </a:extLst>
          </p:cNvPr>
          <p:cNvCxnSpPr>
            <a:cxnSpLocks/>
          </p:cNvCxnSpPr>
          <p:nvPr/>
        </p:nvCxnSpPr>
        <p:spPr>
          <a:xfrm>
            <a:off x="7591425" y="1407737"/>
            <a:ext cx="3566160" cy="0"/>
          </a:xfrm>
          <a:prstGeom prst="line">
            <a:avLst/>
          </a:prstGeom>
          <a:ln w="1270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14B5AEB-FBE1-ADC1-C235-F61C58907B97}"/>
              </a:ext>
            </a:extLst>
          </p:cNvPr>
          <p:cNvCxnSpPr>
            <a:cxnSpLocks/>
          </p:cNvCxnSpPr>
          <p:nvPr/>
        </p:nvCxnSpPr>
        <p:spPr>
          <a:xfrm>
            <a:off x="2845628" y="2960916"/>
            <a:ext cx="0" cy="2983883"/>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3" name="Callout: Bent Line 42">
            <a:extLst>
              <a:ext uri="{FF2B5EF4-FFF2-40B4-BE49-F238E27FC236}">
                <a16:creationId xmlns:a16="http://schemas.microsoft.com/office/drawing/2014/main" id="{30F870BB-297A-CB5E-D6A6-D8BB83B18EB5}"/>
              </a:ext>
            </a:extLst>
          </p:cNvPr>
          <p:cNvSpPr/>
          <p:nvPr/>
        </p:nvSpPr>
        <p:spPr>
          <a:xfrm>
            <a:off x="1192530" y="3788012"/>
            <a:ext cx="339384" cy="337876"/>
          </a:xfrm>
          <a:prstGeom prst="borderCallout2">
            <a:avLst>
              <a:gd name="adj1" fmla="val 47397"/>
              <a:gd name="adj2" fmla="val 101403"/>
              <a:gd name="adj3" fmla="val 47937"/>
              <a:gd name="adj4" fmla="val 126931"/>
              <a:gd name="adj5" fmla="val 53255"/>
              <a:gd name="adj6" fmla="val 141712"/>
            </a:avLst>
          </a:prstGeom>
          <a:solidFill>
            <a:schemeClr val="accent4"/>
          </a:solidFill>
          <a:ln>
            <a:solidFill>
              <a:srgbClr val="2EC8B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97A01D68-8A9B-D748-DF44-F9EB34EB95C5}"/>
              </a:ext>
            </a:extLst>
          </p:cNvPr>
          <p:cNvSpPr>
            <a:spLocks noChangeAspect="1"/>
          </p:cNvSpPr>
          <p:nvPr/>
        </p:nvSpPr>
        <p:spPr>
          <a:xfrm>
            <a:off x="1210760" y="3807960"/>
            <a:ext cx="303131" cy="303131"/>
          </a:xfrm>
          <a:prstGeom prst="rect">
            <a:avLst/>
          </a:prstGeom>
          <a:solidFill>
            <a:srgbClr val="2EC8BA"/>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51" name="Callout: Bent Line 50">
            <a:extLst>
              <a:ext uri="{FF2B5EF4-FFF2-40B4-BE49-F238E27FC236}">
                <a16:creationId xmlns:a16="http://schemas.microsoft.com/office/drawing/2014/main" id="{F6E4E05D-902E-24F2-526A-1C73F0E00CE3}"/>
              </a:ext>
            </a:extLst>
          </p:cNvPr>
          <p:cNvSpPr/>
          <p:nvPr/>
        </p:nvSpPr>
        <p:spPr>
          <a:xfrm>
            <a:off x="1192530" y="4477464"/>
            <a:ext cx="339384" cy="337876"/>
          </a:xfrm>
          <a:prstGeom prst="borderCallout2">
            <a:avLst>
              <a:gd name="adj1" fmla="val 47397"/>
              <a:gd name="adj2" fmla="val 101403"/>
              <a:gd name="adj3" fmla="val 47937"/>
              <a:gd name="adj4" fmla="val 126931"/>
              <a:gd name="adj5" fmla="val 53255"/>
              <a:gd name="adj6" fmla="val 141712"/>
            </a:avLst>
          </a:prstGeom>
          <a:solidFill>
            <a:srgbClr val="2EC8BA"/>
          </a:solidFill>
          <a:ln>
            <a:solidFill>
              <a:srgbClr val="2EC8B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6D3A7193-92F3-F7F3-1BF9-2D5DF386E30E}"/>
              </a:ext>
            </a:extLst>
          </p:cNvPr>
          <p:cNvSpPr>
            <a:spLocks noChangeAspect="1"/>
          </p:cNvSpPr>
          <p:nvPr/>
        </p:nvSpPr>
        <p:spPr>
          <a:xfrm>
            <a:off x="1210760" y="4497844"/>
            <a:ext cx="303131" cy="303131"/>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Arial"/>
              <a:ea typeface="+mn-ea"/>
              <a:cs typeface="+mn-cs"/>
            </a:endParaRPr>
          </a:p>
        </p:txBody>
      </p:sp>
      <p:grpSp>
        <p:nvGrpSpPr>
          <p:cNvPr id="53" name="Group 52">
            <a:extLst>
              <a:ext uri="{FF2B5EF4-FFF2-40B4-BE49-F238E27FC236}">
                <a16:creationId xmlns:a16="http://schemas.microsoft.com/office/drawing/2014/main" id="{D6DCBAB1-3F3E-17F9-3F4C-12AD95097588}"/>
              </a:ext>
            </a:extLst>
          </p:cNvPr>
          <p:cNvGrpSpPr/>
          <p:nvPr/>
        </p:nvGrpSpPr>
        <p:grpSpPr>
          <a:xfrm>
            <a:off x="1192530" y="5166916"/>
            <a:ext cx="339384" cy="337876"/>
            <a:chOff x="454092" y="3338090"/>
            <a:chExt cx="339384" cy="337876"/>
          </a:xfrm>
          <a:solidFill>
            <a:srgbClr val="2EC8BA"/>
          </a:solidFill>
        </p:grpSpPr>
        <p:sp>
          <p:nvSpPr>
            <p:cNvPr id="54" name="Callout: Bent Line 53">
              <a:extLst>
                <a:ext uri="{FF2B5EF4-FFF2-40B4-BE49-F238E27FC236}">
                  <a16:creationId xmlns:a16="http://schemas.microsoft.com/office/drawing/2014/main" id="{54E0FF84-A6FA-C8CA-79AE-E8F435F918F2}"/>
                </a:ext>
              </a:extLst>
            </p:cNvPr>
            <p:cNvSpPr/>
            <p:nvPr/>
          </p:nvSpPr>
          <p:spPr>
            <a:xfrm>
              <a:off x="454092" y="3338090"/>
              <a:ext cx="339384" cy="337876"/>
            </a:xfrm>
            <a:prstGeom prst="borderCallout2">
              <a:avLst>
                <a:gd name="adj1" fmla="val 47397"/>
                <a:gd name="adj2" fmla="val 101403"/>
                <a:gd name="adj3" fmla="val 47937"/>
                <a:gd name="adj4" fmla="val 126931"/>
                <a:gd name="adj5" fmla="val 53255"/>
                <a:gd name="adj6" fmla="val 141712"/>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7F73CD2D-8061-8B98-611C-525E783ABBA6}"/>
                </a:ext>
              </a:extLst>
            </p:cNvPr>
            <p:cNvSpPr>
              <a:spLocks noChangeAspect="1"/>
            </p:cNvSpPr>
            <p:nvPr/>
          </p:nvSpPr>
          <p:spPr>
            <a:xfrm>
              <a:off x="472322" y="3358470"/>
              <a:ext cx="303131" cy="303131"/>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grpSp>
      <p:grpSp>
        <p:nvGrpSpPr>
          <p:cNvPr id="59" name="Group 31">
            <a:extLst>
              <a:ext uri="{FF2B5EF4-FFF2-40B4-BE49-F238E27FC236}">
                <a16:creationId xmlns:a16="http://schemas.microsoft.com/office/drawing/2014/main" id="{CC2D1739-1FDD-4CA6-4138-D009CA5DF2BB}"/>
              </a:ext>
            </a:extLst>
          </p:cNvPr>
          <p:cNvGrpSpPr>
            <a:grpSpLocks noChangeAspect="1"/>
          </p:cNvGrpSpPr>
          <p:nvPr/>
        </p:nvGrpSpPr>
        <p:grpSpPr bwMode="auto">
          <a:xfrm>
            <a:off x="1256002" y="3848271"/>
            <a:ext cx="212424" cy="217366"/>
            <a:chOff x="3619" y="663"/>
            <a:chExt cx="440" cy="430"/>
          </a:xfrm>
          <a:solidFill>
            <a:schemeClr val="bg1"/>
          </a:solidFill>
        </p:grpSpPr>
        <p:sp>
          <p:nvSpPr>
            <p:cNvPr id="60" name="Freeform 32">
              <a:extLst>
                <a:ext uri="{FF2B5EF4-FFF2-40B4-BE49-F238E27FC236}">
                  <a16:creationId xmlns:a16="http://schemas.microsoft.com/office/drawing/2014/main" id="{42556993-435C-24BF-BFAD-2E7162C525D7}"/>
                </a:ext>
              </a:extLst>
            </p:cNvPr>
            <p:cNvSpPr>
              <a:spLocks noEditPoints="1"/>
            </p:cNvSpPr>
            <p:nvPr/>
          </p:nvSpPr>
          <p:spPr bwMode="auto">
            <a:xfrm>
              <a:off x="3646" y="806"/>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33">
              <a:extLst>
                <a:ext uri="{FF2B5EF4-FFF2-40B4-BE49-F238E27FC236}">
                  <a16:creationId xmlns:a16="http://schemas.microsoft.com/office/drawing/2014/main" id="{1FFC37FA-D6BD-AA09-09C9-0A8EF13F103B}"/>
                </a:ext>
              </a:extLst>
            </p:cNvPr>
            <p:cNvSpPr>
              <a:spLocks noEditPoints="1"/>
            </p:cNvSpPr>
            <p:nvPr/>
          </p:nvSpPr>
          <p:spPr bwMode="auto">
            <a:xfrm>
              <a:off x="3619" y="914"/>
              <a:ext cx="147"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2" name="Freeform 34">
              <a:extLst>
                <a:ext uri="{FF2B5EF4-FFF2-40B4-BE49-F238E27FC236}">
                  <a16:creationId xmlns:a16="http://schemas.microsoft.com/office/drawing/2014/main" id="{DB705B74-5EFB-05D0-3664-EDEA732BC763}"/>
                </a:ext>
              </a:extLst>
            </p:cNvPr>
            <p:cNvSpPr>
              <a:spLocks noEditPoints="1"/>
            </p:cNvSpPr>
            <p:nvPr/>
          </p:nvSpPr>
          <p:spPr bwMode="auto">
            <a:xfrm>
              <a:off x="3940" y="806"/>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3" name="Freeform 35">
              <a:extLst>
                <a:ext uri="{FF2B5EF4-FFF2-40B4-BE49-F238E27FC236}">
                  <a16:creationId xmlns:a16="http://schemas.microsoft.com/office/drawing/2014/main" id="{580F6E25-56A1-A226-C560-EA497C30E489}"/>
                </a:ext>
              </a:extLst>
            </p:cNvPr>
            <p:cNvSpPr>
              <a:spLocks noEditPoints="1"/>
            </p:cNvSpPr>
            <p:nvPr/>
          </p:nvSpPr>
          <p:spPr bwMode="auto">
            <a:xfrm>
              <a:off x="3912" y="914"/>
              <a:ext cx="147"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88" name="Freeform 36">
              <a:extLst>
                <a:ext uri="{FF2B5EF4-FFF2-40B4-BE49-F238E27FC236}">
                  <a16:creationId xmlns:a16="http://schemas.microsoft.com/office/drawing/2014/main" id="{67F61B0B-F081-BE92-2301-B13C100BB0DC}"/>
                </a:ext>
              </a:extLst>
            </p:cNvPr>
            <p:cNvSpPr>
              <a:spLocks noEditPoints="1"/>
            </p:cNvSpPr>
            <p:nvPr/>
          </p:nvSpPr>
          <p:spPr bwMode="auto">
            <a:xfrm>
              <a:off x="3793" y="663"/>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89" name="Freeform 37">
              <a:extLst>
                <a:ext uri="{FF2B5EF4-FFF2-40B4-BE49-F238E27FC236}">
                  <a16:creationId xmlns:a16="http://schemas.microsoft.com/office/drawing/2014/main" id="{738BEA7E-23BF-59FB-C17E-452E26BE263E}"/>
                </a:ext>
              </a:extLst>
            </p:cNvPr>
            <p:cNvSpPr>
              <a:spLocks noEditPoints="1"/>
            </p:cNvSpPr>
            <p:nvPr/>
          </p:nvSpPr>
          <p:spPr bwMode="auto">
            <a:xfrm>
              <a:off x="3766" y="771"/>
              <a:ext cx="146"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02" name="Group 207">
            <a:extLst>
              <a:ext uri="{FF2B5EF4-FFF2-40B4-BE49-F238E27FC236}">
                <a16:creationId xmlns:a16="http://schemas.microsoft.com/office/drawing/2014/main" id="{2EA0AC9B-E76A-C693-67C3-C359DD8039B6}"/>
              </a:ext>
            </a:extLst>
          </p:cNvPr>
          <p:cNvGrpSpPr>
            <a:grpSpLocks noChangeAspect="1"/>
          </p:cNvGrpSpPr>
          <p:nvPr/>
        </p:nvGrpSpPr>
        <p:grpSpPr bwMode="auto">
          <a:xfrm>
            <a:off x="1256006" y="4537690"/>
            <a:ext cx="212423" cy="217360"/>
            <a:chOff x="528" y="3153"/>
            <a:chExt cx="426" cy="418"/>
          </a:xfrm>
          <a:solidFill>
            <a:schemeClr val="bg1"/>
          </a:solidFill>
        </p:grpSpPr>
        <p:sp>
          <p:nvSpPr>
            <p:cNvPr id="1103" name="Freeform 208">
              <a:extLst>
                <a:ext uri="{FF2B5EF4-FFF2-40B4-BE49-F238E27FC236}">
                  <a16:creationId xmlns:a16="http://schemas.microsoft.com/office/drawing/2014/main" id="{8E6829F8-9591-C09F-6761-1884123BDA18}"/>
                </a:ext>
              </a:extLst>
            </p:cNvPr>
            <p:cNvSpPr>
              <a:spLocks/>
            </p:cNvSpPr>
            <p:nvPr/>
          </p:nvSpPr>
          <p:spPr bwMode="auto">
            <a:xfrm>
              <a:off x="617" y="3224"/>
              <a:ext cx="248" cy="18"/>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3" y="12"/>
                    <a:pt x="0" y="9"/>
                    <a:pt x="0" y="6"/>
                  </a:cubicBezTo>
                  <a:cubicBezTo>
                    <a:pt x="0" y="2"/>
                    <a:pt x="3" y="0"/>
                    <a:pt x="6" y="0"/>
                  </a:cubicBezTo>
                  <a:cubicBezTo>
                    <a:pt x="162" y="0"/>
                    <a:pt x="162" y="0"/>
                    <a:pt x="162" y="0"/>
                  </a:cubicBezTo>
                  <a:cubicBezTo>
                    <a:pt x="166" y="0"/>
                    <a:pt x="168" y="2"/>
                    <a:pt x="168" y="6"/>
                  </a:cubicBezTo>
                  <a:cubicBezTo>
                    <a:pt x="168" y="9"/>
                    <a:pt x="166" y="12"/>
                    <a:pt x="162"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04" name="Freeform 209">
              <a:extLst>
                <a:ext uri="{FF2B5EF4-FFF2-40B4-BE49-F238E27FC236}">
                  <a16:creationId xmlns:a16="http://schemas.microsoft.com/office/drawing/2014/main" id="{9D3F3CCE-C949-CA22-5407-086946ECBEBD}"/>
                </a:ext>
              </a:extLst>
            </p:cNvPr>
            <p:cNvSpPr>
              <a:spLocks noEditPoints="1"/>
            </p:cNvSpPr>
            <p:nvPr/>
          </p:nvSpPr>
          <p:spPr bwMode="auto">
            <a:xfrm>
              <a:off x="617" y="3155"/>
              <a:ext cx="250" cy="217"/>
            </a:xfrm>
            <a:custGeom>
              <a:avLst/>
              <a:gdLst>
                <a:gd name="T0" fmla="*/ 84 w 169"/>
                <a:gd name="T1" fmla="*/ 150 h 150"/>
                <a:gd name="T2" fmla="*/ 80 w 169"/>
                <a:gd name="T3" fmla="*/ 148 h 150"/>
                <a:gd name="T4" fmla="*/ 2 w 169"/>
                <a:gd name="T5" fmla="*/ 58 h 150"/>
                <a:gd name="T6" fmla="*/ 1 w 169"/>
                <a:gd name="T7" fmla="*/ 50 h 150"/>
                <a:gd name="T8" fmla="*/ 37 w 169"/>
                <a:gd name="T9" fmla="*/ 2 h 150"/>
                <a:gd name="T10" fmla="*/ 42 w 169"/>
                <a:gd name="T11" fmla="*/ 0 h 150"/>
                <a:gd name="T12" fmla="*/ 126 w 169"/>
                <a:gd name="T13" fmla="*/ 0 h 150"/>
                <a:gd name="T14" fmla="*/ 131 w 169"/>
                <a:gd name="T15" fmla="*/ 2 h 150"/>
                <a:gd name="T16" fmla="*/ 167 w 169"/>
                <a:gd name="T17" fmla="*/ 50 h 150"/>
                <a:gd name="T18" fmla="*/ 167 w 169"/>
                <a:gd name="T19" fmla="*/ 58 h 150"/>
                <a:gd name="T20" fmla="*/ 89 w 169"/>
                <a:gd name="T21" fmla="*/ 148 h 150"/>
                <a:gd name="T22" fmla="*/ 84 w 169"/>
                <a:gd name="T23" fmla="*/ 150 h 150"/>
                <a:gd name="T24" fmla="*/ 14 w 169"/>
                <a:gd name="T25" fmla="*/ 53 h 150"/>
                <a:gd name="T26" fmla="*/ 84 w 169"/>
                <a:gd name="T27" fmla="*/ 134 h 150"/>
                <a:gd name="T28" fmla="*/ 155 w 169"/>
                <a:gd name="T29" fmla="*/ 53 h 150"/>
                <a:gd name="T30" fmla="*/ 123 w 169"/>
                <a:gd name="T31" fmla="*/ 12 h 150"/>
                <a:gd name="T32" fmla="*/ 45 w 169"/>
                <a:gd name="T33" fmla="*/ 12 h 150"/>
                <a:gd name="T34" fmla="*/ 14 w 169"/>
                <a:gd name="T35" fmla="*/ 5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9" h="150">
                  <a:moveTo>
                    <a:pt x="84" y="150"/>
                  </a:moveTo>
                  <a:cubicBezTo>
                    <a:pt x="82" y="150"/>
                    <a:pt x="81" y="149"/>
                    <a:pt x="80" y="148"/>
                  </a:cubicBezTo>
                  <a:cubicBezTo>
                    <a:pt x="2" y="58"/>
                    <a:pt x="2" y="58"/>
                    <a:pt x="2" y="58"/>
                  </a:cubicBezTo>
                  <a:cubicBezTo>
                    <a:pt x="0" y="55"/>
                    <a:pt x="0" y="52"/>
                    <a:pt x="1" y="50"/>
                  </a:cubicBezTo>
                  <a:cubicBezTo>
                    <a:pt x="37" y="2"/>
                    <a:pt x="37" y="2"/>
                    <a:pt x="37" y="2"/>
                  </a:cubicBezTo>
                  <a:cubicBezTo>
                    <a:pt x="39" y="1"/>
                    <a:pt x="40" y="0"/>
                    <a:pt x="42" y="0"/>
                  </a:cubicBezTo>
                  <a:cubicBezTo>
                    <a:pt x="126" y="0"/>
                    <a:pt x="126" y="0"/>
                    <a:pt x="126" y="0"/>
                  </a:cubicBezTo>
                  <a:cubicBezTo>
                    <a:pt x="128" y="0"/>
                    <a:pt x="130" y="1"/>
                    <a:pt x="131" y="2"/>
                  </a:cubicBezTo>
                  <a:cubicBezTo>
                    <a:pt x="167" y="50"/>
                    <a:pt x="167" y="50"/>
                    <a:pt x="167" y="50"/>
                  </a:cubicBezTo>
                  <a:cubicBezTo>
                    <a:pt x="169" y="52"/>
                    <a:pt x="169" y="55"/>
                    <a:pt x="167" y="58"/>
                  </a:cubicBezTo>
                  <a:cubicBezTo>
                    <a:pt x="89" y="148"/>
                    <a:pt x="89" y="148"/>
                    <a:pt x="89" y="148"/>
                  </a:cubicBezTo>
                  <a:cubicBezTo>
                    <a:pt x="88" y="149"/>
                    <a:pt x="86" y="150"/>
                    <a:pt x="84" y="150"/>
                  </a:cubicBezTo>
                  <a:close/>
                  <a:moveTo>
                    <a:pt x="14" y="53"/>
                  </a:moveTo>
                  <a:cubicBezTo>
                    <a:pt x="84" y="134"/>
                    <a:pt x="84" y="134"/>
                    <a:pt x="84" y="134"/>
                  </a:cubicBezTo>
                  <a:cubicBezTo>
                    <a:pt x="155" y="53"/>
                    <a:pt x="155" y="53"/>
                    <a:pt x="155" y="53"/>
                  </a:cubicBezTo>
                  <a:cubicBezTo>
                    <a:pt x="123" y="12"/>
                    <a:pt x="123" y="12"/>
                    <a:pt x="123" y="12"/>
                  </a:cubicBezTo>
                  <a:cubicBezTo>
                    <a:pt x="45" y="12"/>
                    <a:pt x="45" y="12"/>
                    <a:pt x="45" y="12"/>
                  </a:cubicBezTo>
                  <a:lnTo>
                    <a:pt x="14" y="5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05" name="Freeform 210">
              <a:extLst>
                <a:ext uri="{FF2B5EF4-FFF2-40B4-BE49-F238E27FC236}">
                  <a16:creationId xmlns:a16="http://schemas.microsoft.com/office/drawing/2014/main" id="{D880F767-6A9E-37BC-13C6-1117AA6F4939}"/>
                </a:ext>
              </a:extLst>
            </p:cNvPr>
            <p:cNvSpPr>
              <a:spLocks noEditPoints="1"/>
            </p:cNvSpPr>
            <p:nvPr/>
          </p:nvSpPr>
          <p:spPr bwMode="auto">
            <a:xfrm>
              <a:off x="777" y="3502"/>
              <a:ext cx="124" cy="69"/>
            </a:xfrm>
            <a:custGeom>
              <a:avLst/>
              <a:gdLst>
                <a:gd name="T0" fmla="*/ 78 w 84"/>
                <a:gd name="T1" fmla="*/ 48 h 48"/>
                <a:gd name="T2" fmla="*/ 6 w 84"/>
                <a:gd name="T3" fmla="*/ 48 h 48"/>
                <a:gd name="T4" fmla="*/ 0 w 84"/>
                <a:gd name="T5" fmla="*/ 42 h 48"/>
                <a:gd name="T6" fmla="*/ 0 w 84"/>
                <a:gd name="T7" fmla="*/ 6 h 48"/>
                <a:gd name="T8" fmla="*/ 6 w 84"/>
                <a:gd name="T9" fmla="*/ 0 h 48"/>
                <a:gd name="T10" fmla="*/ 78 w 84"/>
                <a:gd name="T11" fmla="*/ 0 h 48"/>
                <a:gd name="T12" fmla="*/ 84 w 84"/>
                <a:gd name="T13" fmla="*/ 6 h 48"/>
                <a:gd name="T14" fmla="*/ 84 w 84"/>
                <a:gd name="T15" fmla="*/ 42 h 48"/>
                <a:gd name="T16" fmla="*/ 78 w 84"/>
                <a:gd name="T17" fmla="*/ 48 h 48"/>
                <a:gd name="T18" fmla="*/ 12 w 84"/>
                <a:gd name="T19" fmla="*/ 36 h 48"/>
                <a:gd name="T20" fmla="*/ 72 w 84"/>
                <a:gd name="T21" fmla="*/ 36 h 48"/>
                <a:gd name="T22" fmla="*/ 72 w 84"/>
                <a:gd name="T23" fmla="*/ 12 h 48"/>
                <a:gd name="T24" fmla="*/ 12 w 84"/>
                <a:gd name="T25" fmla="*/ 12 h 48"/>
                <a:gd name="T26" fmla="*/ 12 w 8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8">
                  <a:moveTo>
                    <a:pt x="78" y="48"/>
                  </a:moveTo>
                  <a:cubicBezTo>
                    <a:pt x="6" y="48"/>
                    <a:pt x="6" y="48"/>
                    <a:pt x="6" y="48"/>
                  </a:cubicBezTo>
                  <a:cubicBezTo>
                    <a:pt x="3" y="48"/>
                    <a:pt x="0" y="45"/>
                    <a:pt x="0" y="42"/>
                  </a:cubicBezTo>
                  <a:cubicBezTo>
                    <a:pt x="0" y="6"/>
                    <a:pt x="0" y="6"/>
                    <a:pt x="0" y="6"/>
                  </a:cubicBezTo>
                  <a:cubicBezTo>
                    <a:pt x="0" y="2"/>
                    <a:pt x="3" y="0"/>
                    <a:pt x="6" y="0"/>
                  </a:cubicBezTo>
                  <a:cubicBezTo>
                    <a:pt x="78" y="0"/>
                    <a:pt x="78" y="0"/>
                    <a:pt x="78" y="0"/>
                  </a:cubicBezTo>
                  <a:cubicBezTo>
                    <a:pt x="82" y="0"/>
                    <a:pt x="84" y="2"/>
                    <a:pt x="84" y="6"/>
                  </a:cubicBezTo>
                  <a:cubicBezTo>
                    <a:pt x="84" y="42"/>
                    <a:pt x="84" y="42"/>
                    <a:pt x="84" y="42"/>
                  </a:cubicBezTo>
                  <a:cubicBezTo>
                    <a:pt x="84" y="45"/>
                    <a:pt x="82" y="48"/>
                    <a:pt x="78" y="48"/>
                  </a:cubicBezTo>
                  <a:close/>
                  <a:moveTo>
                    <a:pt x="12" y="36"/>
                  </a:moveTo>
                  <a:cubicBezTo>
                    <a:pt x="72" y="36"/>
                    <a:pt x="72" y="36"/>
                    <a:pt x="72" y="36"/>
                  </a:cubicBezTo>
                  <a:cubicBezTo>
                    <a:pt x="72" y="12"/>
                    <a:pt x="72" y="12"/>
                    <a:pt x="72" y="12"/>
                  </a:cubicBezTo>
                  <a:cubicBezTo>
                    <a:pt x="12" y="12"/>
                    <a:pt x="12" y="12"/>
                    <a:pt x="12" y="12"/>
                  </a:cubicBezTo>
                  <a:lnTo>
                    <a:pt x="12" y="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06" name="Freeform 211">
              <a:extLst>
                <a:ext uri="{FF2B5EF4-FFF2-40B4-BE49-F238E27FC236}">
                  <a16:creationId xmlns:a16="http://schemas.microsoft.com/office/drawing/2014/main" id="{B1052152-3F92-0582-4193-58E5F878B52D}"/>
                </a:ext>
              </a:extLst>
            </p:cNvPr>
            <p:cNvSpPr>
              <a:spLocks/>
            </p:cNvSpPr>
            <p:nvPr/>
          </p:nvSpPr>
          <p:spPr bwMode="auto">
            <a:xfrm>
              <a:off x="794" y="3262"/>
              <a:ext cx="160" cy="257"/>
            </a:xfrm>
            <a:custGeom>
              <a:avLst/>
              <a:gdLst>
                <a:gd name="T0" fmla="*/ 54 w 108"/>
                <a:gd name="T1" fmla="*/ 178 h 178"/>
                <a:gd name="T2" fmla="*/ 48 w 108"/>
                <a:gd name="T3" fmla="*/ 172 h 178"/>
                <a:gd name="T4" fmla="*/ 48 w 108"/>
                <a:gd name="T5" fmla="*/ 153 h 178"/>
                <a:gd name="T6" fmla="*/ 50 w 108"/>
                <a:gd name="T7" fmla="*/ 149 h 178"/>
                <a:gd name="T8" fmla="*/ 96 w 108"/>
                <a:gd name="T9" fmla="*/ 103 h 178"/>
                <a:gd name="T10" fmla="*/ 96 w 108"/>
                <a:gd name="T11" fmla="*/ 15 h 178"/>
                <a:gd name="T12" fmla="*/ 93 w 108"/>
                <a:gd name="T13" fmla="*/ 16 h 178"/>
                <a:gd name="T14" fmla="*/ 78 w 108"/>
                <a:gd name="T15" fmla="*/ 82 h 178"/>
                <a:gd name="T16" fmla="*/ 76 w 108"/>
                <a:gd name="T17" fmla="*/ 86 h 178"/>
                <a:gd name="T18" fmla="*/ 41 w 108"/>
                <a:gd name="T19" fmla="*/ 122 h 178"/>
                <a:gd name="T20" fmla="*/ 34 w 108"/>
                <a:gd name="T21" fmla="*/ 123 h 178"/>
                <a:gd name="T22" fmla="*/ 31 w 108"/>
                <a:gd name="T23" fmla="*/ 116 h 178"/>
                <a:gd name="T24" fmla="*/ 39 w 108"/>
                <a:gd name="T25" fmla="*/ 80 h 178"/>
                <a:gd name="T26" fmla="*/ 37 w 108"/>
                <a:gd name="T27" fmla="*/ 69 h 178"/>
                <a:gd name="T28" fmla="*/ 30 w 108"/>
                <a:gd name="T29" fmla="*/ 73 h 178"/>
                <a:gd name="T30" fmla="*/ 12 w 108"/>
                <a:gd name="T31" fmla="*/ 118 h 178"/>
                <a:gd name="T32" fmla="*/ 12 w 108"/>
                <a:gd name="T33" fmla="*/ 172 h 178"/>
                <a:gd name="T34" fmla="*/ 6 w 108"/>
                <a:gd name="T35" fmla="*/ 178 h 178"/>
                <a:gd name="T36" fmla="*/ 0 w 108"/>
                <a:gd name="T37" fmla="*/ 172 h 178"/>
                <a:gd name="T38" fmla="*/ 0 w 108"/>
                <a:gd name="T39" fmla="*/ 118 h 178"/>
                <a:gd name="T40" fmla="*/ 0 w 108"/>
                <a:gd name="T41" fmla="*/ 116 h 178"/>
                <a:gd name="T42" fmla="*/ 20 w 108"/>
                <a:gd name="T43" fmla="*/ 67 h 178"/>
                <a:gd name="T44" fmla="*/ 41 w 108"/>
                <a:gd name="T45" fmla="*/ 58 h 178"/>
                <a:gd name="T46" fmla="*/ 51 w 108"/>
                <a:gd name="T47" fmla="*/ 83 h 178"/>
                <a:gd name="T48" fmla="*/ 47 w 108"/>
                <a:gd name="T49" fmla="*/ 98 h 178"/>
                <a:gd name="T50" fmla="*/ 66 w 108"/>
                <a:gd name="T51" fmla="*/ 79 h 178"/>
                <a:gd name="T52" fmla="*/ 87 w 108"/>
                <a:gd name="T53" fmla="*/ 6 h 178"/>
                <a:gd name="T54" fmla="*/ 104 w 108"/>
                <a:gd name="T55" fmla="*/ 3 h 178"/>
                <a:gd name="T56" fmla="*/ 108 w 108"/>
                <a:gd name="T57" fmla="*/ 9 h 178"/>
                <a:gd name="T58" fmla="*/ 108 w 108"/>
                <a:gd name="T59" fmla="*/ 106 h 178"/>
                <a:gd name="T60" fmla="*/ 106 w 108"/>
                <a:gd name="T61" fmla="*/ 110 h 178"/>
                <a:gd name="T62" fmla="*/ 60 w 108"/>
                <a:gd name="T63" fmla="*/ 156 h 178"/>
                <a:gd name="T64" fmla="*/ 60 w 108"/>
                <a:gd name="T65" fmla="*/ 172 h 178"/>
                <a:gd name="T66" fmla="*/ 54 w 108"/>
                <a:gd name="T6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 h="178">
                  <a:moveTo>
                    <a:pt x="54" y="178"/>
                  </a:moveTo>
                  <a:cubicBezTo>
                    <a:pt x="51" y="178"/>
                    <a:pt x="48" y="175"/>
                    <a:pt x="48" y="172"/>
                  </a:cubicBezTo>
                  <a:cubicBezTo>
                    <a:pt x="48" y="153"/>
                    <a:pt x="48" y="153"/>
                    <a:pt x="48" y="153"/>
                  </a:cubicBezTo>
                  <a:cubicBezTo>
                    <a:pt x="48" y="152"/>
                    <a:pt x="49" y="150"/>
                    <a:pt x="50" y="149"/>
                  </a:cubicBezTo>
                  <a:cubicBezTo>
                    <a:pt x="50" y="149"/>
                    <a:pt x="84" y="115"/>
                    <a:pt x="96" y="103"/>
                  </a:cubicBezTo>
                  <a:cubicBezTo>
                    <a:pt x="96" y="15"/>
                    <a:pt x="96" y="15"/>
                    <a:pt x="96" y="15"/>
                  </a:cubicBezTo>
                  <a:cubicBezTo>
                    <a:pt x="95" y="15"/>
                    <a:pt x="94" y="16"/>
                    <a:pt x="93" y="16"/>
                  </a:cubicBezTo>
                  <a:cubicBezTo>
                    <a:pt x="88" y="21"/>
                    <a:pt x="78" y="35"/>
                    <a:pt x="78" y="82"/>
                  </a:cubicBezTo>
                  <a:cubicBezTo>
                    <a:pt x="78" y="83"/>
                    <a:pt x="78" y="85"/>
                    <a:pt x="76" y="86"/>
                  </a:cubicBezTo>
                  <a:cubicBezTo>
                    <a:pt x="41" y="122"/>
                    <a:pt x="41" y="122"/>
                    <a:pt x="41" y="122"/>
                  </a:cubicBezTo>
                  <a:cubicBezTo>
                    <a:pt x="39" y="123"/>
                    <a:pt x="36" y="124"/>
                    <a:pt x="34" y="123"/>
                  </a:cubicBezTo>
                  <a:cubicBezTo>
                    <a:pt x="31" y="121"/>
                    <a:pt x="30" y="119"/>
                    <a:pt x="31" y="116"/>
                  </a:cubicBezTo>
                  <a:cubicBezTo>
                    <a:pt x="39" y="80"/>
                    <a:pt x="39" y="80"/>
                    <a:pt x="39" y="80"/>
                  </a:cubicBezTo>
                  <a:cubicBezTo>
                    <a:pt x="40" y="74"/>
                    <a:pt x="39" y="70"/>
                    <a:pt x="37" y="69"/>
                  </a:cubicBezTo>
                  <a:cubicBezTo>
                    <a:pt x="34" y="69"/>
                    <a:pt x="32" y="70"/>
                    <a:pt x="30" y="73"/>
                  </a:cubicBezTo>
                  <a:cubicBezTo>
                    <a:pt x="24" y="83"/>
                    <a:pt x="15" y="108"/>
                    <a:pt x="12" y="118"/>
                  </a:cubicBezTo>
                  <a:cubicBezTo>
                    <a:pt x="12" y="172"/>
                    <a:pt x="12" y="172"/>
                    <a:pt x="12" y="172"/>
                  </a:cubicBezTo>
                  <a:cubicBezTo>
                    <a:pt x="12" y="175"/>
                    <a:pt x="10" y="178"/>
                    <a:pt x="6" y="178"/>
                  </a:cubicBezTo>
                  <a:cubicBezTo>
                    <a:pt x="3" y="178"/>
                    <a:pt x="0" y="175"/>
                    <a:pt x="0" y="172"/>
                  </a:cubicBezTo>
                  <a:cubicBezTo>
                    <a:pt x="0" y="118"/>
                    <a:pt x="0" y="118"/>
                    <a:pt x="0" y="118"/>
                  </a:cubicBezTo>
                  <a:cubicBezTo>
                    <a:pt x="0" y="117"/>
                    <a:pt x="0" y="116"/>
                    <a:pt x="0" y="116"/>
                  </a:cubicBezTo>
                  <a:cubicBezTo>
                    <a:pt x="1" y="114"/>
                    <a:pt x="11" y="80"/>
                    <a:pt x="20" y="67"/>
                  </a:cubicBezTo>
                  <a:cubicBezTo>
                    <a:pt x="26" y="57"/>
                    <a:pt x="35" y="56"/>
                    <a:pt x="41" y="58"/>
                  </a:cubicBezTo>
                  <a:cubicBezTo>
                    <a:pt x="48" y="61"/>
                    <a:pt x="54" y="70"/>
                    <a:pt x="51" y="83"/>
                  </a:cubicBezTo>
                  <a:cubicBezTo>
                    <a:pt x="47" y="98"/>
                    <a:pt x="47" y="98"/>
                    <a:pt x="47" y="98"/>
                  </a:cubicBezTo>
                  <a:cubicBezTo>
                    <a:pt x="66" y="79"/>
                    <a:pt x="66" y="79"/>
                    <a:pt x="66" y="79"/>
                  </a:cubicBezTo>
                  <a:cubicBezTo>
                    <a:pt x="67" y="40"/>
                    <a:pt x="73" y="16"/>
                    <a:pt x="87" y="6"/>
                  </a:cubicBezTo>
                  <a:cubicBezTo>
                    <a:pt x="95" y="0"/>
                    <a:pt x="103" y="3"/>
                    <a:pt x="104" y="3"/>
                  </a:cubicBezTo>
                  <a:cubicBezTo>
                    <a:pt x="107" y="4"/>
                    <a:pt x="108" y="6"/>
                    <a:pt x="108" y="9"/>
                  </a:cubicBezTo>
                  <a:cubicBezTo>
                    <a:pt x="108" y="106"/>
                    <a:pt x="108" y="106"/>
                    <a:pt x="108" y="106"/>
                  </a:cubicBezTo>
                  <a:cubicBezTo>
                    <a:pt x="108" y="107"/>
                    <a:pt x="108" y="109"/>
                    <a:pt x="106" y="110"/>
                  </a:cubicBezTo>
                  <a:cubicBezTo>
                    <a:pt x="98" y="118"/>
                    <a:pt x="68" y="148"/>
                    <a:pt x="60" y="156"/>
                  </a:cubicBezTo>
                  <a:cubicBezTo>
                    <a:pt x="60" y="172"/>
                    <a:pt x="60" y="172"/>
                    <a:pt x="60" y="172"/>
                  </a:cubicBezTo>
                  <a:cubicBezTo>
                    <a:pt x="60" y="175"/>
                    <a:pt x="58" y="178"/>
                    <a:pt x="54" y="17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07" name="Freeform 212">
              <a:extLst>
                <a:ext uri="{FF2B5EF4-FFF2-40B4-BE49-F238E27FC236}">
                  <a16:creationId xmlns:a16="http://schemas.microsoft.com/office/drawing/2014/main" id="{62DF997E-3359-99C2-7294-9D133D597FFF}"/>
                </a:ext>
              </a:extLst>
            </p:cNvPr>
            <p:cNvSpPr>
              <a:spLocks noEditPoints="1"/>
            </p:cNvSpPr>
            <p:nvPr/>
          </p:nvSpPr>
          <p:spPr bwMode="auto">
            <a:xfrm>
              <a:off x="581" y="3502"/>
              <a:ext cx="124" cy="69"/>
            </a:xfrm>
            <a:custGeom>
              <a:avLst/>
              <a:gdLst>
                <a:gd name="T0" fmla="*/ 78 w 84"/>
                <a:gd name="T1" fmla="*/ 48 h 48"/>
                <a:gd name="T2" fmla="*/ 6 w 84"/>
                <a:gd name="T3" fmla="*/ 48 h 48"/>
                <a:gd name="T4" fmla="*/ 0 w 84"/>
                <a:gd name="T5" fmla="*/ 42 h 48"/>
                <a:gd name="T6" fmla="*/ 0 w 84"/>
                <a:gd name="T7" fmla="*/ 6 h 48"/>
                <a:gd name="T8" fmla="*/ 6 w 84"/>
                <a:gd name="T9" fmla="*/ 0 h 48"/>
                <a:gd name="T10" fmla="*/ 78 w 84"/>
                <a:gd name="T11" fmla="*/ 0 h 48"/>
                <a:gd name="T12" fmla="*/ 84 w 84"/>
                <a:gd name="T13" fmla="*/ 6 h 48"/>
                <a:gd name="T14" fmla="*/ 84 w 84"/>
                <a:gd name="T15" fmla="*/ 42 h 48"/>
                <a:gd name="T16" fmla="*/ 78 w 84"/>
                <a:gd name="T17" fmla="*/ 48 h 48"/>
                <a:gd name="T18" fmla="*/ 12 w 84"/>
                <a:gd name="T19" fmla="*/ 36 h 48"/>
                <a:gd name="T20" fmla="*/ 72 w 84"/>
                <a:gd name="T21" fmla="*/ 36 h 48"/>
                <a:gd name="T22" fmla="*/ 72 w 84"/>
                <a:gd name="T23" fmla="*/ 12 h 48"/>
                <a:gd name="T24" fmla="*/ 12 w 84"/>
                <a:gd name="T25" fmla="*/ 12 h 48"/>
                <a:gd name="T26" fmla="*/ 12 w 8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8">
                  <a:moveTo>
                    <a:pt x="78" y="48"/>
                  </a:moveTo>
                  <a:cubicBezTo>
                    <a:pt x="6" y="48"/>
                    <a:pt x="6" y="48"/>
                    <a:pt x="6" y="48"/>
                  </a:cubicBezTo>
                  <a:cubicBezTo>
                    <a:pt x="3" y="48"/>
                    <a:pt x="0" y="45"/>
                    <a:pt x="0" y="42"/>
                  </a:cubicBezTo>
                  <a:cubicBezTo>
                    <a:pt x="0" y="6"/>
                    <a:pt x="0" y="6"/>
                    <a:pt x="0" y="6"/>
                  </a:cubicBezTo>
                  <a:cubicBezTo>
                    <a:pt x="0" y="2"/>
                    <a:pt x="3" y="0"/>
                    <a:pt x="6" y="0"/>
                  </a:cubicBezTo>
                  <a:cubicBezTo>
                    <a:pt x="78" y="0"/>
                    <a:pt x="78" y="0"/>
                    <a:pt x="78" y="0"/>
                  </a:cubicBezTo>
                  <a:cubicBezTo>
                    <a:pt x="82" y="0"/>
                    <a:pt x="84" y="2"/>
                    <a:pt x="84" y="6"/>
                  </a:cubicBezTo>
                  <a:cubicBezTo>
                    <a:pt x="84" y="42"/>
                    <a:pt x="84" y="42"/>
                    <a:pt x="84" y="42"/>
                  </a:cubicBezTo>
                  <a:cubicBezTo>
                    <a:pt x="84" y="45"/>
                    <a:pt x="82" y="48"/>
                    <a:pt x="78" y="48"/>
                  </a:cubicBezTo>
                  <a:close/>
                  <a:moveTo>
                    <a:pt x="12" y="36"/>
                  </a:moveTo>
                  <a:cubicBezTo>
                    <a:pt x="72" y="36"/>
                    <a:pt x="72" y="36"/>
                    <a:pt x="72" y="36"/>
                  </a:cubicBezTo>
                  <a:cubicBezTo>
                    <a:pt x="72" y="12"/>
                    <a:pt x="72" y="12"/>
                    <a:pt x="72" y="12"/>
                  </a:cubicBezTo>
                  <a:cubicBezTo>
                    <a:pt x="12" y="12"/>
                    <a:pt x="12" y="12"/>
                    <a:pt x="12" y="12"/>
                  </a:cubicBezTo>
                  <a:lnTo>
                    <a:pt x="12" y="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08" name="Freeform 213">
              <a:extLst>
                <a:ext uri="{FF2B5EF4-FFF2-40B4-BE49-F238E27FC236}">
                  <a16:creationId xmlns:a16="http://schemas.microsoft.com/office/drawing/2014/main" id="{74DC58B5-1ACE-D615-17AB-D22D770813D4}"/>
                </a:ext>
              </a:extLst>
            </p:cNvPr>
            <p:cNvSpPr>
              <a:spLocks/>
            </p:cNvSpPr>
            <p:nvPr/>
          </p:nvSpPr>
          <p:spPr bwMode="auto">
            <a:xfrm>
              <a:off x="528" y="3262"/>
              <a:ext cx="160" cy="257"/>
            </a:xfrm>
            <a:custGeom>
              <a:avLst/>
              <a:gdLst>
                <a:gd name="T0" fmla="*/ 102 w 108"/>
                <a:gd name="T1" fmla="*/ 178 h 178"/>
                <a:gd name="T2" fmla="*/ 96 w 108"/>
                <a:gd name="T3" fmla="*/ 172 h 178"/>
                <a:gd name="T4" fmla="*/ 96 w 108"/>
                <a:gd name="T5" fmla="*/ 118 h 178"/>
                <a:gd name="T6" fmla="*/ 79 w 108"/>
                <a:gd name="T7" fmla="*/ 73 h 178"/>
                <a:gd name="T8" fmla="*/ 72 w 108"/>
                <a:gd name="T9" fmla="*/ 69 h 178"/>
                <a:gd name="T10" fmla="*/ 69 w 108"/>
                <a:gd name="T11" fmla="*/ 80 h 178"/>
                <a:gd name="T12" fmla="*/ 78 w 108"/>
                <a:gd name="T13" fmla="*/ 116 h 178"/>
                <a:gd name="T14" fmla="*/ 75 w 108"/>
                <a:gd name="T15" fmla="*/ 123 h 178"/>
                <a:gd name="T16" fmla="*/ 68 w 108"/>
                <a:gd name="T17" fmla="*/ 122 h 178"/>
                <a:gd name="T18" fmla="*/ 32 w 108"/>
                <a:gd name="T19" fmla="*/ 86 h 178"/>
                <a:gd name="T20" fmla="*/ 30 w 108"/>
                <a:gd name="T21" fmla="*/ 82 h 178"/>
                <a:gd name="T22" fmla="*/ 15 w 108"/>
                <a:gd name="T23" fmla="*/ 16 h 178"/>
                <a:gd name="T24" fmla="*/ 12 w 108"/>
                <a:gd name="T25" fmla="*/ 15 h 178"/>
                <a:gd name="T26" fmla="*/ 12 w 108"/>
                <a:gd name="T27" fmla="*/ 103 h 178"/>
                <a:gd name="T28" fmla="*/ 59 w 108"/>
                <a:gd name="T29" fmla="*/ 149 h 178"/>
                <a:gd name="T30" fmla="*/ 60 w 108"/>
                <a:gd name="T31" fmla="*/ 153 h 178"/>
                <a:gd name="T32" fmla="*/ 60 w 108"/>
                <a:gd name="T33" fmla="*/ 172 h 178"/>
                <a:gd name="T34" fmla="*/ 54 w 108"/>
                <a:gd name="T35" fmla="*/ 178 h 178"/>
                <a:gd name="T36" fmla="*/ 48 w 108"/>
                <a:gd name="T37" fmla="*/ 172 h 178"/>
                <a:gd name="T38" fmla="*/ 48 w 108"/>
                <a:gd name="T39" fmla="*/ 156 h 178"/>
                <a:gd name="T40" fmla="*/ 2 w 108"/>
                <a:gd name="T41" fmla="*/ 110 h 178"/>
                <a:gd name="T42" fmla="*/ 0 w 108"/>
                <a:gd name="T43" fmla="*/ 106 h 178"/>
                <a:gd name="T44" fmla="*/ 0 w 108"/>
                <a:gd name="T45" fmla="*/ 9 h 178"/>
                <a:gd name="T46" fmla="*/ 4 w 108"/>
                <a:gd name="T47" fmla="*/ 3 h 178"/>
                <a:gd name="T48" fmla="*/ 22 w 108"/>
                <a:gd name="T49" fmla="*/ 6 h 178"/>
                <a:gd name="T50" fmla="*/ 42 w 108"/>
                <a:gd name="T51" fmla="*/ 79 h 178"/>
                <a:gd name="T52" fmla="*/ 61 w 108"/>
                <a:gd name="T53" fmla="*/ 98 h 178"/>
                <a:gd name="T54" fmla="*/ 58 w 108"/>
                <a:gd name="T55" fmla="*/ 83 h 178"/>
                <a:gd name="T56" fmla="*/ 67 w 108"/>
                <a:gd name="T57" fmla="*/ 58 h 178"/>
                <a:gd name="T58" fmla="*/ 89 w 108"/>
                <a:gd name="T59" fmla="*/ 67 h 178"/>
                <a:gd name="T60" fmla="*/ 108 w 108"/>
                <a:gd name="T61" fmla="*/ 116 h 178"/>
                <a:gd name="T62" fmla="*/ 108 w 108"/>
                <a:gd name="T63" fmla="*/ 118 h 178"/>
                <a:gd name="T64" fmla="*/ 108 w 108"/>
                <a:gd name="T65" fmla="*/ 172 h 178"/>
                <a:gd name="T66" fmla="*/ 102 w 108"/>
                <a:gd name="T6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 h="178">
                  <a:moveTo>
                    <a:pt x="102" y="178"/>
                  </a:moveTo>
                  <a:cubicBezTo>
                    <a:pt x="99" y="178"/>
                    <a:pt x="96" y="175"/>
                    <a:pt x="96" y="172"/>
                  </a:cubicBezTo>
                  <a:cubicBezTo>
                    <a:pt x="96" y="118"/>
                    <a:pt x="96" y="118"/>
                    <a:pt x="96" y="118"/>
                  </a:cubicBezTo>
                  <a:cubicBezTo>
                    <a:pt x="93" y="108"/>
                    <a:pt x="85" y="82"/>
                    <a:pt x="79" y="73"/>
                  </a:cubicBezTo>
                  <a:cubicBezTo>
                    <a:pt x="77" y="70"/>
                    <a:pt x="74" y="69"/>
                    <a:pt x="72" y="69"/>
                  </a:cubicBezTo>
                  <a:cubicBezTo>
                    <a:pt x="70" y="70"/>
                    <a:pt x="68" y="74"/>
                    <a:pt x="69" y="80"/>
                  </a:cubicBezTo>
                  <a:cubicBezTo>
                    <a:pt x="78" y="116"/>
                    <a:pt x="78" y="116"/>
                    <a:pt x="78" y="116"/>
                  </a:cubicBezTo>
                  <a:cubicBezTo>
                    <a:pt x="78" y="119"/>
                    <a:pt x="77" y="121"/>
                    <a:pt x="75" y="123"/>
                  </a:cubicBezTo>
                  <a:cubicBezTo>
                    <a:pt x="72" y="124"/>
                    <a:pt x="70" y="123"/>
                    <a:pt x="68" y="122"/>
                  </a:cubicBezTo>
                  <a:cubicBezTo>
                    <a:pt x="32" y="86"/>
                    <a:pt x="32" y="86"/>
                    <a:pt x="32" y="86"/>
                  </a:cubicBezTo>
                  <a:cubicBezTo>
                    <a:pt x="31" y="85"/>
                    <a:pt x="30" y="83"/>
                    <a:pt x="30" y="82"/>
                  </a:cubicBezTo>
                  <a:cubicBezTo>
                    <a:pt x="30" y="35"/>
                    <a:pt x="21" y="21"/>
                    <a:pt x="15" y="16"/>
                  </a:cubicBezTo>
                  <a:cubicBezTo>
                    <a:pt x="14" y="16"/>
                    <a:pt x="13" y="15"/>
                    <a:pt x="12" y="15"/>
                  </a:cubicBezTo>
                  <a:cubicBezTo>
                    <a:pt x="12" y="103"/>
                    <a:pt x="12" y="103"/>
                    <a:pt x="12" y="103"/>
                  </a:cubicBezTo>
                  <a:cubicBezTo>
                    <a:pt x="26" y="115"/>
                    <a:pt x="57" y="148"/>
                    <a:pt x="59" y="149"/>
                  </a:cubicBezTo>
                  <a:cubicBezTo>
                    <a:pt x="60" y="150"/>
                    <a:pt x="60" y="152"/>
                    <a:pt x="60" y="153"/>
                  </a:cubicBezTo>
                  <a:cubicBezTo>
                    <a:pt x="60" y="172"/>
                    <a:pt x="60" y="172"/>
                    <a:pt x="60" y="172"/>
                  </a:cubicBezTo>
                  <a:cubicBezTo>
                    <a:pt x="60" y="175"/>
                    <a:pt x="58" y="178"/>
                    <a:pt x="54" y="178"/>
                  </a:cubicBezTo>
                  <a:cubicBezTo>
                    <a:pt x="51" y="178"/>
                    <a:pt x="48" y="175"/>
                    <a:pt x="48" y="172"/>
                  </a:cubicBezTo>
                  <a:cubicBezTo>
                    <a:pt x="48" y="156"/>
                    <a:pt x="48" y="156"/>
                    <a:pt x="48" y="156"/>
                  </a:cubicBezTo>
                  <a:cubicBezTo>
                    <a:pt x="41" y="148"/>
                    <a:pt x="13" y="119"/>
                    <a:pt x="2" y="110"/>
                  </a:cubicBezTo>
                  <a:cubicBezTo>
                    <a:pt x="1" y="109"/>
                    <a:pt x="0" y="107"/>
                    <a:pt x="0" y="106"/>
                  </a:cubicBezTo>
                  <a:cubicBezTo>
                    <a:pt x="0" y="9"/>
                    <a:pt x="0" y="9"/>
                    <a:pt x="0" y="9"/>
                  </a:cubicBezTo>
                  <a:cubicBezTo>
                    <a:pt x="0" y="6"/>
                    <a:pt x="2" y="4"/>
                    <a:pt x="4" y="3"/>
                  </a:cubicBezTo>
                  <a:cubicBezTo>
                    <a:pt x="5" y="3"/>
                    <a:pt x="13" y="0"/>
                    <a:pt x="22" y="6"/>
                  </a:cubicBezTo>
                  <a:cubicBezTo>
                    <a:pt x="35" y="16"/>
                    <a:pt x="42" y="40"/>
                    <a:pt x="42" y="79"/>
                  </a:cubicBezTo>
                  <a:cubicBezTo>
                    <a:pt x="61" y="98"/>
                    <a:pt x="61" y="98"/>
                    <a:pt x="61" y="98"/>
                  </a:cubicBezTo>
                  <a:cubicBezTo>
                    <a:pt x="58" y="83"/>
                    <a:pt x="58" y="83"/>
                    <a:pt x="58" y="83"/>
                  </a:cubicBezTo>
                  <a:cubicBezTo>
                    <a:pt x="55" y="70"/>
                    <a:pt x="60" y="61"/>
                    <a:pt x="67" y="58"/>
                  </a:cubicBezTo>
                  <a:cubicBezTo>
                    <a:pt x="74" y="56"/>
                    <a:pt x="83" y="57"/>
                    <a:pt x="89" y="67"/>
                  </a:cubicBezTo>
                  <a:cubicBezTo>
                    <a:pt x="97" y="80"/>
                    <a:pt x="108" y="114"/>
                    <a:pt x="108" y="116"/>
                  </a:cubicBezTo>
                  <a:cubicBezTo>
                    <a:pt x="108" y="116"/>
                    <a:pt x="108" y="117"/>
                    <a:pt x="108" y="118"/>
                  </a:cubicBezTo>
                  <a:cubicBezTo>
                    <a:pt x="108" y="172"/>
                    <a:pt x="108" y="172"/>
                    <a:pt x="108" y="172"/>
                  </a:cubicBezTo>
                  <a:cubicBezTo>
                    <a:pt x="108" y="175"/>
                    <a:pt x="106" y="178"/>
                    <a:pt x="102" y="17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09" name="Freeform 214">
              <a:extLst>
                <a:ext uri="{FF2B5EF4-FFF2-40B4-BE49-F238E27FC236}">
                  <a16:creationId xmlns:a16="http://schemas.microsoft.com/office/drawing/2014/main" id="{F494EB8E-DA98-B61B-F4AD-A1B83DD16669}"/>
                </a:ext>
              </a:extLst>
            </p:cNvPr>
            <p:cNvSpPr>
              <a:spLocks/>
            </p:cNvSpPr>
            <p:nvPr/>
          </p:nvSpPr>
          <p:spPr bwMode="auto">
            <a:xfrm>
              <a:off x="670" y="3153"/>
              <a:ext cx="81" cy="219"/>
            </a:xfrm>
            <a:custGeom>
              <a:avLst/>
              <a:gdLst>
                <a:gd name="T0" fmla="*/ 48 w 55"/>
                <a:gd name="T1" fmla="*/ 151 h 151"/>
                <a:gd name="T2" fmla="*/ 43 w 55"/>
                <a:gd name="T3" fmla="*/ 147 h 151"/>
                <a:gd name="T4" fmla="*/ 12 w 55"/>
                <a:gd name="T5" fmla="*/ 57 h 151"/>
                <a:gd name="T6" fmla="*/ 12 w 55"/>
                <a:gd name="T7" fmla="*/ 56 h 151"/>
                <a:gd name="T8" fmla="*/ 0 w 55"/>
                <a:gd name="T9" fmla="*/ 8 h 151"/>
                <a:gd name="T10" fmla="*/ 5 w 55"/>
                <a:gd name="T11" fmla="*/ 1 h 151"/>
                <a:gd name="T12" fmla="*/ 12 w 55"/>
                <a:gd name="T13" fmla="*/ 5 h 151"/>
                <a:gd name="T14" fmla="*/ 24 w 55"/>
                <a:gd name="T15" fmla="*/ 53 h 151"/>
                <a:gd name="T16" fmla="*/ 54 w 55"/>
                <a:gd name="T17" fmla="*/ 143 h 151"/>
                <a:gd name="T18" fmla="*/ 50 w 55"/>
                <a:gd name="T19" fmla="*/ 150 h 151"/>
                <a:gd name="T20" fmla="*/ 48 w 55"/>
                <a:gd name="T21"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151">
                  <a:moveTo>
                    <a:pt x="48" y="151"/>
                  </a:moveTo>
                  <a:cubicBezTo>
                    <a:pt x="46" y="151"/>
                    <a:pt x="43" y="149"/>
                    <a:pt x="43" y="147"/>
                  </a:cubicBezTo>
                  <a:cubicBezTo>
                    <a:pt x="12" y="57"/>
                    <a:pt x="12" y="57"/>
                    <a:pt x="12" y="57"/>
                  </a:cubicBezTo>
                  <a:cubicBezTo>
                    <a:pt x="12" y="56"/>
                    <a:pt x="12" y="56"/>
                    <a:pt x="12" y="56"/>
                  </a:cubicBezTo>
                  <a:cubicBezTo>
                    <a:pt x="0" y="8"/>
                    <a:pt x="0" y="8"/>
                    <a:pt x="0" y="8"/>
                  </a:cubicBezTo>
                  <a:cubicBezTo>
                    <a:pt x="0" y="5"/>
                    <a:pt x="2" y="2"/>
                    <a:pt x="5" y="1"/>
                  </a:cubicBezTo>
                  <a:cubicBezTo>
                    <a:pt x="8" y="0"/>
                    <a:pt x="11" y="2"/>
                    <a:pt x="12" y="5"/>
                  </a:cubicBezTo>
                  <a:cubicBezTo>
                    <a:pt x="24" y="53"/>
                    <a:pt x="24" y="53"/>
                    <a:pt x="24" y="53"/>
                  </a:cubicBezTo>
                  <a:cubicBezTo>
                    <a:pt x="54" y="143"/>
                    <a:pt x="54" y="143"/>
                    <a:pt x="54" y="143"/>
                  </a:cubicBezTo>
                  <a:cubicBezTo>
                    <a:pt x="55" y="146"/>
                    <a:pt x="53" y="149"/>
                    <a:pt x="50" y="150"/>
                  </a:cubicBezTo>
                  <a:cubicBezTo>
                    <a:pt x="50" y="151"/>
                    <a:pt x="49" y="151"/>
                    <a:pt x="48" y="1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10" name="Freeform 215">
              <a:extLst>
                <a:ext uri="{FF2B5EF4-FFF2-40B4-BE49-F238E27FC236}">
                  <a16:creationId xmlns:a16="http://schemas.microsoft.com/office/drawing/2014/main" id="{DFB2BD96-CA22-FFA5-7BC8-A0F7D1A8EF27}"/>
                </a:ext>
              </a:extLst>
            </p:cNvPr>
            <p:cNvSpPr>
              <a:spLocks/>
            </p:cNvSpPr>
            <p:nvPr/>
          </p:nvSpPr>
          <p:spPr bwMode="auto">
            <a:xfrm>
              <a:off x="732" y="3153"/>
              <a:ext cx="82" cy="219"/>
            </a:xfrm>
            <a:custGeom>
              <a:avLst/>
              <a:gdLst>
                <a:gd name="T0" fmla="*/ 7 w 55"/>
                <a:gd name="T1" fmla="*/ 151 h 151"/>
                <a:gd name="T2" fmla="*/ 5 w 55"/>
                <a:gd name="T3" fmla="*/ 150 h 151"/>
                <a:gd name="T4" fmla="*/ 1 w 55"/>
                <a:gd name="T5" fmla="*/ 143 h 151"/>
                <a:gd name="T6" fmla="*/ 30 w 55"/>
                <a:gd name="T7" fmla="*/ 53 h 151"/>
                <a:gd name="T8" fmla="*/ 42 w 55"/>
                <a:gd name="T9" fmla="*/ 5 h 151"/>
                <a:gd name="T10" fmla="*/ 50 w 55"/>
                <a:gd name="T11" fmla="*/ 1 h 151"/>
                <a:gd name="T12" fmla="*/ 54 w 55"/>
                <a:gd name="T13" fmla="*/ 8 h 151"/>
                <a:gd name="T14" fmla="*/ 42 w 55"/>
                <a:gd name="T15" fmla="*/ 56 h 151"/>
                <a:gd name="T16" fmla="*/ 42 w 55"/>
                <a:gd name="T17" fmla="*/ 57 h 151"/>
                <a:gd name="T18" fmla="*/ 12 w 55"/>
                <a:gd name="T19" fmla="*/ 147 h 151"/>
                <a:gd name="T20" fmla="*/ 7 w 55"/>
                <a:gd name="T21"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151">
                  <a:moveTo>
                    <a:pt x="7" y="151"/>
                  </a:moveTo>
                  <a:cubicBezTo>
                    <a:pt x="6" y="151"/>
                    <a:pt x="5" y="151"/>
                    <a:pt x="5" y="150"/>
                  </a:cubicBezTo>
                  <a:cubicBezTo>
                    <a:pt x="2" y="149"/>
                    <a:pt x="0" y="146"/>
                    <a:pt x="1" y="143"/>
                  </a:cubicBezTo>
                  <a:cubicBezTo>
                    <a:pt x="30" y="53"/>
                    <a:pt x="30" y="53"/>
                    <a:pt x="30" y="53"/>
                  </a:cubicBezTo>
                  <a:cubicBezTo>
                    <a:pt x="42" y="5"/>
                    <a:pt x="42" y="5"/>
                    <a:pt x="42" y="5"/>
                  </a:cubicBezTo>
                  <a:cubicBezTo>
                    <a:pt x="43" y="2"/>
                    <a:pt x="46" y="0"/>
                    <a:pt x="50" y="1"/>
                  </a:cubicBezTo>
                  <a:cubicBezTo>
                    <a:pt x="53" y="2"/>
                    <a:pt x="55" y="5"/>
                    <a:pt x="54" y="8"/>
                  </a:cubicBezTo>
                  <a:cubicBezTo>
                    <a:pt x="42" y="56"/>
                    <a:pt x="42" y="56"/>
                    <a:pt x="42" y="56"/>
                  </a:cubicBezTo>
                  <a:cubicBezTo>
                    <a:pt x="42" y="56"/>
                    <a:pt x="42" y="56"/>
                    <a:pt x="42" y="57"/>
                  </a:cubicBezTo>
                  <a:cubicBezTo>
                    <a:pt x="12" y="147"/>
                    <a:pt x="12" y="147"/>
                    <a:pt x="12" y="147"/>
                  </a:cubicBezTo>
                  <a:cubicBezTo>
                    <a:pt x="12" y="149"/>
                    <a:pt x="9" y="151"/>
                    <a:pt x="7" y="1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12" name="Group 1111">
            <a:extLst>
              <a:ext uri="{FF2B5EF4-FFF2-40B4-BE49-F238E27FC236}">
                <a16:creationId xmlns:a16="http://schemas.microsoft.com/office/drawing/2014/main" id="{2E9F5C14-D504-A137-BB68-0C65296366D2}"/>
              </a:ext>
            </a:extLst>
          </p:cNvPr>
          <p:cNvGrpSpPr/>
          <p:nvPr/>
        </p:nvGrpSpPr>
        <p:grpSpPr>
          <a:xfrm>
            <a:off x="2950261" y="4408837"/>
            <a:ext cx="339384" cy="337876"/>
            <a:chOff x="454092" y="3338090"/>
            <a:chExt cx="339384" cy="337876"/>
          </a:xfrm>
          <a:solidFill>
            <a:srgbClr val="3B63E4"/>
          </a:solidFill>
        </p:grpSpPr>
        <p:sp>
          <p:nvSpPr>
            <p:cNvPr id="1116" name="Callout: Bent Line 1115">
              <a:extLst>
                <a:ext uri="{FF2B5EF4-FFF2-40B4-BE49-F238E27FC236}">
                  <a16:creationId xmlns:a16="http://schemas.microsoft.com/office/drawing/2014/main" id="{F4474128-43CD-0916-C259-C95BFB486E68}"/>
                </a:ext>
              </a:extLst>
            </p:cNvPr>
            <p:cNvSpPr/>
            <p:nvPr/>
          </p:nvSpPr>
          <p:spPr>
            <a:xfrm>
              <a:off x="454092" y="3338090"/>
              <a:ext cx="339384" cy="337876"/>
            </a:xfrm>
            <a:prstGeom prst="borderCallout2">
              <a:avLst>
                <a:gd name="adj1" fmla="val 47397"/>
                <a:gd name="adj2" fmla="val 101403"/>
                <a:gd name="adj3" fmla="val 47937"/>
                <a:gd name="adj4" fmla="val 126931"/>
                <a:gd name="adj5" fmla="val 53255"/>
                <a:gd name="adj6" fmla="val 141712"/>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1118" name="Rectangle 1117">
              <a:extLst>
                <a:ext uri="{FF2B5EF4-FFF2-40B4-BE49-F238E27FC236}">
                  <a16:creationId xmlns:a16="http://schemas.microsoft.com/office/drawing/2014/main" id="{66F3B4D6-96A1-6CB5-BE29-ED4CA94BE8B2}"/>
                </a:ext>
              </a:extLst>
            </p:cNvPr>
            <p:cNvSpPr>
              <a:spLocks noChangeAspect="1"/>
            </p:cNvSpPr>
            <p:nvPr/>
          </p:nvSpPr>
          <p:spPr>
            <a:xfrm>
              <a:off x="472322" y="3358470"/>
              <a:ext cx="303131" cy="303131"/>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grpSp>
      <p:grpSp>
        <p:nvGrpSpPr>
          <p:cNvPr id="1113" name="Group 4">
            <a:extLst>
              <a:ext uri="{FF2B5EF4-FFF2-40B4-BE49-F238E27FC236}">
                <a16:creationId xmlns:a16="http://schemas.microsoft.com/office/drawing/2014/main" id="{AADCDD4E-FBF9-BC3B-A6B6-5B8116FF9538}"/>
              </a:ext>
            </a:extLst>
          </p:cNvPr>
          <p:cNvGrpSpPr>
            <a:grpSpLocks noChangeAspect="1"/>
          </p:cNvGrpSpPr>
          <p:nvPr/>
        </p:nvGrpSpPr>
        <p:grpSpPr bwMode="auto">
          <a:xfrm>
            <a:off x="3027701" y="4475036"/>
            <a:ext cx="195216" cy="209856"/>
            <a:chOff x="539" y="663"/>
            <a:chExt cx="400" cy="430"/>
          </a:xfrm>
          <a:solidFill>
            <a:schemeClr val="bg1"/>
          </a:solidFill>
        </p:grpSpPr>
        <p:sp>
          <p:nvSpPr>
            <p:cNvPr id="1114" name="Freeform 5">
              <a:extLst>
                <a:ext uri="{FF2B5EF4-FFF2-40B4-BE49-F238E27FC236}">
                  <a16:creationId xmlns:a16="http://schemas.microsoft.com/office/drawing/2014/main" id="{BF7E4DDF-8396-8579-4133-FC0FF47AB39A}"/>
                </a:ext>
              </a:extLst>
            </p:cNvPr>
            <p:cNvSpPr>
              <a:spLocks noEditPoints="1"/>
            </p:cNvSpPr>
            <p:nvPr/>
          </p:nvSpPr>
          <p:spPr bwMode="auto">
            <a:xfrm>
              <a:off x="539" y="663"/>
              <a:ext cx="400" cy="430"/>
            </a:xfrm>
            <a:custGeom>
              <a:avLst/>
              <a:gdLst>
                <a:gd name="T0" fmla="*/ 174 w 261"/>
                <a:gd name="T1" fmla="*/ 288 h 288"/>
                <a:gd name="T2" fmla="*/ 54 w 261"/>
                <a:gd name="T3" fmla="*/ 288 h 288"/>
                <a:gd name="T4" fmla="*/ 48 w 261"/>
                <a:gd name="T5" fmla="*/ 282 h 288"/>
                <a:gd name="T6" fmla="*/ 48 w 261"/>
                <a:gd name="T7" fmla="*/ 216 h 288"/>
                <a:gd name="T8" fmla="*/ 0 w 261"/>
                <a:gd name="T9" fmla="*/ 120 h 288"/>
                <a:gd name="T10" fmla="*/ 120 w 261"/>
                <a:gd name="T11" fmla="*/ 0 h 288"/>
                <a:gd name="T12" fmla="*/ 235 w 261"/>
                <a:gd name="T13" fmla="*/ 100 h 288"/>
                <a:gd name="T14" fmla="*/ 243 w 261"/>
                <a:gd name="T15" fmla="*/ 118 h 288"/>
                <a:gd name="T16" fmla="*/ 260 w 261"/>
                <a:gd name="T17" fmla="*/ 163 h 288"/>
                <a:gd name="T18" fmla="*/ 260 w 261"/>
                <a:gd name="T19" fmla="*/ 164 h 288"/>
                <a:gd name="T20" fmla="*/ 258 w 261"/>
                <a:gd name="T21" fmla="*/ 173 h 288"/>
                <a:gd name="T22" fmla="*/ 247 w 261"/>
                <a:gd name="T23" fmla="*/ 180 h 288"/>
                <a:gd name="T24" fmla="*/ 234 w 261"/>
                <a:gd name="T25" fmla="*/ 180 h 288"/>
                <a:gd name="T26" fmla="*/ 223 w 261"/>
                <a:gd name="T27" fmla="*/ 234 h 288"/>
                <a:gd name="T28" fmla="*/ 180 w 261"/>
                <a:gd name="T29" fmla="*/ 246 h 288"/>
                <a:gd name="T30" fmla="*/ 180 w 261"/>
                <a:gd name="T31" fmla="*/ 282 h 288"/>
                <a:gd name="T32" fmla="*/ 174 w 261"/>
                <a:gd name="T33" fmla="*/ 288 h 288"/>
                <a:gd name="T34" fmla="*/ 60 w 261"/>
                <a:gd name="T35" fmla="*/ 276 h 288"/>
                <a:gd name="T36" fmla="*/ 168 w 261"/>
                <a:gd name="T37" fmla="*/ 276 h 288"/>
                <a:gd name="T38" fmla="*/ 168 w 261"/>
                <a:gd name="T39" fmla="*/ 240 h 288"/>
                <a:gd name="T40" fmla="*/ 170 w 261"/>
                <a:gd name="T41" fmla="*/ 236 h 288"/>
                <a:gd name="T42" fmla="*/ 174 w 261"/>
                <a:gd name="T43" fmla="*/ 234 h 288"/>
                <a:gd name="T44" fmla="*/ 214 w 261"/>
                <a:gd name="T45" fmla="*/ 226 h 288"/>
                <a:gd name="T46" fmla="*/ 222 w 261"/>
                <a:gd name="T47" fmla="*/ 174 h 288"/>
                <a:gd name="T48" fmla="*/ 224 w 261"/>
                <a:gd name="T49" fmla="*/ 169 h 288"/>
                <a:gd name="T50" fmla="*/ 229 w 261"/>
                <a:gd name="T51" fmla="*/ 168 h 288"/>
                <a:gd name="T52" fmla="*/ 246 w 261"/>
                <a:gd name="T53" fmla="*/ 168 h 288"/>
                <a:gd name="T54" fmla="*/ 248 w 261"/>
                <a:gd name="T55" fmla="*/ 167 h 288"/>
                <a:gd name="T56" fmla="*/ 248 w 261"/>
                <a:gd name="T57" fmla="*/ 164 h 288"/>
                <a:gd name="T58" fmla="*/ 248 w 261"/>
                <a:gd name="T59" fmla="*/ 162 h 288"/>
                <a:gd name="T60" fmla="*/ 233 w 261"/>
                <a:gd name="T61" fmla="*/ 124 h 288"/>
                <a:gd name="T62" fmla="*/ 223 w 261"/>
                <a:gd name="T63" fmla="*/ 101 h 288"/>
                <a:gd name="T64" fmla="*/ 120 w 261"/>
                <a:gd name="T65" fmla="*/ 12 h 288"/>
                <a:gd name="T66" fmla="*/ 12 w 261"/>
                <a:gd name="T67" fmla="*/ 120 h 288"/>
                <a:gd name="T68" fmla="*/ 57 w 261"/>
                <a:gd name="T69" fmla="*/ 207 h 288"/>
                <a:gd name="T70" fmla="*/ 60 w 261"/>
                <a:gd name="T71" fmla="*/ 213 h 288"/>
                <a:gd name="T72" fmla="*/ 60 w 261"/>
                <a:gd name="T7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1" h="288">
                  <a:moveTo>
                    <a:pt x="174" y="288"/>
                  </a:moveTo>
                  <a:cubicBezTo>
                    <a:pt x="54" y="288"/>
                    <a:pt x="54" y="288"/>
                    <a:pt x="54" y="288"/>
                  </a:cubicBezTo>
                  <a:cubicBezTo>
                    <a:pt x="51" y="288"/>
                    <a:pt x="48" y="285"/>
                    <a:pt x="48" y="282"/>
                  </a:cubicBezTo>
                  <a:cubicBezTo>
                    <a:pt x="48" y="216"/>
                    <a:pt x="48" y="216"/>
                    <a:pt x="48" y="216"/>
                  </a:cubicBezTo>
                  <a:cubicBezTo>
                    <a:pt x="16" y="196"/>
                    <a:pt x="0" y="164"/>
                    <a:pt x="0" y="120"/>
                  </a:cubicBezTo>
                  <a:cubicBezTo>
                    <a:pt x="0" y="53"/>
                    <a:pt x="53" y="0"/>
                    <a:pt x="120" y="0"/>
                  </a:cubicBezTo>
                  <a:cubicBezTo>
                    <a:pt x="176" y="0"/>
                    <a:pt x="235" y="37"/>
                    <a:pt x="235" y="100"/>
                  </a:cubicBezTo>
                  <a:cubicBezTo>
                    <a:pt x="235" y="103"/>
                    <a:pt x="240" y="112"/>
                    <a:pt x="243" y="118"/>
                  </a:cubicBezTo>
                  <a:cubicBezTo>
                    <a:pt x="252" y="133"/>
                    <a:pt x="261" y="149"/>
                    <a:pt x="260" y="163"/>
                  </a:cubicBezTo>
                  <a:cubicBezTo>
                    <a:pt x="260" y="163"/>
                    <a:pt x="260" y="164"/>
                    <a:pt x="260" y="164"/>
                  </a:cubicBezTo>
                  <a:cubicBezTo>
                    <a:pt x="260" y="167"/>
                    <a:pt x="260" y="170"/>
                    <a:pt x="258" y="173"/>
                  </a:cubicBezTo>
                  <a:cubicBezTo>
                    <a:pt x="256" y="177"/>
                    <a:pt x="251" y="179"/>
                    <a:pt x="247" y="180"/>
                  </a:cubicBezTo>
                  <a:cubicBezTo>
                    <a:pt x="243" y="180"/>
                    <a:pt x="238" y="180"/>
                    <a:pt x="234" y="180"/>
                  </a:cubicBezTo>
                  <a:cubicBezTo>
                    <a:pt x="234" y="194"/>
                    <a:pt x="233" y="224"/>
                    <a:pt x="223" y="234"/>
                  </a:cubicBezTo>
                  <a:cubicBezTo>
                    <a:pt x="214" y="243"/>
                    <a:pt x="201" y="246"/>
                    <a:pt x="180" y="246"/>
                  </a:cubicBezTo>
                  <a:cubicBezTo>
                    <a:pt x="180" y="282"/>
                    <a:pt x="180" y="282"/>
                    <a:pt x="180" y="282"/>
                  </a:cubicBezTo>
                  <a:cubicBezTo>
                    <a:pt x="180" y="285"/>
                    <a:pt x="177" y="288"/>
                    <a:pt x="174" y="288"/>
                  </a:cubicBezTo>
                  <a:close/>
                  <a:moveTo>
                    <a:pt x="60" y="276"/>
                  </a:moveTo>
                  <a:cubicBezTo>
                    <a:pt x="168" y="276"/>
                    <a:pt x="168" y="276"/>
                    <a:pt x="168" y="276"/>
                  </a:cubicBezTo>
                  <a:cubicBezTo>
                    <a:pt x="168" y="240"/>
                    <a:pt x="168" y="240"/>
                    <a:pt x="168" y="240"/>
                  </a:cubicBezTo>
                  <a:cubicBezTo>
                    <a:pt x="168" y="238"/>
                    <a:pt x="169" y="237"/>
                    <a:pt x="170" y="236"/>
                  </a:cubicBezTo>
                  <a:cubicBezTo>
                    <a:pt x="171" y="235"/>
                    <a:pt x="173" y="234"/>
                    <a:pt x="174" y="234"/>
                  </a:cubicBezTo>
                  <a:cubicBezTo>
                    <a:pt x="198" y="234"/>
                    <a:pt x="208" y="232"/>
                    <a:pt x="214" y="226"/>
                  </a:cubicBezTo>
                  <a:cubicBezTo>
                    <a:pt x="221" y="219"/>
                    <a:pt x="223" y="192"/>
                    <a:pt x="222" y="174"/>
                  </a:cubicBezTo>
                  <a:cubicBezTo>
                    <a:pt x="222" y="172"/>
                    <a:pt x="223" y="171"/>
                    <a:pt x="224" y="169"/>
                  </a:cubicBezTo>
                  <a:cubicBezTo>
                    <a:pt x="225" y="168"/>
                    <a:pt x="227" y="168"/>
                    <a:pt x="229" y="168"/>
                  </a:cubicBezTo>
                  <a:cubicBezTo>
                    <a:pt x="229" y="168"/>
                    <a:pt x="239" y="168"/>
                    <a:pt x="246" y="168"/>
                  </a:cubicBezTo>
                  <a:cubicBezTo>
                    <a:pt x="247" y="168"/>
                    <a:pt x="248" y="167"/>
                    <a:pt x="248" y="167"/>
                  </a:cubicBezTo>
                  <a:cubicBezTo>
                    <a:pt x="248" y="166"/>
                    <a:pt x="248" y="165"/>
                    <a:pt x="248" y="164"/>
                  </a:cubicBezTo>
                  <a:cubicBezTo>
                    <a:pt x="248" y="164"/>
                    <a:pt x="248" y="163"/>
                    <a:pt x="248" y="162"/>
                  </a:cubicBezTo>
                  <a:cubicBezTo>
                    <a:pt x="249" y="152"/>
                    <a:pt x="240" y="136"/>
                    <a:pt x="233" y="124"/>
                  </a:cubicBezTo>
                  <a:cubicBezTo>
                    <a:pt x="226" y="112"/>
                    <a:pt x="223" y="106"/>
                    <a:pt x="223" y="101"/>
                  </a:cubicBezTo>
                  <a:cubicBezTo>
                    <a:pt x="223" y="45"/>
                    <a:pt x="170" y="12"/>
                    <a:pt x="120" y="12"/>
                  </a:cubicBezTo>
                  <a:cubicBezTo>
                    <a:pt x="59" y="12"/>
                    <a:pt x="12" y="59"/>
                    <a:pt x="12" y="120"/>
                  </a:cubicBezTo>
                  <a:cubicBezTo>
                    <a:pt x="12" y="160"/>
                    <a:pt x="27" y="190"/>
                    <a:pt x="57" y="207"/>
                  </a:cubicBezTo>
                  <a:cubicBezTo>
                    <a:pt x="59" y="208"/>
                    <a:pt x="60" y="210"/>
                    <a:pt x="60" y="213"/>
                  </a:cubicBezTo>
                  <a:lnTo>
                    <a:pt x="60"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15" name="Freeform 6">
              <a:extLst>
                <a:ext uri="{FF2B5EF4-FFF2-40B4-BE49-F238E27FC236}">
                  <a16:creationId xmlns:a16="http://schemas.microsoft.com/office/drawing/2014/main" id="{DAD4C4E5-9EF5-36E5-D4D0-F49BDDB0030E}"/>
                </a:ext>
              </a:extLst>
            </p:cNvPr>
            <p:cNvSpPr>
              <a:spLocks noEditPoints="1"/>
            </p:cNvSpPr>
            <p:nvPr/>
          </p:nvSpPr>
          <p:spPr bwMode="auto">
            <a:xfrm>
              <a:off x="652" y="717"/>
              <a:ext cx="155" cy="245"/>
            </a:xfrm>
            <a:custGeom>
              <a:avLst/>
              <a:gdLst>
                <a:gd name="T0" fmla="*/ 26 w 101"/>
                <a:gd name="T1" fmla="*/ 164 h 164"/>
                <a:gd name="T2" fmla="*/ 23 w 101"/>
                <a:gd name="T3" fmla="*/ 164 h 164"/>
                <a:gd name="T4" fmla="*/ 20 w 101"/>
                <a:gd name="T5" fmla="*/ 157 h 164"/>
                <a:gd name="T6" fmla="*/ 32 w 101"/>
                <a:gd name="T7" fmla="*/ 96 h 164"/>
                <a:gd name="T8" fmla="*/ 7 w 101"/>
                <a:gd name="T9" fmla="*/ 96 h 164"/>
                <a:gd name="T10" fmla="*/ 2 w 101"/>
                <a:gd name="T11" fmla="*/ 93 h 164"/>
                <a:gd name="T12" fmla="*/ 1 w 101"/>
                <a:gd name="T13" fmla="*/ 87 h 164"/>
                <a:gd name="T14" fmla="*/ 36 w 101"/>
                <a:gd name="T15" fmla="*/ 3 h 164"/>
                <a:gd name="T16" fmla="*/ 41 w 101"/>
                <a:gd name="T17" fmla="*/ 0 h 164"/>
                <a:gd name="T18" fmla="*/ 84 w 101"/>
                <a:gd name="T19" fmla="*/ 0 h 164"/>
                <a:gd name="T20" fmla="*/ 89 w 101"/>
                <a:gd name="T21" fmla="*/ 2 h 164"/>
                <a:gd name="T22" fmla="*/ 89 w 101"/>
                <a:gd name="T23" fmla="*/ 8 h 164"/>
                <a:gd name="T24" fmla="*/ 72 w 101"/>
                <a:gd name="T25" fmla="*/ 48 h 164"/>
                <a:gd name="T26" fmla="*/ 95 w 101"/>
                <a:gd name="T27" fmla="*/ 48 h 164"/>
                <a:gd name="T28" fmla="*/ 100 w 101"/>
                <a:gd name="T29" fmla="*/ 51 h 164"/>
                <a:gd name="T30" fmla="*/ 100 w 101"/>
                <a:gd name="T31" fmla="*/ 57 h 164"/>
                <a:gd name="T32" fmla="*/ 31 w 101"/>
                <a:gd name="T33" fmla="*/ 161 h 164"/>
                <a:gd name="T34" fmla="*/ 26 w 101"/>
                <a:gd name="T35" fmla="*/ 164 h 164"/>
                <a:gd name="T36" fmla="*/ 16 w 101"/>
                <a:gd name="T37" fmla="*/ 84 h 164"/>
                <a:gd name="T38" fmla="*/ 39 w 101"/>
                <a:gd name="T39" fmla="*/ 84 h 164"/>
                <a:gd name="T40" fmla="*/ 44 w 101"/>
                <a:gd name="T41" fmla="*/ 86 h 164"/>
                <a:gd name="T42" fmla="*/ 45 w 101"/>
                <a:gd name="T43" fmla="*/ 91 h 164"/>
                <a:gd name="T44" fmla="*/ 37 w 101"/>
                <a:gd name="T45" fmla="*/ 129 h 164"/>
                <a:gd name="T46" fmla="*/ 84 w 101"/>
                <a:gd name="T47" fmla="*/ 60 h 164"/>
                <a:gd name="T48" fmla="*/ 63 w 101"/>
                <a:gd name="T49" fmla="*/ 60 h 164"/>
                <a:gd name="T50" fmla="*/ 58 w 101"/>
                <a:gd name="T51" fmla="*/ 57 h 164"/>
                <a:gd name="T52" fmla="*/ 58 w 101"/>
                <a:gd name="T53" fmla="*/ 51 h 164"/>
                <a:gd name="T54" fmla="*/ 75 w 101"/>
                <a:gd name="T55" fmla="*/ 12 h 164"/>
                <a:gd name="T56" fmla="*/ 45 w 101"/>
                <a:gd name="T57" fmla="*/ 12 h 164"/>
                <a:gd name="T58" fmla="*/ 16 w 101"/>
                <a:gd name="T59" fmla="*/ 8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1" h="164">
                  <a:moveTo>
                    <a:pt x="26" y="164"/>
                  </a:moveTo>
                  <a:cubicBezTo>
                    <a:pt x="25" y="164"/>
                    <a:pt x="24" y="164"/>
                    <a:pt x="23" y="164"/>
                  </a:cubicBezTo>
                  <a:cubicBezTo>
                    <a:pt x="21" y="163"/>
                    <a:pt x="19" y="160"/>
                    <a:pt x="20" y="157"/>
                  </a:cubicBezTo>
                  <a:cubicBezTo>
                    <a:pt x="32" y="96"/>
                    <a:pt x="32" y="96"/>
                    <a:pt x="32" y="96"/>
                  </a:cubicBezTo>
                  <a:cubicBezTo>
                    <a:pt x="7" y="96"/>
                    <a:pt x="7" y="96"/>
                    <a:pt x="7" y="96"/>
                  </a:cubicBezTo>
                  <a:cubicBezTo>
                    <a:pt x="5" y="96"/>
                    <a:pt x="3" y="95"/>
                    <a:pt x="2" y="93"/>
                  </a:cubicBezTo>
                  <a:cubicBezTo>
                    <a:pt x="1" y="91"/>
                    <a:pt x="0" y="89"/>
                    <a:pt x="1" y="87"/>
                  </a:cubicBezTo>
                  <a:cubicBezTo>
                    <a:pt x="36" y="3"/>
                    <a:pt x="36" y="3"/>
                    <a:pt x="36" y="3"/>
                  </a:cubicBezTo>
                  <a:cubicBezTo>
                    <a:pt x="37" y="1"/>
                    <a:pt x="39" y="0"/>
                    <a:pt x="41" y="0"/>
                  </a:cubicBezTo>
                  <a:cubicBezTo>
                    <a:pt x="84" y="0"/>
                    <a:pt x="84" y="0"/>
                    <a:pt x="84" y="0"/>
                  </a:cubicBezTo>
                  <a:cubicBezTo>
                    <a:pt x="86" y="0"/>
                    <a:pt x="88" y="1"/>
                    <a:pt x="89" y="2"/>
                  </a:cubicBezTo>
                  <a:cubicBezTo>
                    <a:pt x="90" y="4"/>
                    <a:pt x="90" y="6"/>
                    <a:pt x="89" y="8"/>
                  </a:cubicBezTo>
                  <a:cubicBezTo>
                    <a:pt x="72" y="48"/>
                    <a:pt x="72" y="48"/>
                    <a:pt x="72" y="48"/>
                  </a:cubicBezTo>
                  <a:cubicBezTo>
                    <a:pt x="95" y="48"/>
                    <a:pt x="95" y="48"/>
                    <a:pt x="95" y="48"/>
                  </a:cubicBezTo>
                  <a:cubicBezTo>
                    <a:pt x="97" y="48"/>
                    <a:pt x="99" y="49"/>
                    <a:pt x="100" y="51"/>
                  </a:cubicBezTo>
                  <a:cubicBezTo>
                    <a:pt x="101" y="53"/>
                    <a:pt x="101" y="55"/>
                    <a:pt x="100" y="57"/>
                  </a:cubicBezTo>
                  <a:cubicBezTo>
                    <a:pt x="31" y="161"/>
                    <a:pt x="31" y="161"/>
                    <a:pt x="31" y="161"/>
                  </a:cubicBezTo>
                  <a:cubicBezTo>
                    <a:pt x="30" y="163"/>
                    <a:pt x="28" y="164"/>
                    <a:pt x="26" y="164"/>
                  </a:cubicBezTo>
                  <a:close/>
                  <a:moveTo>
                    <a:pt x="16" y="84"/>
                  </a:moveTo>
                  <a:cubicBezTo>
                    <a:pt x="39" y="84"/>
                    <a:pt x="39" y="84"/>
                    <a:pt x="39" y="84"/>
                  </a:cubicBezTo>
                  <a:cubicBezTo>
                    <a:pt x="41" y="84"/>
                    <a:pt x="43" y="84"/>
                    <a:pt x="44" y="86"/>
                  </a:cubicBezTo>
                  <a:cubicBezTo>
                    <a:pt x="45" y="87"/>
                    <a:pt x="46" y="89"/>
                    <a:pt x="45" y="91"/>
                  </a:cubicBezTo>
                  <a:cubicBezTo>
                    <a:pt x="37" y="129"/>
                    <a:pt x="37" y="129"/>
                    <a:pt x="37" y="129"/>
                  </a:cubicBezTo>
                  <a:cubicBezTo>
                    <a:pt x="84" y="60"/>
                    <a:pt x="84" y="60"/>
                    <a:pt x="84" y="60"/>
                  </a:cubicBezTo>
                  <a:cubicBezTo>
                    <a:pt x="63" y="60"/>
                    <a:pt x="63" y="60"/>
                    <a:pt x="63" y="60"/>
                  </a:cubicBezTo>
                  <a:cubicBezTo>
                    <a:pt x="61" y="60"/>
                    <a:pt x="59" y="59"/>
                    <a:pt x="58" y="57"/>
                  </a:cubicBezTo>
                  <a:cubicBezTo>
                    <a:pt x="57" y="55"/>
                    <a:pt x="57" y="53"/>
                    <a:pt x="58" y="51"/>
                  </a:cubicBezTo>
                  <a:cubicBezTo>
                    <a:pt x="75" y="12"/>
                    <a:pt x="75" y="12"/>
                    <a:pt x="75" y="12"/>
                  </a:cubicBezTo>
                  <a:cubicBezTo>
                    <a:pt x="45" y="12"/>
                    <a:pt x="45" y="12"/>
                    <a:pt x="45" y="12"/>
                  </a:cubicBezTo>
                  <a:lnTo>
                    <a:pt x="16"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91" name="Group 1190">
            <a:extLst>
              <a:ext uri="{FF2B5EF4-FFF2-40B4-BE49-F238E27FC236}">
                <a16:creationId xmlns:a16="http://schemas.microsoft.com/office/drawing/2014/main" id="{482B5656-93F4-2C5B-23EA-B08BE5A8292B}"/>
              </a:ext>
            </a:extLst>
          </p:cNvPr>
          <p:cNvGrpSpPr/>
          <p:nvPr/>
        </p:nvGrpSpPr>
        <p:grpSpPr>
          <a:xfrm>
            <a:off x="2950261" y="4925926"/>
            <a:ext cx="339384" cy="337876"/>
            <a:chOff x="454092" y="3338090"/>
            <a:chExt cx="339384" cy="337876"/>
          </a:xfrm>
          <a:solidFill>
            <a:srgbClr val="3B63E4"/>
          </a:solidFill>
        </p:grpSpPr>
        <p:sp>
          <p:nvSpPr>
            <p:cNvPr id="1199" name="Callout: Bent Line 1198">
              <a:extLst>
                <a:ext uri="{FF2B5EF4-FFF2-40B4-BE49-F238E27FC236}">
                  <a16:creationId xmlns:a16="http://schemas.microsoft.com/office/drawing/2014/main" id="{FAC1F009-21D6-6BCA-CA4F-C12FF1DF1AFA}"/>
                </a:ext>
              </a:extLst>
            </p:cNvPr>
            <p:cNvSpPr/>
            <p:nvPr/>
          </p:nvSpPr>
          <p:spPr>
            <a:xfrm>
              <a:off x="454092" y="3338090"/>
              <a:ext cx="339384" cy="337876"/>
            </a:xfrm>
            <a:prstGeom prst="borderCallout2">
              <a:avLst>
                <a:gd name="adj1" fmla="val 47397"/>
                <a:gd name="adj2" fmla="val 101403"/>
                <a:gd name="adj3" fmla="val 47937"/>
                <a:gd name="adj4" fmla="val 126931"/>
                <a:gd name="adj5" fmla="val 53255"/>
                <a:gd name="adj6" fmla="val 141712"/>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1200" name="Rectangle 1199">
              <a:extLst>
                <a:ext uri="{FF2B5EF4-FFF2-40B4-BE49-F238E27FC236}">
                  <a16:creationId xmlns:a16="http://schemas.microsoft.com/office/drawing/2014/main" id="{976310E8-F825-D272-C84F-A0064CAD80C3}"/>
                </a:ext>
              </a:extLst>
            </p:cNvPr>
            <p:cNvSpPr>
              <a:spLocks noChangeAspect="1"/>
            </p:cNvSpPr>
            <p:nvPr/>
          </p:nvSpPr>
          <p:spPr>
            <a:xfrm>
              <a:off x="472322" y="3358470"/>
              <a:ext cx="303131" cy="303131"/>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grpSp>
      <p:grpSp>
        <p:nvGrpSpPr>
          <p:cNvPr id="1192" name="Group 63">
            <a:extLst>
              <a:ext uri="{FF2B5EF4-FFF2-40B4-BE49-F238E27FC236}">
                <a16:creationId xmlns:a16="http://schemas.microsoft.com/office/drawing/2014/main" id="{02B69AF3-163D-0D12-F4FA-A8C2E1DA765E}"/>
              </a:ext>
            </a:extLst>
          </p:cNvPr>
          <p:cNvGrpSpPr>
            <a:grpSpLocks noChangeAspect="1"/>
          </p:cNvGrpSpPr>
          <p:nvPr/>
        </p:nvGrpSpPr>
        <p:grpSpPr bwMode="auto">
          <a:xfrm>
            <a:off x="3008757" y="5021923"/>
            <a:ext cx="221853" cy="153632"/>
            <a:chOff x="6700" y="1999"/>
            <a:chExt cx="439" cy="304"/>
          </a:xfrm>
          <a:solidFill>
            <a:schemeClr val="bg1"/>
          </a:solidFill>
        </p:grpSpPr>
        <p:sp>
          <p:nvSpPr>
            <p:cNvPr id="1193" name="Freeform 64">
              <a:extLst>
                <a:ext uri="{FF2B5EF4-FFF2-40B4-BE49-F238E27FC236}">
                  <a16:creationId xmlns:a16="http://schemas.microsoft.com/office/drawing/2014/main" id="{50F13426-C7B9-414A-4BF8-0494F9E8CBFA}"/>
                </a:ext>
              </a:extLst>
            </p:cNvPr>
            <p:cNvSpPr>
              <a:spLocks/>
            </p:cNvSpPr>
            <p:nvPr/>
          </p:nvSpPr>
          <p:spPr bwMode="auto">
            <a:xfrm>
              <a:off x="6864" y="2012"/>
              <a:ext cx="92" cy="112"/>
            </a:xfrm>
            <a:custGeom>
              <a:avLst/>
              <a:gdLst>
                <a:gd name="T0" fmla="*/ 60 w 60"/>
                <a:gd name="T1" fmla="*/ 37 h 75"/>
                <a:gd name="T2" fmla="*/ 60 w 60"/>
                <a:gd name="T3" fmla="*/ 36 h 75"/>
                <a:gd name="T4" fmla="*/ 60 w 60"/>
                <a:gd name="T5" fmla="*/ 35 h 75"/>
                <a:gd name="T6" fmla="*/ 59 w 60"/>
                <a:gd name="T7" fmla="*/ 34 h 75"/>
                <a:gd name="T8" fmla="*/ 59 w 60"/>
                <a:gd name="T9" fmla="*/ 34 h 75"/>
                <a:gd name="T10" fmla="*/ 34 w 60"/>
                <a:gd name="T11" fmla="*/ 3 h 75"/>
                <a:gd name="T12" fmla="*/ 26 w 60"/>
                <a:gd name="T13" fmla="*/ 2 h 75"/>
                <a:gd name="T14" fmla="*/ 25 w 60"/>
                <a:gd name="T15" fmla="*/ 10 h 75"/>
                <a:gd name="T16" fmla="*/ 25 w 60"/>
                <a:gd name="T17" fmla="*/ 10 h 75"/>
                <a:gd name="T18" fmla="*/ 42 w 60"/>
                <a:gd name="T19" fmla="*/ 31 h 75"/>
                <a:gd name="T20" fmla="*/ 6 w 60"/>
                <a:gd name="T21" fmla="*/ 31 h 75"/>
                <a:gd name="T22" fmla="*/ 0 w 60"/>
                <a:gd name="T23" fmla="*/ 37 h 75"/>
                <a:gd name="T24" fmla="*/ 6 w 60"/>
                <a:gd name="T25" fmla="*/ 43 h 75"/>
                <a:gd name="T26" fmla="*/ 42 w 60"/>
                <a:gd name="T27" fmla="*/ 43 h 75"/>
                <a:gd name="T28" fmla="*/ 25 w 60"/>
                <a:gd name="T29" fmla="*/ 64 h 75"/>
                <a:gd name="T30" fmla="*/ 26 w 60"/>
                <a:gd name="T31" fmla="*/ 73 h 75"/>
                <a:gd name="T32" fmla="*/ 34 w 60"/>
                <a:gd name="T33" fmla="*/ 72 h 75"/>
                <a:gd name="T34" fmla="*/ 59 w 60"/>
                <a:gd name="T35" fmla="*/ 41 h 75"/>
                <a:gd name="T36" fmla="*/ 59 w 60"/>
                <a:gd name="T37" fmla="*/ 41 h 75"/>
                <a:gd name="T38" fmla="*/ 60 w 60"/>
                <a:gd name="T39" fmla="*/ 39 h 75"/>
                <a:gd name="T40" fmla="*/ 60 w 60"/>
                <a:gd name="T41" fmla="*/ 39 h 75"/>
                <a:gd name="T42" fmla="*/ 60 w 60"/>
                <a:gd name="T43" fmla="*/ 37 h 75"/>
                <a:gd name="T44" fmla="*/ 60 w 60"/>
                <a:gd name="T45" fmla="*/ 3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75">
                  <a:moveTo>
                    <a:pt x="60" y="37"/>
                  </a:moveTo>
                  <a:cubicBezTo>
                    <a:pt x="60" y="37"/>
                    <a:pt x="60" y="36"/>
                    <a:pt x="60" y="36"/>
                  </a:cubicBezTo>
                  <a:cubicBezTo>
                    <a:pt x="60" y="35"/>
                    <a:pt x="60" y="35"/>
                    <a:pt x="60" y="35"/>
                  </a:cubicBezTo>
                  <a:cubicBezTo>
                    <a:pt x="60" y="35"/>
                    <a:pt x="59" y="34"/>
                    <a:pt x="59" y="34"/>
                  </a:cubicBezTo>
                  <a:cubicBezTo>
                    <a:pt x="59" y="34"/>
                    <a:pt x="59" y="34"/>
                    <a:pt x="59" y="34"/>
                  </a:cubicBezTo>
                  <a:cubicBezTo>
                    <a:pt x="34" y="3"/>
                    <a:pt x="34" y="3"/>
                    <a:pt x="34" y="3"/>
                  </a:cubicBezTo>
                  <a:cubicBezTo>
                    <a:pt x="32" y="0"/>
                    <a:pt x="28" y="0"/>
                    <a:pt x="26" y="2"/>
                  </a:cubicBezTo>
                  <a:cubicBezTo>
                    <a:pt x="23" y="4"/>
                    <a:pt x="23" y="8"/>
                    <a:pt x="25" y="10"/>
                  </a:cubicBezTo>
                  <a:cubicBezTo>
                    <a:pt x="25" y="10"/>
                    <a:pt x="25" y="10"/>
                    <a:pt x="25" y="10"/>
                  </a:cubicBezTo>
                  <a:cubicBezTo>
                    <a:pt x="42" y="31"/>
                    <a:pt x="42" y="31"/>
                    <a:pt x="42" y="31"/>
                  </a:cubicBezTo>
                  <a:cubicBezTo>
                    <a:pt x="6" y="31"/>
                    <a:pt x="6" y="31"/>
                    <a:pt x="6" y="31"/>
                  </a:cubicBezTo>
                  <a:cubicBezTo>
                    <a:pt x="3" y="31"/>
                    <a:pt x="0" y="34"/>
                    <a:pt x="0" y="37"/>
                  </a:cubicBezTo>
                  <a:cubicBezTo>
                    <a:pt x="0" y="41"/>
                    <a:pt x="3" y="43"/>
                    <a:pt x="6" y="43"/>
                  </a:cubicBezTo>
                  <a:cubicBezTo>
                    <a:pt x="42" y="43"/>
                    <a:pt x="42" y="43"/>
                    <a:pt x="42" y="43"/>
                  </a:cubicBezTo>
                  <a:cubicBezTo>
                    <a:pt x="25" y="64"/>
                    <a:pt x="25" y="64"/>
                    <a:pt x="25" y="64"/>
                  </a:cubicBezTo>
                  <a:cubicBezTo>
                    <a:pt x="23" y="67"/>
                    <a:pt x="23" y="71"/>
                    <a:pt x="26" y="73"/>
                  </a:cubicBezTo>
                  <a:cubicBezTo>
                    <a:pt x="28" y="75"/>
                    <a:pt x="32" y="74"/>
                    <a:pt x="34" y="72"/>
                  </a:cubicBezTo>
                  <a:cubicBezTo>
                    <a:pt x="59" y="41"/>
                    <a:pt x="59" y="41"/>
                    <a:pt x="59" y="41"/>
                  </a:cubicBezTo>
                  <a:cubicBezTo>
                    <a:pt x="59" y="41"/>
                    <a:pt x="59" y="41"/>
                    <a:pt x="59" y="41"/>
                  </a:cubicBezTo>
                  <a:cubicBezTo>
                    <a:pt x="59" y="40"/>
                    <a:pt x="60" y="40"/>
                    <a:pt x="60" y="39"/>
                  </a:cubicBezTo>
                  <a:cubicBezTo>
                    <a:pt x="60" y="39"/>
                    <a:pt x="60" y="39"/>
                    <a:pt x="60" y="39"/>
                  </a:cubicBezTo>
                  <a:cubicBezTo>
                    <a:pt x="60" y="39"/>
                    <a:pt x="60" y="38"/>
                    <a:pt x="60" y="37"/>
                  </a:cubicBezTo>
                  <a:cubicBezTo>
                    <a:pt x="60" y="37"/>
                    <a:pt x="60" y="37"/>
                    <a:pt x="6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94" name="Freeform 65">
              <a:extLst>
                <a:ext uri="{FF2B5EF4-FFF2-40B4-BE49-F238E27FC236}">
                  <a16:creationId xmlns:a16="http://schemas.microsoft.com/office/drawing/2014/main" id="{BF8CF5F5-4DF0-24F1-1348-65F07D88ADF9}"/>
                </a:ext>
              </a:extLst>
            </p:cNvPr>
            <p:cNvSpPr>
              <a:spLocks/>
            </p:cNvSpPr>
            <p:nvPr/>
          </p:nvSpPr>
          <p:spPr bwMode="auto">
            <a:xfrm>
              <a:off x="6864" y="2175"/>
              <a:ext cx="92" cy="112"/>
            </a:xfrm>
            <a:custGeom>
              <a:avLst/>
              <a:gdLst>
                <a:gd name="T0" fmla="*/ 54 w 60"/>
                <a:gd name="T1" fmla="*/ 32 h 75"/>
                <a:gd name="T2" fmla="*/ 19 w 60"/>
                <a:gd name="T3" fmla="*/ 32 h 75"/>
                <a:gd name="T4" fmla="*/ 36 w 60"/>
                <a:gd name="T5" fmla="*/ 11 h 75"/>
                <a:gd name="T6" fmla="*/ 35 w 60"/>
                <a:gd name="T7" fmla="*/ 2 h 75"/>
                <a:gd name="T8" fmla="*/ 26 w 60"/>
                <a:gd name="T9" fmla="*/ 3 h 75"/>
                <a:gd name="T10" fmla="*/ 26 w 60"/>
                <a:gd name="T11" fmla="*/ 3 h 75"/>
                <a:gd name="T12" fmla="*/ 2 w 60"/>
                <a:gd name="T13" fmla="*/ 34 h 75"/>
                <a:gd name="T14" fmla="*/ 2 w 60"/>
                <a:gd name="T15" fmla="*/ 34 h 75"/>
                <a:gd name="T16" fmla="*/ 1 w 60"/>
                <a:gd name="T17" fmla="*/ 36 h 75"/>
                <a:gd name="T18" fmla="*/ 1 w 60"/>
                <a:gd name="T19" fmla="*/ 36 h 75"/>
                <a:gd name="T20" fmla="*/ 0 w 60"/>
                <a:gd name="T21" fmla="*/ 38 h 75"/>
                <a:gd name="T22" fmla="*/ 0 w 60"/>
                <a:gd name="T23" fmla="*/ 38 h 75"/>
                <a:gd name="T24" fmla="*/ 0 w 60"/>
                <a:gd name="T25" fmla="*/ 38 h 75"/>
                <a:gd name="T26" fmla="*/ 1 w 60"/>
                <a:gd name="T27" fmla="*/ 40 h 75"/>
                <a:gd name="T28" fmla="*/ 1 w 60"/>
                <a:gd name="T29" fmla="*/ 40 h 75"/>
                <a:gd name="T30" fmla="*/ 2 w 60"/>
                <a:gd name="T31" fmla="*/ 41 h 75"/>
                <a:gd name="T32" fmla="*/ 2 w 60"/>
                <a:gd name="T33" fmla="*/ 42 h 75"/>
                <a:gd name="T34" fmla="*/ 26 w 60"/>
                <a:gd name="T35" fmla="*/ 72 h 75"/>
                <a:gd name="T36" fmla="*/ 35 w 60"/>
                <a:gd name="T37" fmla="*/ 73 h 75"/>
                <a:gd name="T38" fmla="*/ 36 w 60"/>
                <a:gd name="T39" fmla="*/ 65 h 75"/>
                <a:gd name="T40" fmla="*/ 19 w 60"/>
                <a:gd name="T41" fmla="*/ 44 h 75"/>
                <a:gd name="T42" fmla="*/ 54 w 60"/>
                <a:gd name="T43" fmla="*/ 44 h 75"/>
                <a:gd name="T44" fmla="*/ 60 w 60"/>
                <a:gd name="T45" fmla="*/ 38 h 75"/>
                <a:gd name="T46" fmla="*/ 54 w 60"/>
                <a:gd name="T47" fmla="*/ 3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75">
                  <a:moveTo>
                    <a:pt x="54" y="32"/>
                  </a:moveTo>
                  <a:cubicBezTo>
                    <a:pt x="19" y="32"/>
                    <a:pt x="19" y="32"/>
                    <a:pt x="19" y="32"/>
                  </a:cubicBezTo>
                  <a:cubicBezTo>
                    <a:pt x="36" y="11"/>
                    <a:pt x="36" y="11"/>
                    <a:pt x="36" y="11"/>
                  </a:cubicBezTo>
                  <a:cubicBezTo>
                    <a:pt x="38" y="8"/>
                    <a:pt x="37" y="4"/>
                    <a:pt x="35" y="2"/>
                  </a:cubicBezTo>
                  <a:cubicBezTo>
                    <a:pt x="32" y="0"/>
                    <a:pt x="28" y="1"/>
                    <a:pt x="26" y="3"/>
                  </a:cubicBezTo>
                  <a:cubicBezTo>
                    <a:pt x="26" y="3"/>
                    <a:pt x="26" y="3"/>
                    <a:pt x="26" y="3"/>
                  </a:cubicBezTo>
                  <a:cubicBezTo>
                    <a:pt x="2" y="34"/>
                    <a:pt x="2" y="34"/>
                    <a:pt x="2" y="34"/>
                  </a:cubicBezTo>
                  <a:cubicBezTo>
                    <a:pt x="2" y="34"/>
                    <a:pt x="2" y="34"/>
                    <a:pt x="2" y="34"/>
                  </a:cubicBezTo>
                  <a:cubicBezTo>
                    <a:pt x="1" y="35"/>
                    <a:pt x="1" y="35"/>
                    <a:pt x="1" y="36"/>
                  </a:cubicBezTo>
                  <a:cubicBezTo>
                    <a:pt x="1" y="36"/>
                    <a:pt x="1" y="36"/>
                    <a:pt x="1" y="36"/>
                  </a:cubicBezTo>
                  <a:cubicBezTo>
                    <a:pt x="0" y="37"/>
                    <a:pt x="0" y="37"/>
                    <a:pt x="0" y="38"/>
                  </a:cubicBezTo>
                  <a:cubicBezTo>
                    <a:pt x="0" y="38"/>
                    <a:pt x="0" y="38"/>
                    <a:pt x="0" y="38"/>
                  </a:cubicBezTo>
                  <a:cubicBezTo>
                    <a:pt x="0" y="38"/>
                    <a:pt x="0" y="38"/>
                    <a:pt x="0" y="38"/>
                  </a:cubicBezTo>
                  <a:cubicBezTo>
                    <a:pt x="0" y="38"/>
                    <a:pt x="0" y="39"/>
                    <a:pt x="1" y="40"/>
                  </a:cubicBezTo>
                  <a:cubicBezTo>
                    <a:pt x="1" y="40"/>
                    <a:pt x="1" y="40"/>
                    <a:pt x="1" y="40"/>
                  </a:cubicBezTo>
                  <a:cubicBezTo>
                    <a:pt x="1" y="40"/>
                    <a:pt x="1" y="41"/>
                    <a:pt x="2" y="41"/>
                  </a:cubicBezTo>
                  <a:cubicBezTo>
                    <a:pt x="2" y="42"/>
                    <a:pt x="2" y="42"/>
                    <a:pt x="2" y="42"/>
                  </a:cubicBezTo>
                  <a:cubicBezTo>
                    <a:pt x="26" y="72"/>
                    <a:pt x="26" y="72"/>
                    <a:pt x="26" y="72"/>
                  </a:cubicBezTo>
                  <a:cubicBezTo>
                    <a:pt x="28" y="75"/>
                    <a:pt x="32" y="75"/>
                    <a:pt x="35" y="73"/>
                  </a:cubicBezTo>
                  <a:cubicBezTo>
                    <a:pt x="37" y="71"/>
                    <a:pt x="38" y="68"/>
                    <a:pt x="36" y="65"/>
                  </a:cubicBezTo>
                  <a:cubicBezTo>
                    <a:pt x="19" y="44"/>
                    <a:pt x="19" y="44"/>
                    <a:pt x="19" y="44"/>
                  </a:cubicBezTo>
                  <a:cubicBezTo>
                    <a:pt x="54" y="44"/>
                    <a:pt x="54" y="44"/>
                    <a:pt x="54" y="44"/>
                  </a:cubicBezTo>
                  <a:cubicBezTo>
                    <a:pt x="58" y="44"/>
                    <a:pt x="60" y="41"/>
                    <a:pt x="60" y="38"/>
                  </a:cubicBezTo>
                  <a:cubicBezTo>
                    <a:pt x="60" y="35"/>
                    <a:pt x="58" y="32"/>
                    <a:pt x="5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95" name="Freeform 66">
              <a:extLst>
                <a:ext uri="{FF2B5EF4-FFF2-40B4-BE49-F238E27FC236}">
                  <a16:creationId xmlns:a16="http://schemas.microsoft.com/office/drawing/2014/main" id="{EF47593E-3019-110A-76FF-2771E78D0818}"/>
                </a:ext>
              </a:extLst>
            </p:cNvPr>
            <p:cNvSpPr>
              <a:spLocks noEditPoints="1"/>
            </p:cNvSpPr>
            <p:nvPr/>
          </p:nvSpPr>
          <p:spPr bwMode="auto">
            <a:xfrm>
              <a:off x="6700" y="1999"/>
              <a:ext cx="110" cy="107"/>
            </a:xfrm>
            <a:custGeom>
              <a:avLst/>
              <a:gdLst>
                <a:gd name="T0" fmla="*/ 36 w 72"/>
                <a:gd name="T1" fmla="*/ 0 h 72"/>
                <a:gd name="T2" fmla="*/ 0 w 72"/>
                <a:gd name="T3" fmla="*/ 36 h 72"/>
                <a:gd name="T4" fmla="*/ 36 w 72"/>
                <a:gd name="T5" fmla="*/ 72 h 72"/>
                <a:gd name="T6" fmla="*/ 72 w 72"/>
                <a:gd name="T7" fmla="*/ 36 h 72"/>
                <a:gd name="T8" fmla="*/ 36 w 72"/>
                <a:gd name="T9" fmla="*/ 0 h 72"/>
                <a:gd name="T10" fmla="*/ 36 w 72"/>
                <a:gd name="T11" fmla="*/ 60 h 72"/>
                <a:gd name="T12" fmla="*/ 12 w 72"/>
                <a:gd name="T13" fmla="*/ 36 h 72"/>
                <a:gd name="T14" fmla="*/ 36 w 72"/>
                <a:gd name="T15" fmla="*/ 12 h 72"/>
                <a:gd name="T16" fmla="*/ 60 w 72"/>
                <a:gd name="T17" fmla="*/ 36 h 72"/>
                <a:gd name="T18" fmla="*/ 36 w 72"/>
                <a:gd name="T19"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0"/>
                  </a:moveTo>
                  <a:cubicBezTo>
                    <a:pt x="16" y="0"/>
                    <a:pt x="0" y="17"/>
                    <a:pt x="0" y="36"/>
                  </a:cubicBezTo>
                  <a:cubicBezTo>
                    <a:pt x="0" y="56"/>
                    <a:pt x="16" y="72"/>
                    <a:pt x="36" y="72"/>
                  </a:cubicBezTo>
                  <a:cubicBezTo>
                    <a:pt x="56" y="72"/>
                    <a:pt x="72" y="56"/>
                    <a:pt x="72" y="36"/>
                  </a:cubicBezTo>
                  <a:cubicBezTo>
                    <a:pt x="72" y="17"/>
                    <a:pt x="56" y="0"/>
                    <a:pt x="36" y="0"/>
                  </a:cubicBezTo>
                  <a:close/>
                  <a:moveTo>
                    <a:pt x="36" y="60"/>
                  </a:moveTo>
                  <a:cubicBezTo>
                    <a:pt x="23" y="60"/>
                    <a:pt x="12" y="50"/>
                    <a:pt x="12" y="36"/>
                  </a:cubicBezTo>
                  <a:cubicBezTo>
                    <a:pt x="12" y="23"/>
                    <a:pt x="23" y="12"/>
                    <a:pt x="36" y="12"/>
                  </a:cubicBezTo>
                  <a:cubicBezTo>
                    <a:pt x="49" y="12"/>
                    <a:pt x="60" y="23"/>
                    <a:pt x="60" y="36"/>
                  </a:cubicBezTo>
                  <a:cubicBezTo>
                    <a:pt x="60" y="50"/>
                    <a:pt x="49" y="60"/>
                    <a:pt x="3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96" name="Freeform 67">
              <a:extLst>
                <a:ext uri="{FF2B5EF4-FFF2-40B4-BE49-F238E27FC236}">
                  <a16:creationId xmlns:a16="http://schemas.microsoft.com/office/drawing/2014/main" id="{B643A5E7-3485-4DDC-79E3-F9A47E74A7FD}"/>
                </a:ext>
              </a:extLst>
            </p:cNvPr>
            <p:cNvSpPr>
              <a:spLocks noEditPoints="1"/>
            </p:cNvSpPr>
            <p:nvPr/>
          </p:nvSpPr>
          <p:spPr bwMode="auto">
            <a:xfrm>
              <a:off x="6700" y="2124"/>
              <a:ext cx="110" cy="179"/>
            </a:xfrm>
            <a:custGeom>
              <a:avLst/>
              <a:gdLst>
                <a:gd name="T0" fmla="*/ 36 w 72"/>
                <a:gd name="T1" fmla="*/ 0 h 120"/>
                <a:gd name="T2" fmla="*/ 0 w 72"/>
                <a:gd name="T3" fmla="*/ 36 h 120"/>
                <a:gd name="T4" fmla="*/ 0 w 72"/>
                <a:gd name="T5" fmla="*/ 114 h 120"/>
                <a:gd name="T6" fmla="*/ 2 w 72"/>
                <a:gd name="T7" fmla="*/ 118 h 120"/>
                <a:gd name="T8" fmla="*/ 6 w 72"/>
                <a:gd name="T9" fmla="*/ 120 h 120"/>
                <a:gd name="T10" fmla="*/ 66 w 72"/>
                <a:gd name="T11" fmla="*/ 120 h 120"/>
                <a:gd name="T12" fmla="*/ 70 w 72"/>
                <a:gd name="T13" fmla="*/ 118 h 120"/>
                <a:gd name="T14" fmla="*/ 72 w 72"/>
                <a:gd name="T15" fmla="*/ 114 h 120"/>
                <a:gd name="T16" fmla="*/ 72 w 72"/>
                <a:gd name="T17" fmla="*/ 36 h 120"/>
                <a:gd name="T18" fmla="*/ 36 w 72"/>
                <a:gd name="T19" fmla="*/ 0 h 120"/>
                <a:gd name="T20" fmla="*/ 60 w 72"/>
                <a:gd name="T21" fmla="*/ 108 h 120"/>
                <a:gd name="T22" fmla="*/ 12 w 72"/>
                <a:gd name="T23" fmla="*/ 108 h 120"/>
                <a:gd name="T24" fmla="*/ 12 w 72"/>
                <a:gd name="T25" fmla="*/ 36 h 120"/>
                <a:gd name="T26" fmla="*/ 36 w 72"/>
                <a:gd name="T27" fmla="*/ 12 h 120"/>
                <a:gd name="T28" fmla="*/ 60 w 72"/>
                <a:gd name="T29" fmla="*/ 36 h 120"/>
                <a:gd name="T30" fmla="*/ 60 w 72"/>
                <a:gd name="T3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0">
                  <a:moveTo>
                    <a:pt x="36" y="0"/>
                  </a:moveTo>
                  <a:cubicBezTo>
                    <a:pt x="16" y="0"/>
                    <a:pt x="0" y="16"/>
                    <a:pt x="0" y="36"/>
                  </a:cubicBezTo>
                  <a:cubicBezTo>
                    <a:pt x="0" y="114"/>
                    <a:pt x="0" y="114"/>
                    <a:pt x="0" y="114"/>
                  </a:cubicBezTo>
                  <a:cubicBezTo>
                    <a:pt x="0" y="116"/>
                    <a:pt x="1" y="117"/>
                    <a:pt x="2" y="118"/>
                  </a:cubicBezTo>
                  <a:cubicBezTo>
                    <a:pt x="3" y="119"/>
                    <a:pt x="4" y="120"/>
                    <a:pt x="6" y="120"/>
                  </a:cubicBezTo>
                  <a:cubicBezTo>
                    <a:pt x="66" y="120"/>
                    <a:pt x="66" y="120"/>
                    <a:pt x="66" y="120"/>
                  </a:cubicBezTo>
                  <a:cubicBezTo>
                    <a:pt x="67" y="120"/>
                    <a:pt x="69" y="119"/>
                    <a:pt x="70" y="118"/>
                  </a:cubicBezTo>
                  <a:cubicBezTo>
                    <a:pt x="71" y="117"/>
                    <a:pt x="72" y="116"/>
                    <a:pt x="72" y="114"/>
                  </a:cubicBezTo>
                  <a:cubicBezTo>
                    <a:pt x="72" y="36"/>
                    <a:pt x="72" y="36"/>
                    <a:pt x="72" y="36"/>
                  </a:cubicBezTo>
                  <a:cubicBezTo>
                    <a:pt x="72" y="16"/>
                    <a:pt x="56" y="0"/>
                    <a:pt x="36" y="0"/>
                  </a:cubicBezTo>
                  <a:close/>
                  <a:moveTo>
                    <a:pt x="60" y="108"/>
                  </a:moveTo>
                  <a:cubicBezTo>
                    <a:pt x="12" y="108"/>
                    <a:pt x="12" y="108"/>
                    <a:pt x="12" y="108"/>
                  </a:cubicBezTo>
                  <a:cubicBezTo>
                    <a:pt x="12" y="36"/>
                    <a:pt x="12" y="36"/>
                    <a:pt x="12" y="36"/>
                  </a:cubicBezTo>
                  <a:cubicBezTo>
                    <a:pt x="12" y="23"/>
                    <a:pt x="23" y="12"/>
                    <a:pt x="36" y="12"/>
                  </a:cubicBezTo>
                  <a:cubicBezTo>
                    <a:pt x="49" y="12"/>
                    <a:pt x="60" y="23"/>
                    <a:pt x="60" y="36"/>
                  </a:cubicBezTo>
                  <a:lnTo>
                    <a:pt x="60"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97" name="Freeform 68">
              <a:extLst>
                <a:ext uri="{FF2B5EF4-FFF2-40B4-BE49-F238E27FC236}">
                  <a16:creationId xmlns:a16="http://schemas.microsoft.com/office/drawing/2014/main" id="{53A082C1-B6D4-2DAD-14FC-D6760845208F}"/>
                </a:ext>
              </a:extLst>
            </p:cNvPr>
            <p:cNvSpPr>
              <a:spLocks noEditPoints="1"/>
            </p:cNvSpPr>
            <p:nvPr/>
          </p:nvSpPr>
          <p:spPr bwMode="auto">
            <a:xfrm>
              <a:off x="7031" y="1999"/>
              <a:ext cx="108" cy="107"/>
            </a:xfrm>
            <a:custGeom>
              <a:avLst/>
              <a:gdLst>
                <a:gd name="T0" fmla="*/ 35 w 71"/>
                <a:gd name="T1" fmla="*/ 72 h 72"/>
                <a:gd name="T2" fmla="*/ 71 w 71"/>
                <a:gd name="T3" fmla="*/ 36 h 72"/>
                <a:gd name="T4" fmla="*/ 35 w 71"/>
                <a:gd name="T5" fmla="*/ 0 h 72"/>
                <a:gd name="T6" fmla="*/ 0 w 71"/>
                <a:gd name="T7" fmla="*/ 36 h 72"/>
                <a:gd name="T8" fmla="*/ 35 w 71"/>
                <a:gd name="T9" fmla="*/ 72 h 72"/>
                <a:gd name="T10" fmla="*/ 35 w 71"/>
                <a:gd name="T11" fmla="*/ 12 h 72"/>
                <a:gd name="T12" fmla="*/ 59 w 71"/>
                <a:gd name="T13" fmla="*/ 36 h 72"/>
                <a:gd name="T14" fmla="*/ 35 w 71"/>
                <a:gd name="T15" fmla="*/ 60 h 72"/>
                <a:gd name="T16" fmla="*/ 11 w 71"/>
                <a:gd name="T17" fmla="*/ 36 h 72"/>
                <a:gd name="T18" fmla="*/ 35 w 71"/>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72">
                  <a:moveTo>
                    <a:pt x="35" y="72"/>
                  </a:moveTo>
                  <a:cubicBezTo>
                    <a:pt x="55" y="72"/>
                    <a:pt x="71" y="56"/>
                    <a:pt x="71" y="36"/>
                  </a:cubicBezTo>
                  <a:cubicBezTo>
                    <a:pt x="71" y="17"/>
                    <a:pt x="55" y="0"/>
                    <a:pt x="35" y="0"/>
                  </a:cubicBezTo>
                  <a:cubicBezTo>
                    <a:pt x="16" y="0"/>
                    <a:pt x="0" y="17"/>
                    <a:pt x="0" y="36"/>
                  </a:cubicBezTo>
                  <a:cubicBezTo>
                    <a:pt x="0" y="56"/>
                    <a:pt x="16" y="72"/>
                    <a:pt x="35" y="72"/>
                  </a:cubicBezTo>
                  <a:close/>
                  <a:moveTo>
                    <a:pt x="35" y="12"/>
                  </a:moveTo>
                  <a:cubicBezTo>
                    <a:pt x="49" y="12"/>
                    <a:pt x="59" y="23"/>
                    <a:pt x="59" y="36"/>
                  </a:cubicBezTo>
                  <a:cubicBezTo>
                    <a:pt x="59" y="50"/>
                    <a:pt x="49" y="60"/>
                    <a:pt x="35" y="60"/>
                  </a:cubicBezTo>
                  <a:cubicBezTo>
                    <a:pt x="22" y="60"/>
                    <a:pt x="12" y="50"/>
                    <a:pt x="11" y="36"/>
                  </a:cubicBezTo>
                  <a:cubicBezTo>
                    <a:pt x="12" y="23"/>
                    <a:pt x="22" y="12"/>
                    <a:pt x="3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98" name="Freeform 69">
              <a:extLst>
                <a:ext uri="{FF2B5EF4-FFF2-40B4-BE49-F238E27FC236}">
                  <a16:creationId xmlns:a16="http://schemas.microsoft.com/office/drawing/2014/main" id="{85DEE32B-AB57-3C93-D0E4-A3836D243560}"/>
                </a:ext>
              </a:extLst>
            </p:cNvPr>
            <p:cNvSpPr>
              <a:spLocks noEditPoints="1"/>
            </p:cNvSpPr>
            <p:nvPr/>
          </p:nvSpPr>
          <p:spPr bwMode="auto">
            <a:xfrm>
              <a:off x="7031" y="2124"/>
              <a:ext cx="108" cy="179"/>
            </a:xfrm>
            <a:custGeom>
              <a:avLst/>
              <a:gdLst>
                <a:gd name="T0" fmla="*/ 35 w 71"/>
                <a:gd name="T1" fmla="*/ 0 h 120"/>
                <a:gd name="T2" fmla="*/ 0 w 71"/>
                <a:gd name="T3" fmla="*/ 36 h 120"/>
                <a:gd name="T4" fmla="*/ 0 w 71"/>
                <a:gd name="T5" fmla="*/ 114 h 120"/>
                <a:gd name="T6" fmla="*/ 1 w 71"/>
                <a:gd name="T7" fmla="*/ 118 h 120"/>
                <a:gd name="T8" fmla="*/ 6 w 71"/>
                <a:gd name="T9" fmla="*/ 120 h 120"/>
                <a:gd name="T10" fmla="*/ 65 w 71"/>
                <a:gd name="T11" fmla="*/ 120 h 120"/>
                <a:gd name="T12" fmla="*/ 70 w 71"/>
                <a:gd name="T13" fmla="*/ 118 h 120"/>
                <a:gd name="T14" fmla="*/ 71 w 71"/>
                <a:gd name="T15" fmla="*/ 114 h 120"/>
                <a:gd name="T16" fmla="*/ 71 w 71"/>
                <a:gd name="T17" fmla="*/ 36 h 120"/>
                <a:gd name="T18" fmla="*/ 35 w 71"/>
                <a:gd name="T19" fmla="*/ 0 h 120"/>
                <a:gd name="T20" fmla="*/ 59 w 71"/>
                <a:gd name="T21" fmla="*/ 108 h 120"/>
                <a:gd name="T22" fmla="*/ 11 w 71"/>
                <a:gd name="T23" fmla="*/ 108 h 120"/>
                <a:gd name="T24" fmla="*/ 11 w 71"/>
                <a:gd name="T25" fmla="*/ 36 h 120"/>
                <a:gd name="T26" fmla="*/ 35 w 71"/>
                <a:gd name="T27" fmla="*/ 12 h 120"/>
                <a:gd name="T28" fmla="*/ 59 w 71"/>
                <a:gd name="T29" fmla="*/ 36 h 120"/>
                <a:gd name="T30" fmla="*/ 59 w 71"/>
                <a:gd name="T3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1" h="120">
                  <a:moveTo>
                    <a:pt x="35" y="0"/>
                  </a:moveTo>
                  <a:cubicBezTo>
                    <a:pt x="16" y="0"/>
                    <a:pt x="0" y="16"/>
                    <a:pt x="0" y="36"/>
                  </a:cubicBezTo>
                  <a:cubicBezTo>
                    <a:pt x="0" y="114"/>
                    <a:pt x="0" y="114"/>
                    <a:pt x="0" y="114"/>
                  </a:cubicBezTo>
                  <a:cubicBezTo>
                    <a:pt x="0" y="116"/>
                    <a:pt x="0" y="117"/>
                    <a:pt x="1" y="118"/>
                  </a:cubicBezTo>
                  <a:cubicBezTo>
                    <a:pt x="2" y="119"/>
                    <a:pt x="4" y="120"/>
                    <a:pt x="6" y="120"/>
                  </a:cubicBezTo>
                  <a:cubicBezTo>
                    <a:pt x="65" y="120"/>
                    <a:pt x="65" y="120"/>
                    <a:pt x="65" y="120"/>
                  </a:cubicBezTo>
                  <a:cubicBezTo>
                    <a:pt x="67" y="120"/>
                    <a:pt x="69" y="119"/>
                    <a:pt x="70" y="118"/>
                  </a:cubicBezTo>
                  <a:cubicBezTo>
                    <a:pt x="71" y="117"/>
                    <a:pt x="71" y="116"/>
                    <a:pt x="71" y="114"/>
                  </a:cubicBezTo>
                  <a:cubicBezTo>
                    <a:pt x="71" y="36"/>
                    <a:pt x="71" y="36"/>
                    <a:pt x="71" y="36"/>
                  </a:cubicBezTo>
                  <a:cubicBezTo>
                    <a:pt x="71" y="16"/>
                    <a:pt x="55" y="0"/>
                    <a:pt x="35" y="0"/>
                  </a:cubicBezTo>
                  <a:close/>
                  <a:moveTo>
                    <a:pt x="59" y="108"/>
                  </a:moveTo>
                  <a:cubicBezTo>
                    <a:pt x="11" y="108"/>
                    <a:pt x="11" y="108"/>
                    <a:pt x="11" y="108"/>
                  </a:cubicBezTo>
                  <a:cubicBezTo>
                    <a:pt x="11" y="36"/>
                    <a:pt x="11" y="36"/>
                    <a:pt x="11" y="36"/>
                  </a:cubicBezTo>
                  <a:cubicBezTo>
                    <a:pt x="12" y="23"/>
                    <a:pt x="22" y="12"/>
                    <a:pt x="35" y="12"/>
                  </a:cubicBezTo>
                  <a:cubicBezTo>
                    <a:pt x="49" y="12"/>
                    <a:pt x="59" y="23"/>
                    <a:pt x="59" y="36"/>
                  </a:cubicBezTo>
                  <a:lnTo>
                    <a:pt x="59"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02" name="Group 1201">
            <a:extLst>
              <a:ext uri="{FF2B5EF4-FFF2-40B4-BE49-F238E27FC236}">
                <a16:creationId xmlns:a16="http://schemas.microsoft.com/office/drawing/2014/main" id="{CABCA46C-665E-A303-8AC7-2E1893D0AAD0}"/>
              </a:ext>
            </a:extLst>
          </p:cNvPr>
          <p:cNvGrpSpPr/>
          <p:nvPr/>
        </p:nvGrpSpPr>
        <p:grpSpPr>
          <a:xfrm>
            <a:off x="2950261" y="3891748"/>
            <a:ext cx="339384" cy="337876"/>
            <a:chOff x="454092" y="3338090"/>
            <a:chExt cx="339384" cy="337876"/>
          </a:xfrm>
          <a:solidFill>
            <a:srgbClr val="3B63E4"/>
          </a:solidFill>
        </p:grpSpPr>
        <p:sp>
          <p:nvSpPr>
            <p:cNvPr id="1208" name="Callout: Bent Line 1207">
              <a:extLst>
                <a:ext uri="{FF2B5EF4-FFF2-40B4-BE49-F238E27FC236}">
                  <a16:creationId xmlns:a16="http://schemas.microsoft.com/office/drawing/2014/main" id="{0F6D2A2B-E259-B859-6598-5E035E53824D}"/>
                </a:ext>
              </a:extLst>
            </p:cNvPr>
            <p:cNvSpPr/>
            <p:nvPr/>
          </p:nvSpPr>
          <p:spPr>
            <a:xfrm>
              <a:off x="454092" y="3338090"/>
              <a:ext cx="339384" cy="337876"/>
            </a:xfrm>
            <a:prstGeom prst="borderCallout2">
              <a:avLst>
                <a:gd name="adj1" fmla="val 47397"/>
                <a:gd name="adj2" fmla="val 101403"/>
                <a:gd name="adj3" fmla="val 47937"/>
                <a:gd name="adj4" fmla="val 126931"/>
                <a:gd name="adj5" fmla="val 53255"/>
                <a:gd name="adj6" fmla="val 141712"/>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1209" name="Rectangle 1208">
              <a:extLst>
                <a:ext uri="{FF2B5EF4-FFF2-40B4-BE49-F238E27FC236}">
                  <a16:creationId xmlns:a16="http://schemas.microsoft.com/office/drawing/2014/main" id="{4C2B8469-1D4D-6E29-9921-706C1B93D9E2}"/>
                </a:ext>
              </a:extLst>
            </p:cNvPr>
            <p:cNvSpPr>
              <a:spLocks noChangeAspect="1"/>
            </p:cNvSpPr>
            <p:nvPr/>
          </p:nvSpPr>
          <p:spPr>
            <a:xfrm>
              <a:off x="472322" y="3358470"/>
              <a:ext cx="303131" cy="303131"/>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grpSp>
      <p:grpSp>
        <p:nvGrpSpPr>
          <p:cNvPr id="1203" name="Group 183">
            <a:extLst>
              <a:ext uri="{FF2B5EF4-FFF2-40B4-BE49-F238E27FC236}">
                <a16:creationId xmlns:a16="http://schemas.microsoft.com/office/drawing/2014/main" id="{0586BB38-7F98-59EF-5F4F-9CAD74298697}"/>
              </a:ext>
            </a:extLst>
          </p:cNvPr>
          <p:cNvGrpSpPr>
            <a:grpSpLocks noChangeAspect="1"/>
          </p:cNvGrpSpPr>
          <p:nvPr/>
        </p:nvGrpSpPr>
        <p:grpSpPr bwMode="auto">
          <a:xfrm>
            <a:off x="3025017" y="3958266"/>
            <a:ext cx="188634" cy="207446"/>
            <a:chOff x="4695" y="3212"/>
            <a:chExt cx="371" cy="408"/>
          </a:xfrm>
          <a:solidFill>
            <a:schemeClr val="bg1"/>
          </a:solidFill>
        </p:grpSpPr>
        <p:sp>
          <p:nvSpPr>
            <p:cNvPr id="1204" name="Freeform 184">
              <a:extLst>
                <a:ext uri="{FF2B5EF4-FFF2-40B4-BE49-F238E27FC236}">
                  <a16:creationId xmlns:a16="http://schemas.microsoft.com/office/drawing/2014/main" id="{89F9055E-2C95-839B-4A50-014A131739AF}"/>
                </a:ext>
              </a:extLst>
            </p:cNvPr>
            <p:cNvSpPr>
              <a:spLocks noEditPoints="1"/>
            </p:cNvSpPr>
            <p:nvPr/>
          </p:nvSpPr>
          <p:spPr bwMode="auto">
            <a:xfrm>
              <a:off x="4815" y="3495"/>
              <a:ext cx="180" cy="125"/>
            </a:xfrm>
            <a:custGeom>
              <a:avLst/>
              <a:gdLst>
                <a:gd name="T0" fmla="*/ 90 w 121"/>
                <a:gd name="T1" fmla="*/ 84 h 84"/>
                <a:gd name="T2" fmla="*/ 30 w 121"/>
                <a:gd name="T3" fmla="*/ 84 h 84"/>
                <a:gd name="T4" fmla="*/ 25 w 121"/>
                <a:gd name="T5" fmla="*/ 80 h 84"/>
                <a:gd name="T6" fmla="*/ 1 w 121"/>
                <a:gd name="T7" fmla="*/ 8 h 84"/>
                <a:gd name="T8" fmla="*/ 1 w 121"/>
                <a:gd name="T9" fmla="*/ 3 h 84"/>
                <a:gd name="T10" fmla="*/ 6 w 121"/>
                <a:gd name="T11" fmla="*/ 0 h 84"/>
                <a:gd name="T12" fmla="*/ 114 w 121"/>
                <a:gd name="T13" fmla="*/ 0 h 84"/>
                <a:gd name="T14" fmla="*/ 119 w 121"/>
                <a:gd name="T15" fmla="*/ 3 h 84"/>
                <a:gd name="T16" fmla="*/ 120 w 121"/>
                <a:gd name="T17" fmla="*/ 8 h 84"/>
                <a:gd name="T18" fmla="*/ 96 w 121"/>
                <a:gd name="T19" fmla="*/ 80 h 84"/>
                <a:gd name="T20" fmla="*/ 90 w 121"/>
                <a:gd name="T21" fmla="*/ 84 h 84"/>
                <a:gd name="T22" fmla="*/ 35 w 121"/>
                <a:gd name="T23" fmla="*/ 72 h 84"/>
                <a:gd name="T24" fmla="*/ 86 w 121"/>
                <a:gd name="T25" fmla="*/ 72 h 84"/>
                <a:gd name="T26" fmla="*/ 106 w 121"/>
                <a:gd name="T27" fmla="*/ 12 h 84"/>
                <a:gd name="T28" fmla="*/ 15 w 121"/>
                <a:gd name="T29" fmla="*/ 12 h 84"/>
                <a:gd name="T30" fmla="*/ 35 w 121"/>
                <a:gd name="T31"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1" h="84">
                  <a:moveTo>
                    <a:pt x="90" y="84"/>
                  </a:moveTo>
                  <a:cubicBezTo>
                    <a:pt x="30" y="84"/>
                    <a:pt x="30" y="84"/>
                    <a:pt x="30" y="84"/>
                  </a:cubicBezTo>
                  <a:cubicBezTo>
                    <a:pt x="28" y="84"/>
                    <a:pt x="25" y="83"/>
                    <a:pt x="25" y="80"/>
                  </a:cubicBezTo>
                  <a:cubicBezTo>
                    <a:pt x="1" y="8"/>
                    <a:pt x="1" y="8"/>
                    <a:pt x="1" y="8"/>
                  </a:cubicBezTo>
                  <a:cubicBezTo>
                    <a:pt x="0" y="6"/>
                    <a:pt x="0" y="4"/>
                    <a:pt x="1" y="3"/>
                  </a:cubicBezTo>
                  <a:cubicBezTo>
                    <a:pt x="3" y="1"/>
                    <a:pt x="4" y="0"/>
                    <a:pt x="6" y="0"/>
                  </a:cubicBezTo>
                  <a:cubicBezTo>
                    <a:pt x="114" y="0"/>
                    <a:pt x="114" y="0"/>
                    <a:pt x="114" y="0"/>
                  </a:cubicBezTo>
                  <a:cubicBezTo>
                    <a:pt x="116" y="0"/>
                    <a:pt x="118" y="1"/>
                    <a:pt x="119" y="3"/>
                  </a:cubicBezTo>
                  <a:cubicBezTo>
                    <a:pt x="120" y="4"/>
                    <a:pt x="121" y="6"/>
                    <a:pt x="120" y="8"/>
                  </a:cubicBezTo>
                  <a:cubicBezTo>
                    <a:pt x="96" y="80"/>
                    <a:pt x="96" y="80"/>
                    <a:pt x="96" y="80"/>
                  </a:cubicBezTo>
                  <a:cubicBezTo>
                    <a:pt x="95" y="83"/>
                    <a:pt x="93" y="84"/>
                    <a:pt x="90" y="84"/>
                  </a:cubicBezTo>
                  <a:close/>
                  <a:moveTo>
                    <a:pt x="35" y="72"/>
                  </a:moveTo>
                  <a:cubicBezTo>
                    <a:pt x="86" y="72"/>
                    <a:pt x="86" y="72"/>
                    <a:pt x="86" y="72"/>
                  </a:cubicBezTo>
                  <a:cubicBezTo>
                    <a:pt x="106" y="12"/>
                    <a:pt x="106" y="12"/>
                    <a:pt x="106" y="12"/>
                  </a:cubicBezTo>
                  <a:cubicBezTo>
                    <a:pt x="15" y="12"/>
                    <a:pt x="15" y="12"/>
                    <a:pt x="15" y="12"/>
                  </a:cubicBezTo>
                  <a:lnTo>
                    <a:pt x="35"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05" name="Freeform 185">
              <a:extLst>
                <a:ext uri="{FF2B5EF4-FFF2-40B4-BE49-F238E27FC236}">
                  <a16:creationId xmlns:a16="http://schemas.microsoft.com/office/drawing/2014/main" id="{E9F3D8EE-A738-3F2E-F948-46F3B188C865}"/>
                </a:ext>
              </a:extLst>
            </p:cNvPr>
            <p:cNvSpPr>
              <a:spLocks noEditPoints="1"/>
            </p:cNvSpPr>
            <p:nvPr/>
          </p:nvSpPr>
          <p:spPr bwMode="auto">
            <a:xfrm>
              <a:off x="4909" y="3311"/>
              <a:ext cx="157" cy="166"/>
            </a:xfrm>
            <a:custGeom>
              <a:avLst/>
              <a:gdLst>
                <a:gd name="T0" fmla="*/ 48 w 106"/>
                <a:gd name="T1" fmla="*/ 112 h 112"/>
                <a:gd name="T2" fmla="*/ 43 w 106"/>
                <a:gd name="T3" fmla="*/ 111 h 112"/>
                <a:gd name="T4" fmla="*/ 17 w 106"/>
                <a:gd name="T5" fmla="*/ 86 h 112"/>
                <a:gd name="T6" fmla="*/ 0 w 106"/>
                <a:gd name="T7" fmla="*/ 58 h 112"/>
                <a:gd name="T8" fmla="*/ 18 w 106"/>
                <a:gd name="T9" fmla="*/ 29 h 112"/>
                <a:gd name="T10" fmla="*/ 18 w 106"/>
                <a:gd name="T11" fmla="*/ 29 h 112"/>
                <a:gd name="T12" fmla="*/ 49 w 106"/>
                <a:gd name="T13" fmla="*/ 17 h 112"/>
                <a:gd name="T14" fmla="*/ 84 w 106"/>
                <a:gd name="T15" fmla="*/ 2 h 112"/>
                <a:gd name="T16" fmla="*/ 89 w 106"/>
                <a:gd name="T17" fmla="*/ 1 h 112"/>
                <a:gd name="T18" fmla="*/ 93 w 106"/>
                <a:gd name="T19" fmla="*/ 4 h 112"/>
                <a:gd name="T20" fmla="*/ 80 w 106"/>
                <a:gd name="T21" fmla="*/ 95 h 112"/>
                <a:gd name="T22" fmla="*/ 48 w 106"/>
                <a:gd name="T23" fmla="*/ 112 h 112"/>
                <a:gd name="T24" fmla="*/ 25 w 106"/>
                <a:gd name="T25" fmla="*/ 39 h 112"/>
                <a:gd name="T26" fmla="*/ 12 w 106"/>
                <a:gd name="T27" fmla="*/ 58 h 112"/>
                <a:gd name="T28" fmla="*/ 25 w 106"/>
                <a:gd name="T29" fmla="*/ 77 h 112"/>
                <a:gd name="T30" fmla="*/ 27 w 106"/>
                <a:gd name="T31" fmla="*/ 80 h 112"/>
                <a:gd name="T32" fmla="*/ 45 w 106"/>
                <a:gd name="T33" fmla="*/ 99 h 112"/>
                <a:gd name="T34" fmla="*/ 72 w 106"/>
                <a:gd name="T35" fmla="*/ 87 h 112"/>
                <a:gd name="T36" fmla="*/ 85 w 106"/>
                <a:gd name="T37" fmla="*/ 16 h 112"/>
                <a:gd name="T38" fmla="*/ 52 w 106"/>
                <a:gd name="T39" fmla="*/ 29 h 112"/>
                <a:gd name="T40" fmla="*/ 25 w 106"/>
                <a:gd name="T41" fmla="*/ 3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 h="112">
                  <a:moveTo>
                    <a:pt x="48" y="112"/>
                  </a:moveTo>
                  <a:cubicBezTo>
                    <a:pt x="46" y="112"/>
                    <a:pt x="44" y="111"/>
                    <a:pt x="43" y="111"/>
                  </a:cubicBezTo>
                  <a:cubicBezTo>
                    <a:pt x="35" y="110"/>
                    <a:pt x="24" y="104"/>
                    <a:pt x="17" y="86"/>
                  </a:cubicBezTo>
                  <a:cubicBezTo>
                    <a:pt x="3" y="76"/>
                    <a:pt x="0" y="66"/>
                    <a:pt x="0" y="58"/>
                  </a:cubicBezTo>
                  <a:cubicBezTo>
                    <a:pt x="0" y="48"/>
                    <a:pt x="7" y="37"/>
                    <a:pt x="18" y="29"/>
                  </a:cubicBezTo>
                  <a:cubicBezTo>
                    <a:pt x="18" y="29"/>
                    <a:pt x="18" y="29"/>
                    <a:pt x="18" y="29"/>
                  </a:cubicBezTo>
                  <a:cubicBezTo>
                    <a:pt x="28" y="22"/>
                    <a:pt x="39" y="20"/>
                    <a:pt x="49" y="17"/>
                  </a:cubicBezTo>
                  <a:cubicBezTo>
                    <a:pt x="61" y="14"/>
                    <a:pt x="72" y="11"/>
                    <a:pt x="84" y="2"/>
                  </a:cubicBezTo>
                  <a:cubicBezTo>
                    <a:pt x="86" y="1"/>
                    <a:pt x="87" y="0"/>
                    <a:pt x="89" y="1"/>
                  </a:cubicBezTo>
                  <a:cubicBezTo>
                    <a:pt x="91" y="1"/>
                    <a:pt x="92" y="3"/>
                    <a:pt x="93" y="4"/>
                  </a:cubicBezTo>
                  <a:cubicBezTo>
                    <a:pt x="106" y="32"/>
                    <a:pt x="97" y="78"/>
                    <a:pt x="80" y="95"/>
                  </a:cubicBezTo>
                  <a:cubicBezTo>
                    <a:pt x="70" y="106"/>
                    <a:pt x="59" y="112"/>
                    <a:pt x="48" y="112"/>
                  </a:cubicBezTo>
                  <a:close/>
                  <a:moveTo>
                    <a:pt x="25" y="39"/>
                  </a:moveTo>
                  <a:cubicBezTo>
                    <a:pt x="17" y="45"/>
                    <a:pt x="12" y="52"/>
                    <a:pt x="12" y="58"/>
                  </a:cubicBezTo>
                  <a:cubicBezTo>
                    <a:pt x="12" y="67"/>
                    <a:pt x="19" y="73"/>
                    <a:pt x="25" y="77"/>
                  </a:cubicBezTo>
                  <a:cubicBezTo>
                    <a:pt x="26" y="78"/>
                    <a:pt x="27" y="79"/>
                    <a:pt x="27" y="80"/>
                  </a:cubicBezTo>
                  <a:cubicBezTo>
                    <a:pt x="32" y="91"/>
                    <a:pt x="38" y="98"/>
                    <a:pt x="45" y="99"/>
                  </a:cubicBezTo>
                  <a:cubicBezTo>
                    <a:pt x="54" y="101"/>
                    <a:pt x="65" y="94"/>
                    <a:pt x="72" y="87"/>
                  </a:cubicBezTo>
                  <a:cubicBezTo>
                    <a:pt x="83" y="75"/>
                    <a:pt x="91" y="39"/>
                    <a:pt x="85" y="16"/>
                  </a:cubicBezTo>
                  <a:cubicBezTo>
                    <a:pt x="73" y="23"/>
                    <a:pt x="62" y="26"/>
                    <a:pt x="52" y="29"/>
                  </a:cubicBezTo>
                  <a:cubicBezTo>
                    <a:pt x="42" y="31"/>
                    <a:pt x="33" y="33"/>
                    <a:pt x="25"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06" name="Freeform 186">
              <a:extLst>
                <a:ext uri="{FF2B5EF4-FFF2-40B4-BE49-F238E27FC236}">
                  <a16:creationId xmlns:a16="http://schemas.microsoft.com/office/drawing/2014/main" id="{85D54744-44FE-E86D-5424-9D47520D7776}"/>
                </a:ext>
              </a:extLst>
            </p:cNvPr>
            <p:cNvSpPr>
              <a:spLocks noEditPoints="1"/>
            </p:cNvSpPr>
            <p:nvPr/>
          </p:nvSpPr>
          <p:spPr bwMode="auto">
            <a:xfrm>
              <a:off x="4695" y="3212"/>
              <a:ext cx="209" cy="227"/>
            </a:xfrm>
            <a:custGeom>
              <a:avLst/>
              <a:gdLst>
                <a:gd name="T0" fmla="*/ 72 w 141"/>
                <a:gd name="T1" fmla="*/ 153 h 153"/>
                <a:gd name="T2" fmla="*/ 29 w 141"/>
                <a:gd name="T3" fmla="*/ 128 h 153"/>
                <a:gd name="T4" fmla="*/ 19 w 141"/>
                <a:gd name="T5" fmla="*/ 3 h 153"/>
                <a:gd name="T6" fmla="*/ 23 w 141"/>
                <a:gd name="T7" fmla="*/ 0 h 153"/>
                <a:gd name="T8" fmla="*/ 28 w 141"/>
                <a:gd name="T9" fmla="*/ 2 h 153"/>
                <a:gd name="T10" fmla="*/ 75 w 141"/>
                <a:gd name="T11" fmla="*/ 24 h 153"/>
                <a:gd name="T12" fmla="*/ 122 w 141"/>
                <a:gd name="T13" fmla="*/ 49 h 153"/>
                <a:gd name="T14" fmla="*/ 122 w 141"/>
                <a:gd name="T15" fmla="*/ 49 h 153"/>
                <a:gd name="T16" fmla="*/ 138 w 141"/>
                <a:gd name="T17" fmla="*/ 93 h 153"/>
                <a:gd name="T18" fmla="*/ 107 w 141"/>
                <a:gd name="T19" fmla="*/ 124 h 153"/>
                <a:gd name="T20" fmla="*/ 76 w 141"/>
                <a:gd name="T21" fmla="*/ 152 h 153"/>
                <a:gd name="T22" fmla="*/ 72 w 141"/>
                <a:gd name="T23" fmla="*/ 153 h 153"/>
                <a:gd name="T24" fmla="*/ 27 w 141"/>
                <a:gd name="T25" fmla="*/ 15 h 153"/>
                <a:gd name="T26" fmla="*/ 39 w 141"/>
                <a:gd name="T27" fmla="*/ 120 h 153"/>
                <a:gd name="T28" fmla="*/ 74 w 141"/>
                <a:gd name="T29" fmla="*/ 141 h 153"/>
                <a:gd name="T30" fmla="*/ 97 w 141"/>
                <a:gd name="T31" fmla="*/ 117 h 153"/>
                <a:gd name="T32" fmla="*/ 100 w 141"/>
                <a:gd name="T33" fmla="*/ 114 h 153"/>
                <a:gd name="T34" fmla="*/ 126 w 141"/>
                <a:gd name="T35" fmla="*/ 90 h 153"/>
                <a:gd name="T36" fmla="*/ 113 w 141"/>
                <a:gd name="T37" fmla="*/ 57 h 153"/>
                <a:gd name="T38" fmla="*/ 113 w 141"/>
                <a:gd name="T39" fmla="*/ 57 h 153"/>
                <a:gd name="T40" fmla="*/ 71 w 141"/>
                <a:gd name="T41" fmla="*/ 35 h 153"/>
                <a:gd name="T42" fmla="*/ 27 w 141"/>
                <a:gd name="T43" fmla="*/ 1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1" h="153">
                  <a:moveTo>
                    <a:pt x="72" y="153"/>
                  </a:moveTo>
                  <a:cubicBezTo>
                    <a:pt x="58" y="153"/>
                    <a:pt x="43" y="144"/>
                    <a:pt x="29" y="128"/>
                  </a:cubicBezTo>
                  <a:cubicBezTo>
                    <a:pt x="9" y="103"/>
                    <a:pt x="0" y="39"/>
                    <a:pt x="19" y="3"/>
                  </a:cubicBezTo>
                  <a:cubicBezTo>
                    <a:pt x="20" y="2"/>
                    <a:pt x="21" y="1"/>
                    <a:pt x="23" y="0"/>
                  </a:cubicBezTo>
                  <a:cubicBezTo>
                    <a:pt x="25" y="0"/>
                    <a:pt x="27" y="0"/>
                    <a:pt x="28" y="2"/>
                  </a:cubicBezTo>
                  <a:cubicBezTo>
                    <a:pt x="43" y="14"/>
                    <a:pt x="59" y="19"/>
                    <a:pt x="75" y="24"/>
                  </a:cubicBezTo>
                  <a:cubicBezTo>
                    <a:pt x="93" y="29"/>
                    <a:pt x="110" y="34"/>
                    <a:pt x="122" y="49"/>
                  </a:cubicBezTo>
                  <a:cubicBezTo>
                    <a:pt x="122" y="49"/>
                    <a:pt x="122" y="49"/>
                    <a:pt x="122" y="49"/>
                  </a:cubicBezTo>
                  <a:cubicBezTo>
                    <a:pt x="136" y="65"/>
                    <a:pt x="141" y="79"/>
                    <a:pt x="138" y="93"/>
                  </a:cubicBezTo>
                  <a:cubicBezTo>
                    <a:pt x="135" y="106"/>
                    <a:pt x="125" y="116"/>
                    <a:pt x="107" y="124"/>
                  </a:cubicBezTo>
                  <a:cubicBezTo>
                    <a:pt x="99" y="141"/>
                    <a:pt x="89" y="151"/>
                    <a:pt x="76" y="152"/>
                  </a:cubicBezTo>
                  <a:cubicBezTo>
                    <a:pt x="74" y="153"/>
                    <a:pt x="73" y="153"/>
                    <a:pt x="72" y="153"/>
                  </a:cubicBezTo>
                  <a:close/>
                  <a:moveTo>
                    <a:pt x="27" y="15"/>
                  </a:moveTo>
                  <a:cubicBezTo>
                    <a:pt x="14" y="48"/>
                    <a:pt x="22" y="100"/>
                    <a:pt x="39" y="120"/>
                  </a:cubicBezTo>
                  <a:cubicBezTo>
                    <a:pt x="51" y="134"/>
                    <a:pt x="64" y="142"/>
                    <a:pt x="74" y="141"/>
                  </a:cubicBezTo>
                  <a:cubicBezTo>
                    <a:pt x="83" y="139"/>
                    <a:pt x="91" y="131"/>
                    <a:pt x="97" y="117"/>
                  </a:cubicBezTo>
                  <a:cubicBezTo>
                    <a:pt x="98" y="116"/>
                    <a:pt x="99" y="115"/>
                    <a:pt x="100" y="114"/>
                  </a:cubicBezTo>
                  <a:cubicBezTo>
                    <a:pt x="115" y="107"/>
                    <a:pt x="124" y="99"/>
                    <a:pt x="126" y="90"/>
                  </a:cubicBezTo>
                  <a:cubicBezTo>
                    <a:pt x="129" y="78"/>
                    <a:pt x="121" y="65"/>
                    <a:pt x="113" y="57"/>
                  </a:cubicBezTo>
                  <a:cubicBezTo>
                    <a:pt x="113" y="57"/>
                    <a:pt x="113" y="57"/>
                    <a:pt x="113" y="57"/>
                  </a:cubicBezTo>
                  <a:cubicBezTo>
                    <a:pt x="103" y="44"/>
                    <a:pt x="88" y="40"/>
                    <a:pt x="71" y="35"/>
                  </a:cubicBezTo>
                  <a:cubicBezTo>
                    <a:pt x="57" y="31"/>
                    <a:pt x="41" y="26"/>
                    <a:pt x="2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07" name="Freeform 187">
              <a:extLst>
                <a:ext uri="{FF2B5EF4-FFF2-40B4-BE49-F238E27FC236}">
                  <a16:creationId xmlns:a16="http://schemas.microsoft.com/office/drawing/2014/main" id="{025A28F2-F817-BA96-BBF2-9BFADD69EB79}"/>
                </a:ext>
              </a:extLst>
            </p:cNvPr>
            <p:cNvSpPr>
              <a:spLocks/>
            </p:cNvSpPr>
            <p:nvPr/>
          </p:nvSpPr>
          <p:spPr bwMode="auto">
            <a:xfrm>
              <a:off x="4762" y="3283"/>
              <a:ext cx="240" cy="230"/>
            </a:xfrm>
            <a:custGeom>
              <a:avLst/>
              <a:gdLst>
                <a:gd name="T0" fmla="*/ 93 w 162"/>
                <a:gd name="T1" fmla="*/ 155 h 155"/>
                <a:gd name="T2" fmla="*/ 93 w 162"/>
                <a:gd name="T3" fmla="*/ 155 h 155"/>
                <a:gd name="T4" fmla="*/ 87 w 162"/>
                <a:gd name="T5" fmla="*/ 150 h 155"/>
                <a:gd name="T6" fmla="*/ 3 w 162"/>
                <a:gd name="T7" fmla="*/ 11 h 155"/>
                <a:gd name="T8" fmla="*/ 3 w 162"/>
                <a:gd name="T9" fmla="*/ 3 h 155"/>
                <a:gd name="T10" fmla="*/ 11 w 162"/>
                <a:gd name="T11" fmla="*/ 3 h 155"/>
                <a:gd name="T12" fmla="*/ 94 w 162"/>
                <a:gd name="T13" fmla="*/ 132 h 155"/>
                <a:gd name="T14" fmla="*/ 152 w 162"/>
                <a:gd name="T15" fmla="*/ 68 h 155"/>
                <a:gd name="T16" fmla="*/ 160 w 162"/>
                <a:gd name="T17" fmla="*/ 71 h 155"/>
                <a:gd name="T18" fmla="*/ 158 w 162"/>
                <a:gd name="T19" fmla="*/ 79 h 155"/>
                <a:gd name="T20" fmla="*/ 99 w 162"/>
                <a:gd name="T21" fmla="*/ 151 h 155"/>
                <a:gd name="T22" fmla="*/ 93 w 162"/>
                <a:gd name="T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2" h="155">
                  <a:moveTo>
                    <a:pt x="93" y="155"/>
                  </a:moveTo>
                  <a:cubicBezTo>
                    <a:pt x="93" y="155"/>
                    <a:pt x="93" y="155"/>
                    <a:pt x="93" y="155"/>
                  </a:cubicBezTo>
                  <a:cubicBezTo>
                    <a:pt x="90" y="155"/>
                    <a:pt x="88" y="153"/>
                    <a:pt x="87" y="150"/>
                  </a:cubicBezTo>
                  <a:cubicBezTo>
                    <a:pt x="87" y="150"/>
                    <a:pt x="69" y="71"/>
                    <a:pt x="3" y="11"/>
                  </a:cubicBezTo>
                  <a:cubicBezTo>
                    <a:pt x="1" y="9"/>
                    <a:pt x="0" y="5"/>
                    <a:pt x="3" y="3"/>
                  </a:cubicBezTo>
                  <a:cubicBezTo>
                    <a:pt x="5" y="1"/>
                    <a:pt x="9" y="0"/>
                    <a:pt x="11" y="3"/>
                  </a:cubicBezTo>
                  <a:cubicBezTo>
                    <a:pt x="63" y="49"/>
                    <a:pt x="86" y="105"/>
                    <a:pt x="94" y="132"/>
                  </a:cubicBezTo>
                  <a:cubicBezTo>
                    <a:pt x="104" y="113"/>
                    <a:pt x="123" y="83"/>
                    <a:pt x="152" y="68"/>
                  </a:cubicBezTo>
                  <a:cubicBezTo>
                    <a:pt x="155" y="67"/>
                    <a:pt x="159" y="68"/>
                    <a:pt x="160" y="71"/>
                  </a:cubicBezTo>
                  <a:cubicBezTo>
                    <a:pt x="162" y="74"/>
                    <a:pt x="160" y="78"/>
                    <a:pt x="158" y="79"/>
                  </a:cubicBezTo>
                  <a:cubicBezTo>
                    <a:pt x="119" y="98"/>
                    <a:pt x="99" y="151"/>
                    <a:pt x="99" y="151"/>
                  </a:cubicBezTo>
                  <a:cubicBezTo>
                    <a:pt x="98" y="154"/>
                    <a:pt x="96" y="155"/>
                    <a:pt x="93" y="1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11" name="Group 1210">
            <a:extLst>
              <a:ext uri="{FF2B5EF4-FFF2-40B4-BE49-F238E27FC236}">
                <a16:creationId xmlns:a16="http://schemas.microsoft.com/office/drawing/2014/main" id="{B3904B7E-8F87-7CBE-5DB9-2078780FC8BF}"/>
              </a:ext>
            </a:extLst>
          </p:cNvPr>
          <p:cNvGrpSpPr/>
          <p:nvPr/>
        </p:nvGrpSpPr>
        <p:grpSpPr>
          <a:xfrm>
            <a:off x="2950261" y="3374659"/>
            <a:ext cx="339384" cy="337876"/>
            <a:chOff x="454092" y="3338090"/>
            <a:chExt cx="339384" cy="337876"/>
          </a:xfrm>
          <a:solidFill>
            <a:srgbClr val="3B63E4"/>
          </a:solidFill>
        </p:grpSpPr>
        <p:sp>
          <p:nvSpPr>
            <p:cNvPr id="1215" name="Callout: Bent Line 1214">
              <a:extLst>
                <a:ext uri="{FF2B5EF4-FFF2-40B4-BE49-F238E27FC236}">
                  <a16:creationId xmlns:a16="http://schemas.microsoft.com/office/drawing/2014/main" id="{590E045F-FF29-A6C5-6F05-3780E21687BE}"/>
                </a:ext>
              </a:extLst>
            </p:cNvPr>
            <p:cNvSpPr/>
            <p:nvPr/>
          </p:nvSpPr>
          <p:spPr>
            <a:xfrm>
              <a:off x="454092" y="3338090"/>
              <a:ext cx="339384" cy="337876"/>
            </a:xfrm>
            <a:prstGeom prst="borderCallout2">
              <a:avLst>
                <a:gd name="adj1" fmla="val 47397"/>
                <a:gd name="adj2" fmla="val 101403"/>
                <a:gd name="adj3" fmla="val 47937"/>
                <a:gd name="adj4" fmla="val 126931"/>
                <a:gd name="adj5" fmla="val 53255"/>
                <a:gd name="adj6" fmla="val 141712"/>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1216" name="Rectangle 1215">
              <a:extLst>
                <a:ext uri="{FF2B5EF4-FFF2-40B4-BE49-F238E27FC236}">
                  <a16:creationId xmlns:a16="http://schemas.microsoft.com/office/drawing/2014/main" id="{F57A061E-CAAC-47CD-2BB4-4070A7655A65}"/>
                </a:ext>
              </a:extLst>
            </p:cNvPr>
            <p:cNvSpPr>
              <a:spLocks noChangeAspect="1"/>
            </p:cNvSpPr>
            <p:nvPr/>
          </p:nvSpPr>
          <p:spPr>
            <a:xfrm>
              <a:off x="472322" y="3358470"/>
              <a:ext cx="303131" cy="303131"/>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grpSp>
      <p:grpSp>
        <p:nvGrpSpPr>
          <p:cNvPr id="1212" name="Group 72">
            <a:extLst>
              <a:ext uri="{FF2B5EF4-FFF2-40B4-BE49-F238E27FC236}">
                <a16:creationId xmlns:a16="http://schemas.microsoft.com/office/drawing/2014/main" id="{84358375-BACB-A46C-853E-647F277B94B1}"/>
              </a:ext>
            </a:extLst>
          </p:cNvPr>
          <p:cNvGrpSpPr>
            <a:grpSpLocks noChangeAspect="1"/>
          </p:cNvGrpSpPr>
          <p:nvPr/>
        </p:nvGrpSpPr>
        <p:grpSpPr bwMode="auto">
          <a:xfrm>
            <a:off x="3018110" y="3444324"/>
            <a:ext cx="208826" cy="208824"/>
            <a:chOff x="2403" y="1719"/>
            <a:chExt cx="426" cy="426"/>
          </a:xfrm>
          <a:solidFill>
            <a:schemeClr val="bg1"/>
          </a:solidFill>
        </p:grpSpPr>
        <p:sp>
          <p:nvSpPr>
            <p:cNvPr id="1213" name="Freeform 73">
              <a:extLst>
                <a:ext uri="{FF2B5EF4-FFF2-40B4-BE49-F238E27FC236}">
                  <a16:creationId xmlns:a16="http://schemas.microsoft.com/office/drawing/2014/main" id="{3D284BC1-98B9-2411-1BEE-1565A67F54FB}"/>
                </a:ext>
              </a:extLst>
            </p:cNvPr>
            <p:cNvSpPr>
              <a:spLocks/>
            </p:cNvSpPr>
            <p:nvPr/>
          </p:nvSpPr>
          <p:spPr bwMode="auto">
            <a:xfrm>
              <a:off x="2517" y="1861"/>
              <a:ext cx="197" cy="142"/>
            </a:xfrm>
            <a:custGeom>
              <a:avLst/>
              <a:gdLst>
                <a:gd name="T0" fmla="*/ 37 w 133"/>
                <a:gd name="T1" fmla="*/ 96 h 96"/>
                <a:gd name="T2" fmla="*/ 32 w 133"/>
                <a:gd name="T3" fmla="*/ 94 h 96"/>
                <a:gd name="T4" fmla="*/ 2 w 133"/>
                <a:gd name="T5" fmla="*/ 64 h 96"/>
                <a:gd name="T6" fmla="*/ 2 w 133"/>
                <a:gd name="T7" fmla="*/ 56 h 96"/>
                <a:gd name="T8" fmla="*/ 11 w 133"/>
                <a:gd name="T9" fmla="*/ 56 h 96"/>
                <a:gd name="T10" fmla="*/ 37 w 133"/>
                <a:gd name="T11" fmla="*/ 82 h 96"/>
                <a:gd name="T12" fmla="*/ 123 w 133"/>
                <a:gd name="T13" fmla="*/ 2 h 96"/>
                <a:gd name="T14" fmla="*/ 131 w 133"/>
                <a:gd name="T15" fmla="*/ 2 h 96"/>
                <a:gd name="T16" fmla="*/ 131 w 133"/>
                <a:gd name="T17" fmla="*/ 11 h 96"/>
                <a:gd name="T18" fmla="*/ 41 w 133"/>
                <a:gd name="T19" fmla="*/ 95 h 96"/>
                <a:gd name="T20" fmla="*/ 37 w 133"/>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3" h="96">
                  <a:moveTo>
                    <a:pt x="37" y="96"/>
                  </a:moveTo>
                  <a:cubicBezTo>
                    <a:pt x="35" y="96"/>
                    <a:pt x="34" y="96"/>
                    <a:pt x="32" y="94"/>
                  </a:cubicBezTo>
                  <a:cubicBezTo>
                    <a:pt x="2" y="64"/>
                    <a:pt x="2" y="64"/>
                    <a:pt x="2" y="64"/>
                  </a:cubicBezTo>
                  <a:cubicBezTo>
                    <a:pt x="0" y="62"/>
                    <a:pt x="0" y="58"/>
                    <a:pt x="2" y="56"/>
                  </a:cubicBezTo>
                  <a:cubicBezTo>
                    <a:pt x="5" y="54"/>
                    <a:pt x="9" y="54"/>
                    <a:pt x="11" y="56"/>
                  </a:cubicBezTo>
                  <a:cubicBezTo>
                    <a:pt x="37" y="82"/>
                    <a:pt x="37" y="82"/>
                    <a:pt x="37" y="82"/>
                  </a:cubicBezTo>
                  <a:cubicBezTo>
                    <a:pt x="123" y="2"/>
                    <a:pt x="123" y="2"/>
                    <a:pt x="123" y="2"/>
                  </a:cubicBezTo>
                  <a:cubicBezTo>
                    <a:pt x="125" y="0"/>
                    <a:pt x="129" y="0"/>
                    <a:pt x="131" y="2"/>
                  </a:cubicBezTo>
                  <a:cubicBezTo>
                    <a:pt x="133" y="5"/>
                    <a:pt x="133" y="8"/>
                    <a:pt x="131" y="11"/>
                  </a:cubicBezTo>
                  <a:cubicBezTo>
                    <a:pt x="41" y="95"/>
                    <a:pt x="41" y="95"/>
                    <a:pt x="41" y="95"/>
                  </a:cubicBezTo>
                  <a:cubicBezTo>
                    <a:pt x="40" y="96"/>
                    <a:pt x="38" y="96"/>
                    <a:pt x="3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5E5E5"/>
                </a:solidFill>
                <a:effectLst/>
                <a:uLnTx/>
                <a:uFillTx/>
                <a:latin typeface="Arial"/>
                <a:ea typeface="+mn-ea"/>
                <a:cs typeface="+mn-cs"/>
              </a:endParaRPr>
            </a:p>
          </p:txBody>
        </p:sp>
        <p:sp>
          <p:nvSpPr>
            <p:cNvPr id="1214" name="Freeform 74">
              <a:extLst>
                <a:ext uri="{FF2B5EF4-FFF2-40B4-BE49-F238E27FC236}">
                  <a16:creationId xmlns:a16="http://schemas.microsoft.com/office/drawing/2014/main" id="{779FAC86-A140-CD0F-1D5B-9DB22FE42C20}"/>
                </a:ext>
              </a:extLst>
            </p:cNvPr>
            <p:cNvSpPr>
              <a:spLocks noEditPoints="1"/>
            </p:cNvSpPr>
            <p:nvPr/>
          </p:nvSpPr>
          <p:spPr bwMode="auto">
            <a:xfrm>
              <a:off x="2403" y="1719"/>
              <a:ext cx="426" cy="426"/>
            </a:xfrm>
            <a:custGeom>
              <a:avLst/>
              <a:gdLst>
                <a:gd name="T0" fmla="*/ 118 w 288"/>
                <a:gd name="T1" fmla="*/ 274 h 288"/>
                <a:gd name="T2" fmla="*/ 70 w 288"/>
                <a:gd name="T3" fmla="*/ 254 h 288"/>
                <a:gd name="T4" fmla="*/ 34 w 288"/>
                <a:gd name="T5" fmla="*/ 218 h 288"/>
                <a:gd name="T6" fmla="*/ 14 w 288"/>
                <a:gd name="T7" fmla="*/ 170 h 288"/>
                <a:gd name="T8" fmla="*/ 14 w 288"/>
                <a:gd name="T9" fmla="*/ 119 h 288"/>
                <a:gd name="T10" fmla="*/ 34 w 288"/>
                <a:gd name="T11" fmla="*/ 71 h 288"/>
                <a:gd name="T12" fmla="*/ 70 w 288"/>
                <a:gd name="T13" fmla="*/ 35 h 288"/>
                <a:gd name="T14" fmla="*/ 118 w 288"/>
                <a:gd name="T15" fmla="*/ 15 h 288"/>
                <a:gd name="T16" fmla="*/ 169 w 288"/>
                <a:gd name="T17" fmla="*/ 15 h 288"/>
                <a:gd name="T18" fmla="*/ 217 w 288"/>
                <a:gd name="T19" fmla="*/ 35 h 288"/>
                <a:gd name="T20" fmla="*/ 253 w 288"/>
                <a:gd name="T21" fmla="*/ 71 h 288"/>
                <a:gd name="T22" fmla="*/ 273 w 288"/>
                <a:gd name="T23" fmla="*/ 119 h 288"/>
                <a:gd name="T24" fmla="*/ 273 w 288"/>
                <a:gd name="T25" fmla="*/ 170 h 288"/>
                <a:gd name="T26" fmla="*/ 253 w 288"/>
                <a:gd name="T27" fmla="*/ 218 h 288"/>
                <a:gd name="T28" fmla="*/ 217 w 288"/>
                <a:gd name="T29" fmla="*/ 254 h 288"/>
                <a:gd name="T30" fmla="*/ 169 w 288"/>
                <a:gd name="T31" fmla="*/ 274 h 288"/>
                <a:gd name="T32" fmla="*/ 120 w 288"/>
                <a:gd name="T33" fmla="*/ 257 h 288"/>
                <a:gd name="T34" fmla="*/ 126 w 288"/>
                <a:gd name="T35" fmla="*/ 262 h 288"/>
                <a:gd name="T36" fmla="*/ 161 w 288"/>
                <a:gd name="T37" fmla="*/ 262 h 288"/>
                <a:gd name="T38" fmla="*/ 172 w 288"/>
                <a:gd name="T39" fmla="*/ 259 h 288"/>
                <a:gd name="T40" fmla="*/ 205 w 288"/>
                <a:gd name="T41" fmla="*/ 246 h 288"/>
                <a:gd name="T42" fmla="*/ 214 w 288"/>
                <a:gd name="T43" fmla="*/ 240 h 288"/>
                <a:gd name="T44" fmla="*/ 239 w 288"/>
                <a:gd name="T45" fmla="*/ 215 h 288"/>
                <a:gd name="T46" fmla="*/ 245 w 288"/>
                <a:gd name="T47" fmla="*/ 205 h 288"/>
                <a:gd name="T48" fmla="*/ 259 w 288"/>
                <a:gd name="T49" fmla="*/ 173 h 288"/>
                <a:gd name="T50" fmla="*/ 261 w 288"/>
                <a:gd name="T51" fmla="*/ 162 h 288"/>
                <a:gd name="T52" fmla="*/ 261 w 288"/>
                <a:gd name="T53" fmla="*/ 127 h 288"/>
                <a:gd name="T54" fmla="*/ 259 w 288"/>
                <a:gd name="T55" fmla="*/ 116 h 288"/>
                <a:gd name="T56" fmla="*/ 245 w 288"/>
                <a:gd name="T57" fmla="*/ 83 h 288"/>
                <a:gd name="T58" fmla="*/ 239 w 288"/>
                <a:gd name="T59" fmla="*/ 74 h 288"/>
                <a:gd name="T60" fmla="*/ 214 w 288"/>
                <a:gd name="T61" fmla="*/ 49 h 288"/>
                <a:gd name="T62" fmla="*/ 205 w 288"/>
                <a:gd name="T63" fmla="*/ 43 h 288"/>
                <a:gd name="T64" fmla="*/ 172 w 288"/>
                <a:gd name="T65" fmla="*/ 29 h 288"/>
                <a:gd name="T66" fmla="*/ 161 w 288"/>
                <a:gd name="T67" fmla="*/ 27 h 288"/>
                <a:gd name="T68" fmla="*/ 126 w 288"/>
                <a:gd name="T69" fmla="*/ 27 h 288"/>
                <a:gd name="T70" fmla="*/ 115 w 288"/>
                <a:gd name="T71" fmla="*/ 29 h 288"/>
                <a:gd name="T72" fmla="*/ 82 w 288"/>
                <a:gd name="T73" fmla="*/ 43 h 288"/>
                <a:gd name="T74" fmla="*/ 73 w 288"/>
                <a:gd name="T75" fmla="*/ 49 h 288"/>
                <a:gd name="T76" fmla="*/ 48 w 288"/>
                <a:gd name="T77" fmla="*/ 74 h 288"/>
                <a:gd name="T78" fmla="*/ 42 w 288"/>
                <a:gd name="T79" fmla="*/ 83 h 288"/>
                <a:gd name="T80" fmla="*/ 28 w 288"/>
                <a:gd name="T81" fmla="*/ 116 h 288"/>
                <a:gd name="T82" fmla="*/ 26 w 288"/>
                <a:gd name="T83" fmla="*/ 127 h 288"/>
                <a:gd name="T84" fmla="*/ 26 w 288"/>
                <a:gd name="T85" fmla="*/ 162 h 288"/>
                <a:gd name="T86" fmla="*/ 28 w 288"/>
                <a:gd name="T87" fmla="*/ 173 h 288"/>
                <a:gd name="T88" fmla="*/ 42 w 288"/>
                <a:gd name="T89" fmla="*/ 205 h 288"/>
                <a:gd name="T90" fmla="*/ 48 w 288"/>
                <a:gd name="T91" fmla="*/ 215 h 288"/>
                <a:gd name="T92" fmla="*/ 73 w 288"/>
                <a:gd name="T93" fmla="*/ 240 h 288"/>
                <a:gd name="T94" fmla="*/ 82 w 288"/>
                <a:gd name="T95" fmla="*/ 246 h 288"/>
                <a:gd name="T96" fmla="*/ 115 w 288"/>
                <a:gd name="T97" fmla="*/ 25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88">
                  <a:moveTo>
                    <a:pt x="144" y="288"/>
                  </a:moveTo>
                  <a:cubicBezTo>
                    <a:pt x="133" y="288"/>
                    <a:pt x="123" y="282"/>
                    <a:pt x="118" y="274"/>
                  </a:cubicBezTo>
                  <a:cubicBezTo>
                    <a:pt x="110" y="280"/>
                    <a:pt x="98" y="281"/>
                    <a:pt x="89" y="277"/>
                  </a:cubicBezTo>
                  <a:cubicBezTo>
                    <a:pt x="79" y="273"/>
                    <a:pt x="72" y="264"/>
                    <a:pt x="70" y="254"/>
                  </a:cubicBezTo>
                  <a:cubicBezTo>
                    <a:pt x="60" y="256"/>
                    <a:pt x="49" y="254"/>
                    <a:pt x="42" y="246"/>
                  </a:cubicBezTo>
                  <a:cubicBezTo>
                    <a:pt x="34" y="238"/>
                    <a:pt x="31" y="228"/>
                    <a:pt x="34" y="218"/>
                  </a:cubicBezTo>
                  <a:cubicBezTo>
                    <a:pt x="24" y="216"/>
                    <a:pt x="15" y="209"/>
                    <a:pt x="11" y="199"/>
                  </a:cubicBezTo>
                  <a:cubicBezTo>
                    <a:pt x="6" y="189"/>
                    <a:pt x="8" y="178"/>
                    <a:pt x="14" y="170"/>
                  </a:cubicBezTo>
                  <a:cubicBezTo>
                    <a:pt x="5" y="165"/>
                    <a:pt x="0" y="155"/>
                    <a:pt x="0" y="144"/>
                  </a:cubicBezTo>
                  <a:cubicBezTo>
                    <a:pt x="0" y="133"/>
                    <a:pt x="5" y="124"/>
                    <a:pt x="14" y="119"/>
                  </a:cubicBezTo>
                  <a:cubicBezTo>
                    <a:pt x="8" y="110"/>
                    <a:pt x="6" y="99"/>
                    <a:pt x="11" y="89"/>
                  </a:cubicBezTo>
                  <a:cubicBezTo>
                    <a:pt x="15" y="79"/>
                    <a:pt x="24" y="72"/>
                    <a:pt x="34" y="71"/>
                  </a:cubicBezTo>
                  <a:cubicBezTo>
                    <a:pt x="31" y="61"/>
                    <a:pt x="34" y="50"/>
                    <a:pt x="42" y="42"/>
                  </a:cubicBezTo>
                  <a:cubicBezTo>
                    <a:pt x="49" y="35"/>
                    <a:pt x="60" y="32"/>
                    <a:pt x="70" y="35"/>
                  </a:cubicBezTo>
                  <a:cubicBezTo>
                    <a:pt x="72" y="24"/>
                    <a:pt x="79" y="15"/>
                    <a:pt x="89" y="11"/>
                  </a:cubicBezTo>
                  <a:cubicBezTo>
                    <a:pt x="98" y="7"/>
                    <a:pt x="110" y="9"/>
                    <a:pt x="118" y="15"/>
                  </a:cubicBezTo>
                  <a:cubicBezTo>
                    <a:pt x="123" y="6"/>
                    <a:pt x="133" y="0"/>
                    <a:pt x="144" y="0"/>
                  </a:cubicBezTo>
                  <a:cubicBezTo>
                    <a:pt x="154" y="0"/>
                    <a:pt x="164" y="6"/>
                    <a:pt x="169" y="15"/>
                  </a:cubicBezTo>
                  <a:cubicBezTo>
                    <a:pt x="178" y="9"/>
                    <a:pt x="189" y="7"/>
                    <a:pt x="199" y="11"/>
                  </a:cubicBezTo>
                  <a:cubicBezTo>
                    <a:pt x="209" y="15"/>
                    <a:pt x="215" y="24"/>
                    <a:pt x="217" y="35"/>
                  </a:cubicBezTo>
                  <a:cubicBezTo>
                    <a:pt x="227" y="32"/>
                    <a:pt x="238" y="35"/>
                    <a:pt x="245" y="42"/>
                  </a:cubicBezTo>
                  <a:cubicBezTo>
                    <a:pt x="253" y="50"/>
                    <a:pt x="256" y="61"/>
                    <a:pt x="253" y="71"/>
                  </a:cubicBezTo>
                  <a:cubicBezTo>
                    <a:pt x="264" y="72"/>
                    <a:pt x="273" y="79"/>
                    <a:pt x="277" y="89"/>
                  </a:cubicBezTo>
                  <a:cubicBezTo>
                    <a:pt x="281" y="99"/>
                    <a:pt x="279" y="110"/>
                    <a:pt x="273" y="119"/>
                  </a:cubicBezTo>
                  <a:cubicBezTo>
                    <a:pt x="282" y="124"/>
                    <a:pt x="288" y="133"/>
                    <a:pt x="288" y="144"/>
                  </a:cubicBezTo>
                  <a:cubicBezTo>
                    <a:pt x="288" y="155"/>
                    <a:pt x="282" y="165"/>
                    <a:pt x="273" y="170"/>
                  </a:cubicBezTo>
                  <a:cubicBezTo>
                    <a:pt x="279" y="178"/>
                    <a:pt x="281" y="189"/>
                    <a:pt x="277" y="199"/>
                  </a:cubicBezTo>
                  <a:cubicBezTo>
                    <a:pt x="273" y="209"/>
                    <a:pt x="263" y="216"/>
                    <a:pt x="253" y="218"/>
                  </a:cubicBezTo>
                  <a:cubicBezTo>
                    <a:pt x="256" y="228"/>
                    <a:pt x="253" y="238"/>
                    <a:pt x="245" y="246"/>
                  </a:cubicBezTo>
                  <a:cubicBezTo>
                    <a:pt x="238" y="254"/>
                    <a:pt x="227" y="256"/>
                    <a:pt x="217" y="254"/>
                  </a:cubicBezTo>
                  <a:cubicBezTo>
                    <a:pt x="215" y="264"/>
                    <a:pt x="209" y="273"/>
                    <a:pt x="199" y="277"/>
                  </a:cubicBezTo>
                  <a:cubicBezTo>
                    <a:pt x="189" y="281"/>
                    <a:pt x="178" y="280"/>
                    <a:pt x="169" y="274"/>
                  </a:cubicBezTo>
                  <a:cubicBezTo>
                    <a:pt x="164" y="282"/>
                    <a:pt x="154" y="288"/>
                    <a:pt x="144" y="288"/>
                  </a:cubicBezTo>
                  <a:close/>
                  <a:moveTo>
                    <a:pt x="120" y="257"/>
                  </a:moveTo>
                  <a:cubicBezTo>
                    <a:pt x="120" y="257"/>
                    <a:pt x="121" y="257"/>
                    <a:pt x="121" y="257"/>
                  </a:cubicBezTo>
                  <a:cubicBezTo>
                    <a:pt x="124" y="257"/>
                    <a:pt x="126" y="259"/>
                    <a:pt x="126" y="262"/>
                  </a:cubicBezTo>
                  <a:cubicBezTo>
                    <a:pt x="128" y="270"/>
                    <a:pt x="135" y="276"/>
                    <a:pt x="144" y="276"/>
                  </a:cubicBezTo>
                  <a:cubicBezTo>
                    <a:pt x="152" y="276"/>
                    <a:pt x="160" y="270"/>
                    <a:pt x="161" y="262"/>
                  </a:cubicBezTo>
                  <a:cubicBezTo>
                    <a:pt x="162" y="259"/>
                    <a:pt x="164" y="257"/>
                    <a:pt x="166" y="257"/>
                  </a:cubicBezTo>
                  <a:cubicBezTo>
                    <a:pt x="168" y="256"/>
                    <a:pt x="171" y="257"/>
                    <a:pt x="172" y="259"/>
                  </a:cubicBezTo>
                  <a:cubicBezTo>
                    <a:pt x="177" y="267"/>
                    <a:pt x="186" y="269"/>
                    <a:pt x="194" y="266"/>
                  </a:cubicBezTo>
                  <a:cubicBezTo>
                    <a:pt x="202" y="263"/>
                    <a:pt x="207" y="254"/>
                    <a:pt x="205" y="246"/>
                  </a:cubicBezTo>
                  <a:cubicBezTo>
                    <a:pt x="204" y="243"/>
                    <a:pt x="205" y="241"/>
                    <a:pt x="207" y="240"/>
                  </a:cubicBezTo>
                  <a:cubicBezTo>
                    <a:pt x="209" y="238"/>
                    <a:pt x="212" y="238"/>
                    <a:pt x="214" y="240"/>
                  </a:cubicBezTo>
                  <a:cubicBezTo>
                    <a:pt x="221" y="245"/>
                    <a:pt x="231" y="244"/>
                    <a:pt x="237" y="238"/>
                  </a:cubicBezTo>
                  <a:cubicBezTo>
                    <a:pt x="243" y="231"/>
                    <a:pt x="244" y="222"/>
                    <a:pt x="239" y="215"/>
                  </a:cubicBezTo>
                  <a:cubicBezTo>
                    <a:pt x="238" y="213"/>
                    <a:pt x="238" y="210"/>
                    <a:pt x="239" y="208"/>
                  </a:cubicBezTo>
                  <a:cubicBezTo>
                    <a:pt x="240" y="206"/>
                    <a:pt x="243" y="205"/>
                    <a:pt x="245" y="205"/>
                  </a:cubicBezTo>
                  <a:cubicBezTo>
                    <a:pt x="254" y="207"/>
                    <a:pt x="262" y="203"/>
                    <a:pt x="266" y="195"/>
                  </a:cubicBezTo>
                  <a:cubicBezTo>
                    <a:pt x="269" y="187"/>
                    <a:pt x="266" y="178"/>
                    <a:pt x="259" y="173"/>
                  </a:cubicBezTo>
                  <a:cubicBezTo>
                    <a:pt x="257" y="171"/>
                    <a:pt x="256" y="169"/>
                    <a:pt x="256" y="167"/>
                  </a:cubicBezTo>
                  <a:cubicBezTo>
                    <a:pt x="257" y="164"/>
                    <a:pt x="259" y="162"/>
                    <a:pt x="261" y="162"/>
                  </a:cubicBezTo>
                  <a:cubicBezTo>
                    <a:pt x="269" y="160"/>
                    <a:pt x="276" y="153"/>
                    <a:pt x="276" y="144"/>
                  </a:cubicBezTo>
                  <a:cubicBezTo>
                    <a:pt x="276" y="136"/>
                    <a:pt x="269" y="128"/>
                    <a:pt x="261" y="127"/>
                  </a:cubicBezTo>
                  <a:cubicBezTo>
                    <a:pt x="259" y="126"/>
                    <a:pt x="257" y="124"/>
                    <a:pt x="256" y="122"/>
                  </a:cubicBezTo>
                  <a:cubicBezTo>
                    <a:pt x="256" y="119"/>
                    <a:pt x="257" y="117"/>
                    <a:pt x="259" y="116"/>
                  </a:cubicBezTo>
                  <a:cubicBezTo>
                    <a:pt x="266" y="111"/>
                    <a:pt x="269" y="102"/>
                    <a:pt x="266" y="94"/>
                  </a:cubicBezTo>
                  <a:cubicBezTo>
                    <a:pt x="262" y="86"/>
                    <a:pt x="254" y="81"/>
                    <a:pt x="245" y="83"/>
                  </a:cubicBezTo>
                  <a:cubicBezTo>
                    <a:pt x="243" y="84"/>
                    <a:pt x="240" y="83"/>
                    <a:pt x="239" y="81"/>
                  </a:cubicBezTo>
                  <a:cubicBezTo>
                    <a:pt x="238" y="78"/>
                    <a:pt x="238" y="76"/>
                    <a:pt x="239" y="74"/>
                  </a:cubicBezTo>
                  <a:cubicBezTo>
                    <a:pt x="244" y="67"/>
                    <a:pt x="243" y="57"/>
                    <a:pt x="237" y="51"/>
                  </a:cubicBezTo>
                  <a:cubicBezTo>
                    <a:pt x="231" y="45"/>
                    <a:pt x="221" y="44"/>
                    <a:pt x="214" y="49"/>
                  </a:cubicBezTo>
                  <a:cubicBezTo>
                    <a:pt x="212" y="50"/>
                    <a:pt x="209" y="50"/>
                    <a:pt x="207" y="49"/>
                  </a:cubicBezTo>
                  <a:cubicBezTo>
                    <a:pt x="205" y="47"/>
                    <a:pt x="204" y="45"/>
                    <a:pt x="205" y="43"/>
                  </a:cubicBezTo>
                  <a:cubicBezTo>
                    <a:pt x="207" y="34"/>
                    <a:pt x="202" y="26"/>
                    <a:pt x="194" y="22"/>
                  </a:cubicBezTo>
                  <a:cubicBezTo>
                    <a:pt x="186" y="19"/>
                    <a:pt x="177" y="22"/>
                    <a:pt x="172" y="29"/>
                  </a:cubicBezTo>
                  <a:cubicBezTo>
                    <a:pt x="171" y="31"/>
                    <a:pt x="168" y="32"/>
                    <a:pt x="166" y="32"/>
                  </a:cubicBezTo>
                  <a:cubicBezTo>
                    <a:pt x="164" y="31"/>
                    <a:pt x="162" y="29"/>
                    <a:pt x="161" y="27"/>
                  </a:cubicBezTo>
                  <a:cubicBezTo>
                    <a:pt x="160" y="18"/>
                    <a:pt x="152" y="12"/>
                    <a:pt x="144" y="12"/>
                  </a:cubicBezTo>
                  <a:cubicBezTo>
                    <a:pt x="135" y="12"/>
                    <a:pt x="128" y="18"/>
                    <a:pt x="126" y="27"/>
                  </a:cubicBezTo>
                  <a:cubicBezTo>
                    <a:pt x="126" y="29"/>
                    <a:pt x="124" y="31"/>
                    <a:pt x="121" y="32"/>
                  </a:cubicBezTo>
                  <a:cubicBezTo>
                    <a:pt x="119" y="32"/>
                    <a:pt x="116" y="31"/>
                    <a:pt x="115" y="29"/>
                  </a:cubicBezTo>
                  <a:cubicBezTo>
                    <a:pt x="110" y="22"/>
                    <a:pt x="101" y="19"/>
                    <a:pt x="93" y="22"/>
                  </a:cubicBezTo>
                  <a:cubicBezTo>
                    <a:pt x="85" y="26"/>
                    <a:pt x="81" y="34"/>
                    <a:pt x="82" y="43"/>
                  </a:cubicBezTo>
                  <a:cubicBezTo>
                    <a:pt x="83" y="45"/>
                    <a:pt x="82" y="47"/>
                    <a:pt x="80" y="49"/>
                  </a:cubicBezTo>
                  <a:cubicBezTo>
                    <a:pt x="78" y="50"/>
                    <a:pt x="75" y="50"/>
                    <a:pt x="73" y="49"/>
                  </a:cubicBezTo>
                  <a:cubicBezTo>
                    <a:pt x="66" y="44"/>
                    <a:pt x="56" y="45"/>
                    <a:pt x="50" y="51"/>
                  </a:cubicBezTo>
                  <a:cubicBezTo>
                    <a:pt x="44" y="57"/>
                    <a:pt x="43" y="67"/>
                    <a:pt x="48" y="74"/>
                  </a:cubicBezTo>
                  <a:cubicBezTo>
                    <a:pt x="50" y="76"/>
                    <a:pt x="50" y="78"/>
                    <a:pt x="48" y="81"/>
                  </a:cubicBezTo>
                  <a:cubicBezTo>
                    <a:pt x="47" y="83"/>
                    <a:pt x="44" y="84"/>
                    <a:pt x="42" y="83"/>
                  </a:cubicBezTo>
                  <a:cubicBezTo>
                    <a:pt x="34" y="81"/>
                    <a:pt x="25" y="86"/>
                    <a:pt x="22" y="94"/>
                  </a:cubicBezTo>
                  <a:cubicBezTo>
                    <a:pt x="18" y="102"/>
                    <a:pt x="21" y="111"/>
                    <a:pt x="28" y="116"/>
                  </a:cubicBezTo>
                  <a:cubicBezTo>
                    <a:pt x="31" y="117"/>
                    <a:pt x="32" y="119"/>
                    <a:pt x="31" y="122"/>
                  </a:cubicBezTo>
                  <a:cubicBezTo>
                    <a:pt x="31" y="124"/>
                    <a:pt x="29" y="126"/>
                    <a:pt x="26" y="127"/>
                  </a:cubicBezTo>
                  <a:cubicBezTo>
                    <a:pt x="18" y="128"/>
                    <a:pt x="12" y="136"/>
                    <a:pt x="12" y="144"/>
                  </a:cubicBezTo>
                  <a:cubicBezTo>
                    <a:pt x="12" y="153"/>
                    <a:pt x="18" y="160"/>
                    <a:pt x="26" y="162"/>
                  </a:cubicBezTo>
                  <a:cubicBezTo>
                    <a:pt x="29" y="162"/>
                    <a:pt x="31" y="164"/>
                    <a:pt x="31" y="167"/>
                  </a:cubicBezTo>
                  <a:cubicBezTo>
                    <a:pt x="32" y="169"/>
                    <a:pt x="31" y="171"/>
                    <a:pt x="28" y="173"/>
                  </a:cubicBezTo>
                  <a:cubicBezTo>
                    <a:pt x="21" y="178"/>
                    <a:pt x="18" y="187"/>
                    <a:pt x="22" y="195"/>
                  </a:cubicBezTo>
                  <a:cubicBezTo>
                    <a:pt x="25" y="203"/>
                    <a:pt x="34" y="207"/>
                    <a:pt x="42" y="205"/>
                  </a:cubicBezTo>
                  <a:cubicBezTo>
                    <a:pt x="44" y="205"/>
                    <a:pt x="47" y="206"/>
                    <a:pt x="48" y="208"/>
                  </a:cubicBezTo>
                  <a:cubicBezTo>
                    <a:pt x="50" y="210"/>
                    <a:pt x="50" y="213"/>
                    <a:pt x="48" y="215"/>
                  </a:cubicBezTo>
                  <a:cubicBezTo>
                    <a:pt x="43" y="222"/>
                    <a:pt x="44" y="231"/>
                    <a:pt x="50" y="238"/>
                  </a:cubicBezTo>
                  <a:cubicBezTo>
                    <a:pt x="56" y="244"/>
                    <a:pt x="66" y="245"/>
                    <a:pt x="73" y="240"/>
                  </a:cubicBezTo>
                  <a:cubicBezTo>
                    <a:pt x="75" y="238"/>
                    <a:pt x="78" y="238"/>
                    <a:pt x="80" y="240"/>
                  </a:cubicBezTo>
                  <a:cubicBezTo>
                    <a:pt x="82" y="241"/>
                    <a:pt x="83" y="243"/>
                    <a:pt x="82" y="246"/>
                  </a:cubicBezTo>
                  <a:cubicBezTo>
                    <a:pt x="81" y="254"/>
                    <a:pt x="85" y="263"/>
                    <a:pt x="93" y="266"/>
                  </a:cubicBezTo>
                  <a:cubicBezTo>
                    <a:pt x="101" y="269"/>
                    <a:pt x="110" y="267"/>
                    <a:pt x="115" y="259"/>
                  </a:cubicBezTo>
                  <a:cubicBezTo>
                    <a:pt x="116" y="258"/>
                    <a:pt x="118" y="257"/>
                    <a:pt x="12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5E5E5"/>
                </a:solidFill>
                <a:effectLst/>
                <a:uLnTx/>
                <a:uFillTx/>
                <a:latin typeface="Arial"/>
                <a:ea typeface="+mn-ea"/>
                <a:cs typeface="+mn-cs"/>
              </a:endParaRPr>
            </a:p>
          </p:txBody>
        </p:sp>
      </p:grpSp>
      <p:grpSp>
        <p:nvGrpSpPr>
          <p:cNvPr id="1218" name="Group 1217">
            <a:extLst>
              <a:ext uri="{FF2B5EF4-FFF2-40B4-BE49-F238E27FC236}">
                <a16:creationId xmlns:a16="http://schemas.microsoft.com/office/drawing/2014/main" id="{2BF3FAC3-3AD0-11B7-9C8F-3ED9915E0135}"/>
              </a:ext>
            </a:extLst>
          </p:cNvPr>
          <p:cNvGrpSpPr/>
          <p:nvPr/>
        </p:nvGrpSpPr>
        <p:grpSpPr>
          <a:xfrm>
            <a:off x="2950261" y="5443015"/>
            <a:ext cx="339384" cy="337876"/>
            <a:chOff x="454092" y="3338090"/>
            <a:chExt cx="339384" cy="337876"/>
          </a:xfrm>
          <a:solidFill>
            <a:srgbClr val="3B63E4"/>
          </a:solidFill>
        </p:grpSpPr>
        <p:sp>
          <p:nvSpPr>
            <p:cNvPr id="1223" name="Callout: Bent Line 1222">
              <a:extLst>
                <a:ext uri="{FF2B5EF4-FFF2-40B4-BE49-F238E27FC236}">
                  <a16:creationId xmlns:a16="http://schemas.microsoft.com/office/drawing/2014/main" id="{EEC00BD2-BCD1-4834-3D74-EC71DF31BAD8}"/>
                </a:ext>
              </a:extLst>
            </p:cNvPr>
            <p:cNvSpPr/>
            <p:nvPr/>
          </p:nvSpPr>
          <p:spPr>
            <a:xfrm>
              <a:off x="454092" y="3338090"/>
              <a:ext cx="339384" cy="337876"/>
            </a:xfrm>
            <a:prstGeom prst="borderCallout2">
              <a:avLst>
                <a:gd name="adj1" fmla="val 47397"/>
                <a:gd name="adj2" fmla="val 101403"/>
                <a:gd name="adj3" fmla="val 47937"/>
                <a:gd name="adj4" fmla="val 126931"/>
                <a:gd name="adj5" fmla="val 53255"/>
                <a:gd name="adj6" fmla="val 141712"/>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1224" name="Rectangle 1223">
              <a:extLst>
                <a:ext uri="{FF2B5EF4-FFF2-40B4-BE49-F238E27FC236}">
                  <a16:creationId xmlns:a16="http://schemas.microsoft.com/office/drawing/2014/main" id="{39C4EFC0-4B79-8B2E-111E-A87A187DCE23}"/>
                </a:ext>
              </a:extLst>
            </p:cNvPr>
            <p:cNvSpPr>
              <a:spLocks noChangeAspect="1"/>
            </p:cNvSpPr>
            <p:nvPr/>
          </p:nvSpPr>
          <p:spPr>
            <a:xfrm>
              <a:off x="472322" y="3358470"/>
              <a:ext cx="303131" cy="303131"/>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grpSp>
      <p:grpSp>
        <p:nvGrpSpPr>
          <p:cNvPr id="1219" name="Group 73">
            <a:extLst>
              <a:ext uri="{FF2B5EF4-FFF2-40B4-BE49-F238E27FC236}">
                <a16:creationId xmlns:a16="http://schemas.microsoft.com/office/drawing/2014/main" id="{56D5AA46-FC54-946B-94F2-A1E1BEBE9863}"/>
              </a:ext>
            </a:extLst>
          </p:cNvPr>
          <p:cNvGrpSpPr>
            <a:grpSpLocks noChangeAspect="1"/>
          </p:cNvGrpSpPr>
          <p:nvPr/>
        </p:nvGrpSpPr>
        <p:grpSpPr bwMode="auto">
          <a:xfrm>
            <a:off x="3024818" y="5513503"/>
            <a:ext cx="202350" cy="205778"/>
            <a:chOff x="6545" y="603"/>
            <a:chExt cx="413" cy="420"/>
          </a:xfrm>
          <a:solidFill>
            <a:schemeClr val="bg1"/>
          </a:solidFill>
        </p:grpSpPr>
        <p:sp>
          <p:nvSpPr>
            <p:cNvPr id="1220" name="Freeform 74">
              <a:extLst>
                <a:ext uri="{FF2B5EF4-FFF2-40B4-BE49-F238E27FC236}">
                  <a16:creationId xmlns:a16="http://schemas.microsoft.com/office/drawing/2014/main" id="{EB90E8DC-9697-6D5C-5E1B-0B34664543E2}"/>
                </a:ext>
              </a:extLst>
            </p:cNvPr>
            <p:cNvSpPr>
              <a:spLocks noEditPoints="1"/>
            </p:cNvSpPr>
            <p:nvPr/>
          </p:nvSpPr>
          <p:spPr bwMode="auto">
            <a:xfrm>
              <a:off x="6545" y="638"/>
              <a:ext cx="413" cy="233"/>
            </a:xfrm>
            <a:custGeom>
              <a:avLst/>
              <a:gdLst>
                <a:gd name="T0" fmla="*/ 272 w 279"/>
                <a:gd name="T1" fmla="*/ 156 h 157"/>
                <a:gd name="T2" fmla="*/ 266 w 279"/>
                <a:gd name="T3" fmla="*/ 152 h 157"/>
                <a:gd name="T4" fmla="*/ 266 w 279"/>
                <a:gd name="T5" fmla="*/ 152 h 157"/>
                <a:gd name="T6" fmla="*/ 242 w 279"/>
                <a:gd name="T7" fmla="*/ 132 h 157"/>
                <a:gd name="T8" fmla="*/ 217 w 279"/>
                <a:gd name="T9" fmla="*/ 152 h 157"/>
                <a:gd name="T10" fmla="*/ 212 w 279"/>
                <a:gd name="T11" fmla="*/ 156 h 157"/>
                <a:gd name="T12" fmla="*/ 206 w 279"/>
                <a:gd name="T13" fmla="*/ 153 h 157"/>
                <a:gd name="T14" fmla="*/ 176 w 279"/>
                <a:gd name="T15" fmla="*/ 132 h 157"/>
                <a:gd name="T16" fmla="*/ 145 w 279"/>
                <a:gd name="T17" fmla="*/ 153 h 157"/>
                <a:gd name="T18" fmla="*/ 139 w 279"/>
                <a:gd name="T19" fmla="*/ 156 h 157"/>
                <a:gd name="T20" fmla="*/ 134 w 279"/>
                <a:gd name="T21" fmla="*/ 152 h 157"/>
                <a:gd name="T22" fmla="*/ 104 w 279"/>
                <a:gd name="T23" fmla="*/ 132 h 157"/>
                <a:gd name="T24" fmla="*/ 73 w 279"/>
                <a:gd name="T25" fmla="*/ 152 h 157"/>
                <a:gd name="T26" fmla="*/ 67 w 279"/>
                <a:gd name="T27" fmla="*/ 156 h 157"/>
                <a:gd name="T28" fmla="*/ 62 w 279"/>
                <a:gd name="T29" fmla="*/ 151 h 157"/>
                <a:gd name="T30" fmla="*/ 37 w 279"/>
                <a:gd name="T31" fmla="*/ 132 h 157"/>
                <a:gd name="T32" fmla="*/ 19 w 279"/>
                <a:gd name="T33" fmla="*/ 139 h 157"/>
                <a:gd name="T34" fmla="*/ 14 w 279"/>
                <a:gd name="T35" fmla="*/ 150 h 157"/>
                <a:gd name="T36" fmla="*/ 8 w 279"/>
                <a:gd name="T37" fmla="*/ 156 h 157"/>
                <a:gd name="T38" fmla="*/ 2 w 279"/>
                <a:gd name="T39" fmla="*/ 151 h 157"/>
                <a:gd name="T40" fmla="*/ 41 w 279"/>
                <a:gd name="T41" fmla="*/ 42 h 157"/>
                <a:gd name="T42" fmla="*/ 140 w 279"/>
                <a:gd name="T43" fmla="*/ 0 h 157"/>
                <a:gd name="T44" fmla="*/ 238 w 279"/>
                <a:gd name="T45" fmla="*/ 42 h 157"/>
                <a:gd name="T46" fmla="*/ 278 w 279"/>
                <a:gd name="T47" fmla="*/ 151 h 157"/>
                <a:gd name="T48" fmla="*/ 272 w 279"/>
                <a:gd name="T49" fmla="*/ 156 h 157"/>
                <a:gd name="T50" fmla="*/ 272 w 279"/>
                <a:gd name="T51" fmla="*/ 156 h 157"/>
                <a:gd name="T52" fmla="*/ 104 w 279"/>
                <a:gd name="T53" fmla="*/ 120 h 157"/>
                <a:gd name="T54" fmla="*/ 141 w 279"/>
                <a:gd name="T55" fmla="*/ 139 h 157"/>
                <a:gd name="T56" fmla="*/ 176 w 279"/>
                <a:gd name="T57" fmla="*/ 120 h 157"/>
                <a:gd name="T58" fmla="*/ 211 w 279"/>
                <a:gd name="T59" fmla="*/ 138 h 157"/>
                <a:gd name="T60" fmla="*/ 242 w 279"/>
                <a:gd name="T61" fmla="*/ 120 h 157"/>
                <a:gd name="T62" fmla="*/ 265 w 279"/>
                <a:gd name="T63" fmla="*/ 129 h 157"/>
                <a:gd name="T64" fmla="*/ 229 w 279"/>
                <a:gd name="T65" fmla="*/ 50 h 157"/>
                <a:gd name="T66" fmla="*/ 140 w 279"/>
                <a:gd name="T67" fmla="*/ 12 h 157"/>
                <a:gd name="T68" fmla="*/ 50 w 279"/>
                <a:gd name="T69" fmla="*/ 50 h 157"/>
                <a:gd name="T70" fmla="*/ 14 w 279"/>
                <a:gd name="T71" fmla="*/ 127 h 157"/>
                <a:gd name="T72" fmla="*/ 37 w 279"/>
                <a:gd name="T73" fmla="*/ 120 h 157"/>
                <a:gd name="T74" fmla="*/ 69 w 279"/>
                <a:gd name="T75" fmla="*/ 135 h 157"/>
                <a:gd name="T76" fmla="*/ 104 w 279"/>
                <a:gd name="T77" fmla="*/ 12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157">
                  <a:moveTo>
                    <a:pt x="272" y="156"/>
                  </a:moveTo>
                  <a:cubicBezTo>
                    <a:pt x="269" y="156"/>
                    <a:pt x="266" y="155"/>
                    <a:pt x="266" y="152"/>
                  </a:cubicBezTo>
                  <a:cubicBezTo>
                    <a:pt x="266" y="152"/>
                    <a:pt x="266" y="152"/>
                    <a:pt x="266" y="152"/>
                  </a:cubicBezTo>
                  <a:cubicBezTo>
                    <a:pt x="266" y="151"/>
                    <a:pt x="261" y="132"/>
                    <a:pt x="242" y="132"/>
                  </a:cubicBezTo>
                  <a:cubicBezTo>
                    <a:pt x="223" y="132"/>
                    <a:pt x="218" y="151"/>
                    <a:pt x="217" y="152"/>
                  </a:cubicBezTo>
                  <a:cubicBezTo>
                    <a:pt x="217" y="154"/>
                    <a:pt x="215" y="156"/>
                    <a:pt x="212" y="156"/>
                  </a:cubicBezTo>
                  <a:cubicBezTo>
                    <a:pt x="210" y="157"/>
                    <a:pt x="207" y="155"/>
                    <a:pt x="206" y="153"/>
                  </a:cubicBezTo>
                  <a:cubicBezTo>
                    <a:pt x="206" y="153"/>
                    <a:pt x="196" y="132"/>
                    <a:pt x="176" y="132"/>
                  </a:cubicBezTo>
                  <a:cubicBezTo>
                    <a:pt x="156" y="132"/>
                    <a:pt x="145" y="153"/>
                    <a:pt x="145" y="153"/>
                  </a:cubicBezTo>
                  <a:cubicBezTo>
                    <a:pt x="144" y="155"/>
                    <a:pt x="141" y="157"/>
                    <a:pt x="139" y="156"/>
                  </a:cubicBezTo>
                  <a:cubicBezTo>
                    <a:pt x="137" y="156"/>
                    <a:pt x="134" y="154"/>
                    <a:pt x="134" y="152"/>
                  </a:cubicBezTo>
                  <a:cubicBezTo>
                    <a:pt x="134" y="151"/>
                    <a:pt x="128" y="132"/>
                    <a:pt x="104" y="132"/>
                  </a:cubicBezTo>
                  <a:cubicBezTo>
                    <a:pt x="79" y="132"/>
                    <a:pt x="74" y="151"/>
                    <a:pt x="73" y="152"/>
                  </a:cubicBezTo>
                  <a:cubicBezTo>
                    <a:pt x="73" y="155"/>
                    <a:pt x="70" y="157"/>
                    <a:pt x="67" y="156"/>
                  </a:cubicBezTo>
                  <a:cubicBezTo>
                    <a:pt x="64" y="156"/>
                    <a:pt x="62" y="154"/>
                    <a:pt x="62" y="151"/>
                  </a:cubicBezTo>
                  <a:cubicBezTo>
                    <a:pt x="62" y="149"/>
                    <a:pt x="61" y="132"/>
                    <a:pt x="37" y="132"/>
                  </a:cubicBezTo>
                  <a:cubicBezTo>
                    <a:pt x="29" y="132"/>
                    <a:pt x="23" y="135"/>
                    <a:pt x="19" y="139"/>
                  </a:cubicBezTo>
                  <a:cubicBezTo>
                    <a:pt x="14" y="144"/>
                    <a:pt x="14" y="150"/>
                    <a:pt x="14" y="150"/>
                  </a:cubicBezTo>
                  <a:cubicBezTo>
                    <a:pt x="14" y="154"/>
                    <a:pt x="11" y="156"/>
                    <a:pt x="8" y="156"/>
                  </a:cubicBezTo>
                  <a:cubicBezTo>
                    <a:pt x="5" y="157"/>
                    <a:pt x="2" y="154"/>
                    <a:pt x="2" y="151"/>
                  </a:cubicBezTo>
                  <a:cubicBezTo>
                    <a:pt x="0" y="110"/>
                    <a:pt x="14" y="70"/>
                    <a:pt x="41" y="42"/>
                  </a:cubicBezTo>
                  <a:cubicBezTo>
                    <a:pt x="67" y="15"/>
                    <a:pt x="102" y="0"/>
                    <a:pt x="140" y="0"/>
                  </a:cubicBezTo>
                  <a:cubicBezTo>
                    <a:pt x="177" y="0"/>
                    <a:pt x="212" y="15"/>
                    <a:pt x="238" y="42"/>
                  </a:cubicBezTo>
                  <a:cubicBezTo>
                    <a:pt x="265" y="70"/>
                    <a:pt x="279" y="110"/>
                    <a:pt x="278" y="151"/>
                  </a:cubicBezTo>
                  <a:cubicBezTo>
                    <a:pt x="278" y="154"/>
                    <a:pt x="275" y="156"/>
                    <a:pt x="272" y="156"/>
                  </a:cubicBezTo>
                  <a:cubicBezTo>
                    <a:pt x="272" y="156"/>
                    <a:pt x="272" y="156"/>
                    <a:pt x="272" y="156"/>
                  </a:cubicBezTo>
                  <a:close/>
                  <a:moveTo>
                    <a:pt x="104" y="120"/>
                  </a:moveTo>
                  <a:cubicBezTo>
                    <a:pt x="123" y="120"/>
                    <a:pt x="134" y="130"/>
                    <a:pt x="141" y="139"/>
                  </a:cubicBezTo>
                  <a:cubicBezTo>
                    <a:pt x="147" y="131"/>
                    <a:pt x="159" y="120"/>
                    <a:pt x="176" y="120"/>
                  </a:cubicBezTo>
                  <a:cubicBezTo>
                    <a:pt x="192" y="120"/>
                    <a:pt x="204" y="130"/>
                    <a:pt x="211" y="138"/>
                  </a:cubicBezTo>
                  <a:cubicBezTo>
                    <a:pt x="216" y="129"/>
                    <a:pt x="226" y="120"/>
                    <a:pt x="242" y="120"/>
                  </a:cubicBezTo>
                  <a:cubicBezTo>
                    <a:pt x="252" y="120"/>
                    <a:pt x="259" y="124"/>
                    <a:pt x="265" y="129"/>
                  </a:cubicBezTo>
                  <a:cubicBezTo>
                    <a:pt x="262" y="99"/>
                    <a:pt x="249" y="71"/>
                    <a:pt x="229" y="50"/>
                  </a:cubicBezTo>
                  <a:cubicBezTo>
                    <a:pt x="206" y="26"/>
                    <a:pt x="174" y="12"/>
                    <a:pt x="140" y="12"/>
                  </a:cubicBezTo>
                  <a:cubicBezTo>
                    <a:pt x="105" y="12"/>
                    <a:pt x="73" y="26"/>
                    <a:pt x="50" y="50"/>
                  </a:cubicBezTo>
                  <a:cubicBezTo>
                    <a:pt x="30" y="71"/>
                    <a:pt x="18" y="98"/>
                    <a:pt x="14" y="127"/>
                  </a:cubicBezTo>
                  <a:cubicBezTo>
                    <a:pt x="20" y="123"/>
                    <a:pt x="28" y="120"/>
                    <a:pt x="37" y="120"/>
                  </a:cubicBezTo>
                  <a:cubicBezTo>
                    <a:pt x="55" y="120"/>
                    <a:pt x="64" y="128"/>
                    <a:pt x="69" y="135"/>
                  </a:cubicBezTo>
                  <a:cubicBezTo>
                    <a:pt x="76" y="128"/>
                    <a:pt x="87" y="120"/>
                    <a:pt x="104"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221" name="Freeform 75">
              <a:extLst>
                <a:ext uri="{FF2B5EF4-FFF2-40B4-BE49-F238E27FC236}">
                  <a16:creationId xmlns:a16="http://schemas.microsoft.com/office/drawing/2014/main" id="{87D9D993-A64B-3855-3BE9-7A4AD470AA61}"/>
                </a:ext>
              </a:extLst>
            </p:cNvPr>
            <p:cNvSpPr>
              <a:spLocks/>
            </p:cNvSpPr>
            <p:nvPr/>
          </p:nvSpPr>
          <p:spPr bwMode="auto">
            <a:xfrm>
              <a:off x="6743" y="603"/>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4"/>
                    <a:pt x="0" y="30"/>
                  </a:cubicBezTo>
                  <a:cubicBezTo>
                    <a:pt x="0" y="6"/>
                    <a:pt x="0" y="6"/>
                    <a:pt x="0" y="6"/>
                  </a:cubicBezTo>
                  <a:cubicBezTo>
                    <a:pt x="0" y="3"/>
                    <a:pt x="2" y="0"/>
                    <a:pt x="6" y="0"/>
                  </a:cubicBezTo>
                  <a:cubicBezTo>
                    <a:pt x="9" y="0"/>
                    <a:pt x="12" y="3"/>
                    <a:pt x="12" y="6"/>
                  </a:cubicBezTo>
                  <a:cubicBezTo>
                    <a:pt x="12" y="30"/>
                    <a:pt x="12" y="30"/>
                    <a:pt x="12" y="30"/>
                  </a:cubicBezTo>
                  <a:cubicBezTo>
                    <a:pt x="12" y="34"/>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1222" name="Freeform 76">
              <a:extLst>
                <a:ext uri="{FF2B5EF4-FFF2-40B4-BE49-F238E27FC236}">
                  <a16:creationId xmlns:a16="http://schemas.microsoft.com/office/drawing/2014/main" id="{139E9AFF-959F-D97D-E85B-AA4AC7561614}"/>
                </a:ext>
              </a:extLst>
            </p:cNvPr>
            <p:cNvSpPr>
              <a:spLocks/>
            </p:cNvSpPr>
            <p:nvPr/>
          </p:nvSpPr>
          <p:spPr bwMode="auto">
            <a:xfrm>
              <a:off x="6743" y="851"/>
              <a:ext cx="62" cy="172"/>
            </a:xfrm>
            <a:custGeom>
              <a:avLst/>
              <a:gdLst>
                <a:gd name="T0" fmla="*/ 21 w 42"/>
                <a:gd name="T1" fmla="*/ 116 h 116"/>
                <a:gd name="T2" fmla="*/ 0 w 42"/>
                <a:gd name="T3" fmla="*/ 96 h 116"/>
                <a:gd name="T4" fmla="*/ 0 w 42"/>
                <a:gd name="T5" fmla="*/ 6 h 116"/>
                <a:gd name="T6" fmla="*/ 6 w 42"/>
                <a:gd name="T7" fmla="*/ 0 h 116"/>
                <a:gd name="T8" fmla="*/ 12 w 42"/>
                <a:gd name="T9" fmla="*/ 6 h 116"/>
                <a:gd name="T10" fmla="*/ 12 w 42"/>
                <a:gd name="T11" fmla="*/ 96 h 116"/>
                <a:gd name="T12" fmla="*/ 21 w 42"/>
                <a:gd name="T13" fmla="*/ 104 h 116"/>
                <a:gd name="T14" fmla="*/ 30 w 42"/>
                <a:gd name="T15" fmla="*/ 96 h 116"/>
                <a:gd name="T16" fmla="*/ 36 w 42"/>
                <a:gd name="T17" fmla="*/ 90 h 116"/>
                <a:gd name="T18" fmla="*/ 42 w 42"/>
                <a:gd name="T19" fmla="*/ 96 h 116"/>
                <a:gd name="T20" fmla="*/ 21 w 42"/>
                <a:gd name="T2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116">
                  <a:moveTo>
                    <a:pt x="21" y="116"/>
                  </a:moveTo>
                  <a:cubicBezTo>
                    <a:pt x="10" y="116"/>
                    <a:pt x="0" y="109"/>
                    <a:pt x="0" y="96"/>
                  </a:cubicBezTo>
                  <a:cubicBezTo>
                    <a:pt x="0" y="6"/>
                    <a:pt x="0" y="6"/>
                    <a:pt x="0" y="6"/>
                  </a:cubicBezTo>
                  <a:cubicBezTo>
                    <a:pt x="0" y="3"/>
                    <a:pt x="2" y="0"/>
                    <a:pt x="6" y="0"/>
                  </a:cubicBezTo>
                  <a:cubicBezTo>
                    <a:pt x="9" y="0"/>
                    <a:pt x="12" y="3"/>
                    <a:pt x="12" y="6"/>
                  </a:cubicBezTo>
                  <a:cubicBezTo>
                    <a:pt x="12" y="96"/>
                    <a:pt x="12" y="96"/>
                    <a:pt x="12" y="96"/>
                  </a:cubicBezTo>
                  <a:cubicBezTo>
                    <a:pt x="12" y="104"/>
                    <a:pt x="20" y="104"/>
                    <a:pt x="21" y="104"/>
                  </a:cubicBezTo>
                  <a:cubicBezTo>
                    <a:pt x="22" y="104"/>
                    <a:pt x="30" y="104"/>
                    <a:pt x="30" y="96"/>
                  </a:cubicBezTo>
                  <a:cubicBezTo>
                    <a:pt x="30" y="93"/>
                    <a:pt x="32" y="90"/>
                    <a:pt x="36" y="90"/>
                  </a:cubicBezTo>
                  <a:cubicBezTo>
                    <a:pt x="39" y="90"/>
                    <a:pt x="42" y="93"/>
                    <a:pt x="42" y="96"/>
                  </a:cubicBezTo>
                  <a:cubicBezTo>
                    <a:pt x="42" y="109"/>
                    <a:pt x="31" y="116"/>
                    <a:pt x="21"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38" name="object 28">
            <a:extLst>
              <a:ext uri="{FF2B5EF4-FFF2-40B4-BE49-F238E27FC236}">
                <a16:creationId xmlns:a16="http://schemas.microsoft.com/office/drawing/2014/main" id="{C82CDCE8-2DAA-D2DD-139B-A6F3C44DFBD7}"/>
              </a:ext>
            </a:extLst>
          </p:cNvPr>
          <p:cNvSpPr txBox="1">
            <a:spLocks/>
          </p:cNvSpPr>
          <p:nvPr/>
        </p:nvSpPr>
        <p:spPr>
          <a:xfrm>
            <a:off x="5410947" y="3974597"/>
            <a:ext cx="5787357" cy="1468418"/>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rgbClr val="00338D">
                    <a:alpha val="0"/>
                  </a:srgb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54610" tIns="54864" rIns="54610" bIns="54610" rtlCol="0" anchor="t" anchorCtr="0"/>
          <a:lstStyle>
            <a:defPPr>
              <a:defRPr lang="en-US"/>
            </a:defPPr>
            <a:lvl1pPr marL="176213" indent="-176213">
              <a:spcBef>
                <a:spcPts val="300"/>
              </a:spcBef>
              <a:spcAft>
                <a:spcPts val="300"/>
              </a:spcAft>
              <a:buFont typeface="Wingdings" panose="05000000000000000000" pitchFamily="2" charset="2"/>
              <a:buChar char="§"/>
              <a:defRPr sz="10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buNone/>
            </a:pPr>
            <a:r>
              <a:rPr lang="en-US" sz="1100">
                <a:solidFill>
                  <a:prstClr val="black"/>
                </a:solidFill>
                <a:latin typeface="Arial" panose="020B0604020202020204" pitchFamily="34" charset="0"/>
                <a:ea typeface="Yu Gothic" panose="020B0400000000000000" pitchFamily="34" charset="-128"/>
                <a:cs typeface="Arial" panose="020B0604020202020204" pitchFamily="34" charset="0"/>
              </a:rPr>
              <a:t>Our approach to AI is rooted in systems thinking, not just tactical solutions. While others may offer point solutions or standalone bots, we build a cohesive AI ecosystem.</a:t>
            </a:r>
          </a:p>
          <a:p>
            <a:pPr marL="0" indent="0">
              <a:buNone/>
            </a:pPr>
            <a:r>
              <a:rPr lang="en-US" sz="1100">
                <a:solidFill>
                  <a:prstClr val="black"/>
                </a:solidFill>
                <a:latin typeface="Arial" panose="020B0604020202020204" pitchFamily="34" charset="0"/>
                <a:ea typeface="Yu Gothic" panose="020B0400000000000000" pitchFamily="34" charset="-128"/>
                <a:cs typeface="Arial" panose="020B0604020202020204" pitchFamily="34" charset="0"/>
              </a:rPr>
              <a:t>Our Agile Agentic Factory is designed as a value-creating engine. We focus on how agents, data, and people interact to drive compounding ROI. This means each new agent we deploy doesn't just add value—it enhances the value of the entire system, creating a powerful network effect that grows your return on investment over time. We deliver a strategic capability, not just a collection of tools.</a:t>
            </a:r>
          </a:p>
        </p:txBody>
      </p:sp>
      <p:sp>
        <p:nvSpPr>
          <p:cNvPr id="42" name="object 201">
            <a:extLst>
              <a:ext uri="{FF2B5EF4-FFF2-40B4-BE49-F238E27FC236}">
                <a16:creationId xmlns:a16="http://schemas.microsoft.com/office/drawing/2014/main" id="{E9334C18-DB9F-6A2E-3E46-56D838DCE913}"/>
              </a:ext>
            </a:extLst>
          </p:cNvPr>
          <p:cNvSpPr>
            <a:spLocks/>
          </p:cNvSpPr>
          <p:nvPr/>
        </p:nvSpPr>
        <p:spPr>
          <a:xfrm>
            <a:off x="5315061" y="3974597"/>
            <a:ext cx="45719" cy="926336"/>
          </a:xfrm>
          <a:custGeom>
            <a:avLst/>
            <a:gdLst/>
            <a:ahLst/>
            <a:cxnLst/>
            <a:rect l="l" t="t" r="r" b="b"/>
            <a:pathLst>
              <a:path h="920750">
                <a:moveTo>
                  <a:pt x="0" y="0"/>
                </a:moveTo>
                <a:lnTo>
                  <a:pt x="0" y="920750"/>
                </a:lnTo>
              </a:path>
            </a:pathLst>
          </a:custGeom>
          <a:ln w="38100">
            <a:solidFill>
              <a:schemeClr val="accent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rial" panose="020B0604020202020204" pitchFamily="34" charset="0"/>
              <a:ea typeface="Yu Gothic" panose="020B0400000000000000" pitchFamily="34" charset="-128"/>
              <a:cs typeface="Arial" panose="020B0604020202020204" pitchFamily="34" charset="0"/>
            </a:endParaRPr>
          </a:p>
        </p:txBody>
      </p:sp>
      <p:sp>
        <p:nvSpPr>
          <p:cNvPr id="44" name="object 217">
            <a:extLst>
              <a:ext uri="{FF2B5EF4-FFF2-40B4-BE49-F238E27FC236}">
                <a16:creationId xmlns:a16="http://schemas.microsoft.com/office/drawing/2014/main" id="{4EB983F5-1184-D9BB-507E-BAF41350BF55}"/>
              </a:ext>
            </a:extLst>
          </p:cNvPr>
          <p:cNvSpPr txBox="1">
            <a:spLocks/>
          </p:cNvSpPr>
          <p:nvPr/>
        </p:nvSpPr>
        <p:spPr>
          <a:xfrm>
            <a:off x="5340113" y="3687600"/>
            <a:ext cx="3750694" cy="258532"/>
          </a:xfrm>
          <a:prstGeom prst="rect">
            <a:avLst/>
          </a:prstGeom>
        </p:spPr>
        <p:txBody>
          <a:bodyPr vert="horz" wrap="square" lIns="0" tIns="0" rIns="0" bIns="0" rtlCol="0">
            <a:spAutoFit/>
          </a:body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2400" b="0" i="0" u="none" strike="noStrike" kern="1200" cap="none" spc="0" normalizeH="0" baseline="0" noProof="0">
                <a:ln>
                  <a:noFill/>
                </a:ln>
                <a:solidFill>
                  <a:schemeClr val="accent5"/>
                </a:solidFill>
                <a:effectLst/>
                <a:uLnTx/>
                <a:uFillTx/>
                <a:latin typeface="KPMG Bold"/>
                <a:ea typeface="+mn-ea"/>
                <a:cs typeface="+mn-cs"/>
              </a:rPr>
              <a:t>We Know AI </a:t>
            </a:r>
            <a:endParaRPr kumimoji="0" sz="2400" b="0" i="0" u="none" strike="noStrike" kern="1200" cap="none" spc="0" normalizeH="0" baseline="0" noProof="0">
              <a:ln>
                <a:noFill/>
              </a:ln>
              <a:solidFill>
                <a:schemeClr val="accent5"/>
              </a:solidFill>
              <a:effectLst/>
              <a:uLnTx/>
              <a:uFillTx/>
              <a:latin typeface="KPMG Bold"/>
              <a:ea typeface="+mn-ea"/>
              <a:cs typeface="+mn-cs"/>
            </a:endParaRPr>
          </a:p>
        </p:txBody>
      </p:sp>
      <p:cxnSp>
        <p:nvCxnSpPr>
          <p:cNvPr id="45" name="Straight Connector 44">
            <a:extLst>
              <a:ext uri="{FF2B5EF4-FFF2-40B4-BE49-F238E27FC236}">
                <a16:creationId xmlns:a16="http://schemas.microsoft.com/office/drawing/2014/main" id="{63F4C34E-C782-8AA4-B170-F32D628236D2}"/>
              </a:ext>
            </a:extLst>
          </p:cNvPr>
          <p:cNvCxnSpPr>
            <a:cxnSpLocks/>
          </p:cNvCxnSpPr>
          <p:nvPr/>
        </p:nvCxnSpPr>
        <p:spPr>
          <a:xfrm>
            <a:off x="7591425" y="3825815"/>
            <a:ext cx="3566160" cy="0"/>
          </a:xfrm>
          <a:prstGeom prst="line">
            <a:avLst/>
          </a:prstGeom>
          <a:ln w="12700">
            <a:solidFill>
              <a:schemeClr val="accent5"/>
            </a:solidFill>
            <a:tailEnd type="oval"/>
          </a:ln>
        </p:spPr>
        <p:style>
          <a:lnRef idx="1">
            <a:schemeClr val="accent1"/>
          </a:lnRef>
          <a:fillRef idx="0">
            <a:schemeClr val="accent1"/>
          </a:fillRef>
          <a:effectRef idx="0">
            <a:schemeClr val="accent1"/>
          </a:effectRef>
          <a:fontRef idx="minor">
            <a:schemeClr val="tx1"/>
          </a:fontRef>
        </p:style>
      </p:cxnSp>
      <p:pic>
        <p:nvPicPr>
          <p:cNvPr id="1127" name="Graphic 1126" descr="Handshake outline">
            <a:extLst>
              <a:ext uri="{FF2B5EF4-FFF2-40B4-BE49-F238E27FC236}">
                <a16:creationId xmlns:a16="http://schemas.microsoft.com/office/drawing/2014/main" id="{91EB753F-4354-B4BA-BBBD-7AF95B4F635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06972" y="5194480"/>
            <a:ext cx="303130" cy="303130"/>
          </a:xfrm>
          <a:prstGeom prst="rect">
            <a:avLst/>
          </a:prstGeom>
        </p:spPr>
      </p:pic>
    </p:spTree>
    <p:custDataLst>
      <p:tags r:id="rId1"/>
    </p:custDataLst>
    <p:extLst>
      <p:ext uri="{BB962C8B-B14F-4D97-AF65-F5344CB8AC3E}">
        <p14:creationId xmlns:p14="http://schemas.microsoft.com/office/powerpoint/2010/main" val="3764616034"/>
      </p:ext>
    </p:extLst>
  </p:cSld>
  <p:clrMapOvr>
    <a:masterClrMapping/>
  </p:clrMapOvr>
  <p:extLst>
    <p:ext uri="{6950BFC3-D8DA-4A85-94F7-54DA5524770B}">
      <p188:commentRel xmlns:p188="http://schemas.microsoft.com/office/powerpoint/2018/8/main" r:id="rId5"/>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DV_TOP" val="483.0487"/>
  <p:tag name="ADV_LEFT" val="137.2465"/>
  <p:tag name="ADV_HEIGHT" val="29.19685"/>
  <p:tag name="ADV_WIDTH" val="458.0787"/>
  <p:tag name="ADV_COPYRIGHT" val="TRUE"/>
</p:tagLst>
</file>

<file path=ppt/tags/tag5.xml><?xml version="1.0" encoding="utf-8"?>
<p:tagLst xmlns:a="http://schemas.openxmlformats.org/drawingml/2006/main" xmlns:r="http://schemas.openxmlformats.org/officeDocument/2006/relationships" xmlns:p="http://schemas.openxmlformats.org/presentationml/2006/main">
  <p:tag name="ADV_TOP" val="483.0487"/>
  <p:tag name="ADV_LEFT" val="137.2465"/>
  <p:tag name="ADV_HEIGHT" val="29.19685"/>
  <p:tag name="ADV_WIDTH" val="458.0787"/>
  <p:tag name="ADV_COPYRIGHT"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PMG Widescreen [16:9] Feb 2022">
  <a:themeElements>
    <a:clrScheme name="Custom Option">
      <a:dk1>
        <a:srgbClr val="000000"/>
      </a:dk1>
      <a:lt1>
        <a:sysClr val="window" lastClr="FFFFFF"/>
      </a:lt1>
      <a:dk2>
        <a:srgbClr val="00338D"/>
      </a:dk2>
      <a:lt2>
        <a:srgbClr val="ACEAFF"/>
      </a:lt2>
      <a:accent1>
        <a:srgbClr val="1E49E2"/>
      </a:accent1>
      <a:accent2>
        <a:srgbClr val="00338D"/>
      </a:accent2>
      <a:accent3>
        <a:srgbClr val="0C233C"/>
      </a:accent3>
      <a:accent4>
        <a:srgbClr val="00B8F5"/>
      </a:accent4>
      <a:accent5>
        <a:srgbClr val="7213EA"/>
      </a:accent5>
      <a:accent6>
        <a:srgbClr val="FD349C"/>
      </a:accent6>
      <a:hlink>
        <a:srgbClr val="1E49E2"/>
      </a:hlink>
      <a:folHlink>
        <a:srgbClr val="098E80"/>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Cobalt">
      <a:srgbClr val="1E49E2"/>
    </a:custClr>
    <a:custClr name="Pacific Blue">
      <a:srgbClr val="00B8F5"/>
    </a:custClr>
    <a:custClr name="Purple">
      <a:srgbClr val="7213EA"/>
    </a:custClr>
    <a:custClr name="Dark Blue">
      <a:srgbClr val="0C233C"/>
    </a:custClr>
    <a:custClr name="Light Blue">
      <a:srgbClr val="ACEAFF"/>
    </a:custClr>
    <a:custClr name="Pink">
      <a:srgbClr val="FD349C"/>
    </a:custClr>
    <a:custClr name="Blank">
      <a:srgbClr val="FFFFFF"/>
    </a:custClr>
    <a:custClr name="Blank">
      <a:srgbClr val="FFFFFF"/>
    </a:custClr>
    <a:custClr name="Blank">
      <a:srgbClr val="FFFFFF"/>
    </a:custClr>
    <a:custClr name="Blue">
      <a:srgbClr val="76D2FF"/>
    </a:custClr>
    <a:custClr name="Dark Purple">
      <a:srgbClr val="510DBC"/>
    </a:custClr>
    <a:custClr name="Light Purple">
      <a:srgbClr val="B497FF"/>
    </a:custClr>
    <a:custClr name="Dark Pink">
      <a:srgbClr val="AB0D82"/>
    </a:custClr>
    <a:custClr name="Light Pink">
      <a:srgbClr val="FFA3DA"/>
    </a:custClr>
    <a:custClr name="Dark Green">
      <a:srgbClr val="098E7E"/>
    </a:custClr>
    <a:custClr name="Green">
      <a:srgbClr val="00C0AE"/>
    </a:custClr>
    <a:custClr name="Light Green">
      <a:srgbClr val="63EBDA"/>
    </a:custClr>
    <a:custClr name="Blank">
      <a:srgbClr val="FFFFFF"/>
    </a:custClr>
    <a:custClr name="Blank">
      <a:srgbClr val="FFFFFF"/>
    </a:custClr>
    <a:custClr name="Gray 1">
      <a:srgbClr val="333333"/>
    </a:custClr>
    <a:custClr name="Gray 2">
      <a:srgbClr val="666666"/>
    </a:custClr>
    <a:custClr name="Gray 3">
      <a:srgbClr val="989898"/>
    </a:custClr>
    <a:custClr name="Gray 4">
      <a:srgbClr val="B2B2B2"/>
    </a:custClr>
    <a:custClr name="Gray 5">
      <a:srgbClr val="E5E5E5"/>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KPMG Widescreen Standard Template.potx" id="{4291AF30-F72C-4DB8-BFB7-967C9154B194}" vid="{7DC4FF43-0719-43E1-BB30-D6E15250C092}"/>
    </a:ext>
  </a:extLst>
</a:theme>
</file>

<file path=ppt/theme/theme2.xml><?xml version="1.0" encoding="utf-8"?>
<a:theme xmlns:a="http://schemas.openxmlformats.org/drawingml/2006/main" name="2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6F9D073B-8B7E-4CCD-B454-11736666544F}" vid="{CB0E54E2-5236-4DAF-8398-713F6E87C91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F3E7FF9-E223-D64A-8415-B3F632A528A2}">
  <we:reference id="d2164860-9689-45e3-a1e5-90c76032056e" version="2.0.0.5"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3845273E07B764B8ACC53E5CF5062F2" ma:contentTypeVersion="11" ma:contentTypeDescription="Create a new document." ma:contentTypeScope="" ma:versionID="a5be4055ad12fa8fa1d6fe5ba159dc4e">
  <xsd:schema xmlns:xsd="http://www.w3.org/2001/XMLSchema" xmlns:xs="http://www.w3.org/2001/XMLSchema" xmlns:p="http://schemas.microsoft.com/office/2006/metadata/properties" xmlns:ns2="e1a1b725-e39d-4c81-80dc-c27e73e20b01" xmlns:ns3="0fe7030e-5c41-4183-b157-83a590551ffc" targetNamespace="http://schemas.microsoft.com/office/2006/metadata/properties" ma:root="true" ma:fieldsID="ee6cc3a73b2419ecbd6f0f7f0205f95c" ns2:_="" ns3:_="">
    <xsd:import namespace="e1a1b725-e39d-4c81-80dc-c27e73e20b01"/>
    <xsd:import namespace="0fe7030e-5c41-4183-b157-83a590551ff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bjectDetectorVersions" minOccurs="0"/>
                <xsd:element ref="ns2:Note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a1b725-e39d-4c81-80dc-c27e73e20b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Notes" ma:index="15" nillable="true" ma:displayName="Notes" ma:format="Dropdown" ma:internalName="Notes">
      <xsd:simpleType>
        <xsd:restriction base="dms:Note">
          <xsd:maxLength value="255"/>
        </xsd:restriction>
      </xsd:simpleType>
    </xsd:element>
    <xsd:element name="MediaServiceSearchProperties" ma:index="16" nillable="true" ma:displayName="MediaServiceSearchProperties" ma:hidden="true" ma:internalName="MediaServiceSearchProperties" ma:readOnly="true">
      <xsd:simpleType>
        <xsd:restriction base="dms:Note"/>
      </xsd:simpleType>
    </xsd:element>
    <xsd:element name="MediaServiceBillingMetadata" ma:index="1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fe7030e-5c41-4183-b157-83a590551ff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Notes xmlns="e1a1b725-e39d-4c81-80dc-c27e73e20b01" xsi:nil="true"/>
  </documentManagement>
</p:properties>
</file>

<file path=customXml/itemProps1.xml><?xml version="1.0" encoding="utf-8"?>
<ds:datastoreItem xmlns:ds="http://schemas.openxmlformats.org/officeDocument/2006/customXml" ds:itemID="{A8141463-BB49-406D-8218-057391E57DB3}">
  <ds:schemaRefs>
    <ds:schemaRef ds:uri="0fe7030e-5c41-4183-b157-83a590551ffc"/>
    <ds:schemaRef ds:uri="e1a1b725-e39d-4c81-80dc-c27e73e20b0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B18A704-6BCA-417B-A2FE-2CE0F309D81C}">
  <ds:schemaRefs>
    <ds:schemaRef ds:uri="http://schemas.microsoft.com/sharepoint/v3/contenttype/forms"/>
  </ds:schemaRefs>
</ds:datastoreItem>
</file>

<file path=customXml/itemProps3.xml><?xml version="1.0" encoding="utf-8"?>
<ds:datastoreItem xmlns:ds="http://schemas.openxmlformats.org/officeDocument/2006/customXml" ds:itemID="{07D32C03-22BB-4F87-ADBD-B0C018AE613F}">
  <ds:schemaRefs>
    <ds:schemaRef ds:uri="0fe7030e-5c41-4183-b157-83a590551ffc"/>
    <ds:schemaRef ds:uri="e1a1b725-e39d-4c81-80dc-c27e73e20b0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0</Slides>
  <Notes>9</Notes>
  <HiddenSlides>0</HiddenSlides>
  <ScaleCrop>false</ScaleCrop>
  <HeadingPairs>
    <vt:vector size="4" baseType="variant">
      <vt:variant>
        <vt:lpstr>Theme</vt:lpstr>
      </vt:variant>
      <vt:variant>
        <vt:i4>2</vt:i4>
      </vt:variant>
      <vt:variant>
        <vt:lpstr>Slide Titles</vt:lpstr>
      </vt:variant>
      <vt:variant>
        <vt:i4>10</vt:i4>
      </vt:variant>
    </vt:vector>
  </HeadingPairs>
  <TitlesOfParts>
    <vt:vector size="12" baseType="lpstr">
      <vt:lpstr>KPMG Widescreen [16:9] Feb 2022</vt:lpstr>
      <vt:lpstr>2_KPMG Widescreen [16:9] Feb 2022</vt:lpstr>
      <vt:lpstr>GIAM AI Enhanced IAM Controls &amp; Governance </vt:lpstr>
      <vt:lpstr>With you today</vt:lpstr>
      <vt:lpstr>Agenda</vt:lpstr>
      <vt:lpstr>Our Understanding &amp; Path Forward for Modernization </vt:lpstr>
      <vt:lpstr>To deliver on this mission KPMG aims to accelerate our approach with a “Quick Start”</vt:lpstr>
      <vt:lpstr>Secure by Design for Agentic AI</vt:lpstr>
      <vt:lpstr>Accelerate agentic value realization and adoption</vt:lpstr>
      <vt:lpstr>Through leveraging our existing experience the project will be delivered in an accelerated 16-week timeline</vt:lpstr>
      <vt:lpstr>Win Themes</vt:lpstr>
      <vt:lpstr>KPMGvalu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loesch, Troy</dc:creator>
  <cp:revision>1</cp:revision>
  <dcterms:created xsi:type="dcterms:W3CDTF">2025-08-05T14:07:47Z</dcterms:created>
  <dcterms:modified xsi:type="dcterms:W3CDTF">2025-12-08T14:4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845273E07B764B8ACC53E5CF5062F2</vt:lpwstr>
  </property>
  <property fmtid="{D5CDD505-2E9C-101B-9397-08002B2CF9AE}" pid="3" name="MediaServiceImageTags">
    <vt:lpwstr/>
  </property>
</Properties>
</file>